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xml" ContentType="application/vnd.openxmlformats-officedocument.presentationml.tags+xml"/>
  <Override PartName="/ppt/notesSlides/notesSlide7.xml" ContentType="application/vnd.openxmlformats-officedocument.presentationml.notesSlide+xml"/>
  <Override PartName="/ppt/tags/tag4.xml" ContentType="application/vnd.openxmlformats-officedocument.presentationml.tags+xml"/>
  <Override PartName="/ppt/notesSlides/notesSlide8.xml" ContentType="application/vnd.openxmlformats-officedocument.presentationml.notesSlide+xml"/>
  <Override PartName="/ppt/theme/themeOverride1.xml" ContentType="application/vnd.openxmlformats-officedocument.themeOverride+xml"/>
  <Override PartName="/ppt/tags/tag5.xml" ContentType="application/vnd.openxmlformats-officedocument.presentationml.tags+xml"/>
  <Override PartName="/ppt/notesSlides/notesSlide9.xml" ContentType="application/vnd.openxmlformats-officedocument.presentationml.notesSlide+xml"/>
  <Override PartName="/ppt/theme/themeOverride2.xml" ContentType="application/vnd.openxmlformats-officedocument.themeOverride+xml"/>
  <Override PartName="/ppt/tags/tag6.xml" ContentType="application/vnd.openxmlformats-officedocument.presentationml.tags+xml"/>
  <Override PartName="/ppt/notesSlides/notesSlide10.xml" ContentType="application/vnd.openxmlformats-officedocument.presentationml.notesSlide+xml"/>
  <Override PartName="/ppt/theme/themeOverride3.xml" ContentType="application/vnd.openxmlformats-officedocument.themeOverride+xml"/>
  <Override PartName="/ppt/tags/tag7.xml" ContentType="application/vnd.openxmlformats-officedocument.presentationml.tags+xml"/>
  <Override PartName="/ppt/notesSlides/notesSlide11.xml" ContentType="application/vnd.openxmlformats-officedocument.presentationml.notesSlide+xml"/>
  <Override PartName="/ppt/tags/tag8.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9.xml" ContentType="application/vnd.openxmlformats-officedocument.presentationml.tags+xml"/>
  <Override PartName="/ppt/notesSlides/notesSlide19.xml" ContentType="application/vnd.openxmlformats-officedocument.presentationml.notesSlide+xml"/>
  <Override PartName="/ppt/tags/tag10.xml" ContentType="application/vnd.openxmlformats-officedocument.presentationml.tags+xml"/>
  <Override PartName="/ppt/notesSlides/notesSlide20.xml" ContentType="application/vnd.openxmlformats-officedocument.presentationml.notesSlide+xml"/>
  <Override PartName="/ppt/tags/tag11.xml" ContentType="application/vnd.openxmlformats-officedocument.presentationml.tags+xml"/>
  <Override PartName="/ppt/notesSlides/notesSlide21.xml" ContentType="application/vnd.openxmlformats-officedocument.presentationml.notesSlide+xml"/>
  <Override PartName="/ppt/tags/tag12.xml" ContentType="application/vnd.openxmlformats-officedocument.presentationml.tags+xml"/>
  <Override PartName="/ppt/notesSlides/notesSlide22.xml" ContentType="application/vnd.openxmlformats-officedocument.presentationml.notesSlide+xml"/>
  <Override PartName="/ppt/tags/tag13.xml" ContentType="application/vnd.openxmlformats-officedocument.presentationml.tags+xml"/>
  <Override PartName="/ppt/notesSlides/notesSlide23.xml" ContentType="application/vnd.openxmlformats-officedocument.presentationml.notesSlide+xml"/>
  <Override PartName="/ppt/tags/tag14.xml" ContentType="application/vnd.openxmlformats-officedocument.presentationml.tags+xml"/>
  <Override PartName="/ppt/notesSlides/notesSlide24.xml" ContentType="application/vnd.openxmlformats-officedocument.presentationml.notesSlide+xml"/>
  <Override PartName="/ppt/tags/tag15.xml" ContentType="application/vnd.openxmlformats-officedocument.presentationml.tags+xml"/>
  <Override PartName="/ppt/notesSlides/notesSlide25.xml" ContentType="application/vnd.openxmlformats-officedocument.presentationml.notesSlide+xml"/>
  <Override PartName="/ppt/tags/tag16.xml" ContentType="application/vnd.openxmlformats-officedocument.presentationml.tags+xml"/>
  <Override PartName="/ppt/notesSlides/notesSlide26.xml" ContentType="application/vnd.openxmlformats-officedocument.presentationml.notesSlide+xml"/>
  <Override PartName="/ppt/tags/tag17.xml" ContentType="application/vnd.openxmlformats-officedocument.presentationml.tags+xml"/>
  <Override PartName="/ppt/notesSlides/notesSlide27.xml" ContentType="application/vnd.openxmlformats-officedocument.presentationml.notesSlide+xml"/>
  <Override PartName="/ppt/tags/tag18.xml" ContentType="application/vnd.openxmlformats-officedocument.presentationml.tags+xml"/>
  <Override PartName="/ppt/notesSlides/notesSlide28.xml" ContentType="application/vnd.openxmlformats-officedocument.presentationml.notesSlide+xml"/>
  <Override PartName="/ppt/tags/tag19.xml" ContentType="application/vnd.openxmlformats-officedocument.presentationml.tags+xml"/>
  <Override PartName="/ppt/notesSlides/notesSlide29.xml" ContentType="application/vnd.openxmlformats-officedocument.presentationml.notesSlide+xml"/>
  <Override PartName="/ppt/tags/tag20.xml" ContentType="application/vnd.openxmlformats-officedocument.presentationml.tags+xml"/>
  <Override PartName="/ppt/notesSlides/notesSlide30.xml" ContentType="application/vnd.openxmlformats-officedocument.presentationml.notesSlide+xml"/>
  <Override PartName="/ppt/tags/tag21.xml" ContentType="application/vnd.openxmlformats-officedocument.presentationml.tags+xml"/>
  <Override PartName="/ppt/notesSlides/notesSlide31.xml" ContentType="application/vnd.openxmlformats-officedocument.presentationml.notesSlide+xml"/>
  <Override PartName="/ppt/tags/tag22.xml" ContentType="application/vnd.openxmlformats-officedocument.presentationml.tags+xml"/>
  <Override PartName="/ppt/notesSlides/notesSlide32.xml" ContentType="application/vnd.openxmlformats-officedocument.presentationml.notesSlide+xml"/>
  <Override PartName="/ppt/tags/tag23.xml" ContentType="application/vnd.openxmlformats-officedocument.presentationml.tags+xml"/>
  <Override PartName="/ppt/notesSlides/notesSlide33.xml" ContentType="application/vnd.openxmlformats-officedocument.presentationml.notesSlide+xml"/>
  <Override PartName="/ppt/tags/tag24.xml" ContentType="application/vnd.openxmlformats-officedocument.presentationml.tags+xml"/>
  <Override PartName="/ppt/notesSlides/notesSlide34.xml" ContentType="application/vnd.openxmlformats-officedocument.presentationml.notesSlide+xml"/>
  <Override PartName="/ppt/tags/tag25.xml" ContentType="application/vnd.openxmlformats-officedocument.presentationml.tags+xml"/>
  <Override PartName="/ppt/notesSlides/notesSlide35.xml" ContentType="application/vnd.openxmlformats-officedocument.presentationml.notesSlide+xml"/>
  <Override PartName="/ppt/tags/tag26.xml" ContentType="application/vnd.openxmlformats-officedocument.presentationml.tags+xml"/>
  <Override PartName="/ppt/notesSlides/notesSlide36.xml" ContentType="application/vnd.openxmlformats-officedocument.presentationml.notesSlide+xml"/>
  <Override PartName="/ppt/tags/tag27.xml" ContentType="application/vnd.openxmlformats-officedocument.presentationml.tags+xml"/>
  <Override PartName="/ppt/notesSlides/notesSlide37.xml" ContentType="application/vnd.openxmlformats-officedocument.presentationml.notesSlide+xml"/>
  <Override PartName="/ppt/tags/tag28.xml" ContentType="application/vnd.openxmlformats-officedocument.presentationml.tags+xml"/>
  <Override PartName="/ppt/notesSlides/notesSlide38.xml" ContentType="application/vnd.openxmlformats-officedocument.presentationml.notesSlide+xml"/>
  <Override PartName="/ppt/tags/tag29.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47"/>
  </p:notesMasterIdLst>
  <p:sldIdLst>
    <p:sldId id="304" r:id="rId3"/>
    <p:sldId id="305" r:id="rId4"/>
    <p:sldId id="311" r:id="rId5"/>
    <p:sldId id="306" r:id="rId6"/>
    <p:sldId id="274" r:id="rId7"/>
    <p:sldId id="271" r:id="rId8"/>
    <p:sldId id="269" r:id="rId9"/>
    <p:sldId id="270" r:id="rId10"/>
    <p:sldId id="276" r:id="rId11"/>
    <p:sldId id="284" r:id="rId12"/>
    <p:sldId id="275" r:id="rId13"/>
    <p:sldId id="316" r:id="rId14"/>
    <p:sldId id="307" r:id="rId15"/>
    <p:sldId id="287" r:id="rId16"/>
    <p:sldId id="295" r:id="rId17"/>
    <p:sldId id="296" r:id="rId18"/>
    <p:sldId id="294" r:id="rId19"/>
    <p:sldId id="293" r:id="rId20"/>
    <p:sldId id="308" r:id="rId21"/>
    <p:sldId id="312" r:id="rId22"/>
    <p:sldId id="300" r:id="rId23"/>
    <p:sldId id="281" r:id="rId24"/>
    <p:sldId id="282" r:id="rId25"/>
    <p:sldId id="297" r:id="rId26"/>
    <p:sldId id="302" r:id="rId27"/>
    <p:sldId id="365" r:id="rId28"/>
    <p:sldId id="374" r:id="rId29"/>
    <p:sldId id="303" r:id="rId30"/>
    <p:sldId id="367" r:id="rId31"/>
    <p:sldId id="368" r:id="rId32"/>
    <p:sldId id="369" r:id="rId33"/>
    <p:sldId id="370" r:id="rId34"/>
    <p:sldId id="375" r:id="rId35"/>
    <p:sldId id="371" r:id="rId36"/>
    <p:sldId id="372" r:id="rId37"/>
    <p:sldId id="373" r:id="rId38"/>
    <p:sldId id="309" r:id="rId39"/>
    <p:sldId id="259" r:id="rId40"/>
    <p:sldId id="260" r:id="rId41"/>
    <p:sldId id="310" r:id="rId42"/>
    <p:sldId id="262" r:id="rId43"/>
    <p:sldId id="263" r:id="rId44"/>
    <p:sldId id="266" r:id="rId45"/>
    <p:sldId id="267" r:id="rId46"/>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5C0B"/>
    <a:srgbClr val="33CCFF"/>
    <a:srgbClr val="E6007E"/>
    <a:srgbClr val="5C248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764" autoAdjust="0"/>
    <p:restoredTop sz="82599" autoAdjust="0"/>
  </p:normalViewPr>
  <p:slideViewPr>
    <p:cSldViewPr snapToGrid="0">
      <p:cViewPr varScale="1">
        <p:scale>
          <a:sx n="94" d="100"/>
          <a:sy n="94" d="100"/>
        </p:scale>
        <p:origin x="1074" y="6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9140A05-DF3D-4B2D-AFBD-E5AA5851960C}" type="datetimeFigureOut">
              <a:rPr lang="nl-NL" smtClean="0"/>
              <a:t>7-1-2020</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862BE2C-399D-40B6-A494-611AB4593373}" type="slidenum">
              <a:rPr lang="nl-NL" smtClean="0"/>
              <a:t>‹nr.›</a:t>
            </a:fld>
            <a:endParaRPr lang="nl-NL"/>
          </a:p>
        </p:txBody>
      </p:sp>
    </p:spTree>
    <p:extLst>
      <p:ext uri="{BB962C8B-B14F-4D97-AF65-F5344CB8AC3E}">
        <p14:creationId xmlns:p14="http://schemas.microsoft.com/office/powerpoint/2010/main" val="35700853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b="0" dirty="0"/>
          </a:p>
        </p:txBody>
      </p:sp>
      <p:sp>
        <p:nvSpPr>
          <p:cNvPr id="4" name="Tijdelijke aanduiding voor dianummer 3"/>
          <p:cNvSpPr>
            <a:spLocks noGrp="1"/>
          </p:cNvSpPr>
          <p:nvPr>
            <p:ph type="sldNum" sz="quarter" idx="10"/>
          </p:nvPr>
        </p:nvSpPr>
        <p:spPr/>
        <p:txBody>
          <a:bodyPr/>
          <a:lstStyle/>
          <a:p>
            <a:fld id="{6F2027C0-5126-452D-82E8-DD07C0C90C3C}" type="slidenum">
              <a:rPr lang="nl-NL" smtClean="0"/>
              <a:t>1</a:t>
            </a:fld>
            <a:endParaRPr lang="nl-NL"/>
          </a:p>
        </p:txBody>
      </p:sp>
    </p:spTree>
    <p:extLst>
      <p:ext uri="{BB962C8B-B14F-4D97-AF65-F5344CB8AC3E}">
        <p14:creationId xmlns:p14="http://schemas.microsoft.com/office/powerpoint/2010/main" val="15170479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10"/>
          </p:nvPr>
        </p:nvSpPr>
        <p:spPr/>
        <p:txBody>
          <a:bodyPr/>
          <a:lstStyle/>
          <a:p>
            <a:fld id="{3B09035B-1486-4F40-9ED0-B4BD16F04890}" type="slidenum">
              <a:rPr lang="nl-BE" smtClean="0"/>
              <a:t>10</a:t>
            </a:fld>
            <a:endParaRPr lang="nl-BE"/>
          </a:p>
        </p:txBody>
      </p:sp>
    </p:spTree>
    <p:extLst>
      <p:ext uri="{BB962C8B-B14F-4D97-AF65-F5344CB8AC3E}">
        <p14:creationId xmlns:p14="http://schemas.microsoft.com/office/powerpoint/2010/main" val="12741656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10"/>
          </p:nvPr>
        </p:nvSpPr>
        <p:spPr/>
        <p:txBody>
          <a:bodyPr/>
          <a:lstStyle/>
          <a:p>
            <a:fld id="{3B09035B-1486-4F40-9ED0-B4BD16F04890}" type="slidenum">
              <a:rPr lang="nl-BE" smtClean="0"/>
              <a:t>11</a:t>
            </a:fld>
            <a:endParaRPr lang="nl-BE"/>
          </a:p>
        </p:txBody>
      </p:sp>
    </p:spTree>
    <p:extLst>
      <p:ext uri="{BB962C8B-B14F-4D97-AF65-F5344CB8AC3E}">
        <p14:creationId xmlns:p14="http://schemas.microsoft.com/office/powerpoint/2010/main" val="20654283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Link naar het filmpje:  https://www.youtube.com/watch?v=XQfhaDwhEoI&amp;feature=emb_logo</a:t>
            </a:r>
          </a:p>
        </p:txBody>
      </p:sp>
      <p:sp>
        <p:nvSpPr>
          <p:cNvPr id="4" name="Slide Number Placeholder 3"/>
          <p:cNvSpPr>
            <a:spLocks noGrp="1"/>
          </p:cNvSpPr>
          <p:nvPr>
            <p:ph type="sldNum" sz="quarter" idx="10"/>
          </p:nvPr>
        </p:nvSpPr>
        <p:spPr/>
        <p:txBody>
          <a:bodyPr/>
          <a:lstStyle/>
          <a:p>
            <a:fld id="{3B09035B-1486-4F40-9ED0-B4BD16F04890}" type="slidenum">
              <a:rPr lang="nl-BE" smtClean="0"/>
              <a:t>12</a:t>
            </a:fld>
            <a:endParaRPr lang="nl-BE"/>
          </a:p>
        </p:txBody>
      </p:sp>
    </p:spTree>
    <p:extLst>
      <p:ext uri="{BB962C8B-B14F-4D97-AF65-F5344CB8AC3E}">
        <p14:creationId xmlns:p14="http://schemas.microsoft.com/office/powerpoint/2010/main" val="7336400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200" i="0" kern="1200" dirty="0">
                <a:solidFill>
                  <a:schemeClr val="tx1"/>
                </a:solidFill>
                <a:effectLst/>
                <a:latin typeface="+mn-lt"/>
                <a:ea typeface="+mn-ea"/>
                <a:cs typeface="+mn-cs"/>
              </a:rPr>
              <a:t>Het filmpje over rekenen geeft op een overzichtelijke manier in 2 minuten weer waar en hoe je rekenen terugvindt in Schatkist </a:t>
            </a:r>
          </a:p>
          <a:p>
            <a:pPr marL="0" marR="0" indent="0" algn="l" defTabSz="914400" rtl="0" eaLnBrk="1" fontAlgn="auto" latinLnBrk="0" hangingPunct="1">
              <a:lnSpc>
                <a:spcPct val="100000"/>
              </a:lnSpc>
              <a:spcBef>
                <a:spcPts val="0"/>
              </a:spcBef>
              <a:spcAft>
                <a:spcPts val="0"/>
              </a:spcAft>
              <a:buClrTx/>
              <a:buSzTx/>
              <a:buFontTx/>
              <a:buNone/>
              <a:tabLst/>
              <a:defRPr/>
            </a:pPr>
            <a:endParaRPr lang="nl-NL" sz="120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nl-NL" sz="1200" i="0" kern="1200" dirty="0">
                <a:solidFill>
                  <a:schemeClr val="tx1"/>
                </a:solidFill>
                <a:effectLst/>
                <a:latin typeface="+mn-lt"/>
                <a:ea typeface="+mn-ea"/>
                <a:cs typeface="+mn-cs"/>
              </a:rPr>
              <a:t>De </a:t>
            </a:r>
            <a:r>
              <a:rPr lang="nl-NL" sz="1200" i="0" kern="1200" dirty="0" err="1">
                <a:solidFill>
                  <a:schemeClr val="tx1"/>
                </a:solidFill>
                <a:effectLst/>
                <a:latin typeface="+mn-lt"/>
                <a:ea typeface="+mn-ea"/>
                <a:cs typeface="+mn-cs"/>
              </a:rPr>
              <a:t>url</a:t>
            </a:r>
            <a:r>
              <a:rPr lang="nl-NL" sz="1200" i="0" kern="1200" dirty="0">
                <a:solidFill>
                  <a:schemeClr val="tx1"/>
                </a:solidFill>
                <a:effectLst/>
                <a:latin typeface="+mn-lt"/>
                <a:ea typeface="+mn-ea"/>
                <a:cs typeface="+mn-cs"/>
              </a:rPr>
              <a:t> van het Rekenen filmpje: https://www.youtube.com/watch?v=hj70oPsw5r4&amp;feature=emb_logo</a:t>
            </a:r>
          </a:p>
          <a:p>
            <a:pPr marL="0" marR="0" indent="0" algn="l" defTabSz="914400" rtl="0" eaLnBrk="1" fontAlgn="auto" latinLnBrk="0" hangingPunct="1">
              <a:lnSpc>
                <a:spcPct val="100000"/>
              </a:lnSpc>
              <a:spcBef>
                <a:spcPts val="0"/>
              </a:spcBef>
              <a:spcAft>
                <a:spcPts val="0"/>
              </a:spcAft>
              <a:buClrTx/>
              <a:buSzTx/>
              <a:buFontTx/>
              <a:buNone/>
              <a:tabLst/>
              <a:defRPr/>
            </a:pPr>
            <a:endParaRPr lang="nl-NL" sz="1200" i="1" kern="1200" dirty="0">
              <a:solidFill>
                <a:schemeClr val="tx1"/>
              </a:solidFill>
              <a:effectLst/>
              <a:latin typeface="+mn-lt"/>
              <a:ea typeface="+mn-ea"/>
              <a:cs typeface="+mn-cs"/>
            </a:endParaRPr>
          </a:p>
        </p:txBody>
      </p:sp>
      <p:sp>
        <p:nvSpPr>
          <p:cNvPr id="4" name="Tijdelijke aanduiding voor dianummer 3"/>
          <p:cNvSpPr>
            <a:spLocks noGrp="1"/>
          </p:cNvSpPr>
          <p:nvPr>
            <p:ph type="sldNum" sz="quarter" idx="10"/>
          </p:nvPr>
        </p:nvSpPr>
        <p:spPr/>
        <p:txBody>
          <a:bodyPr/>
          <a:lstStyle/>
          <a:p>
            <a:fld id="{F862BE2C-399D-40B6-A494-611AB4593373}" type="slidenum">
              <a:rPr lang="nl-NL" smtClean="0"/>
              <a:t>14</a:t>
            </a:fld>
            <a:endParaRPr lang="nl-NL"/>
          </a:p>
        </p:txBody>
      </p:sp>
    </p:spTree>
    <p:extLst>
      <p:ext uri="{BB962C8B-B14F-4D97-AF65-F5344CB8AC3E}">
        <p14:creationId xmlns:p14="http://schemas.microsoft.com/office/powerpoint/2010/main" val="23536194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i="1" dirty="0"/>
          </a:p>
        </p:txBody>
      </p:sp>
      <p:sp>
        <p:nvSpPr>
          <p:cNvPr id="4" name="Tijdelijke aanduiding voor dianummer 3"/>
          <p:cNvSpPr>
            <a:spLocks noGrp="1"/>
          </p:cNvSpPr>
          <p:nvPr>
            <p:ph type="sldNum" sz="quarter" idx="10"/>
          </p:nvPr>
        </p:nvSpPr>
        <p:spPr/>
        <p:txBody>
          <a:bodyPr/>
          <a:lstStyle/>
          <a:p>
            <a:fld id="{F862BE2C-399D-40B6-A494-611AB4593373}" type="slidenum">
              <a:rPr lang="nl-NL" smtClean="0"/>
              <a:t>15</a:t>
            </a:fld>
            <a:endParaRPr lang="nl-NL"/>
          </a:p>
        </p:txBody>
      </p:sp>
    </p:spTree>
    <p:extLst>
      <p:ext uri="{BB962C8B-B14F-4D97-AF65-F5344CB8AC3E}">
        <p14:creationId xmlns:p14="http://schemas.microsoft.com/office/powerpoint/2010/main" val="35200567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nl-NL" sz="1200" i="1" kern="1200" dirty="0">
              <a:solidFill>
                <a:schemeClr val="tx1"/>
              </a:solidFill>
              <a:effectLst/>
              <a:latin typeface="+mn-lt"/>
              <a:ea typeface="+mn-ea"/>
              <a:cs typeface="+mn-cs"/>
            </a:endParaRPr>
          </a:p>
        </p:txBody>
      </p:sp>
      <p:sp>
        <p:nvSpPr>
          <p:cNvPr id="4" name="Tijdelijke aanduiding voor dianummer 3"/>
          <p:cNvSpPr>
            <a:spLocks noGrp="1"/>
          </p:cNvSpPr>
          <p:nvPr>
            <p:ph type="sldNum" sz="quarter" idx="10"/>
          </p:nvPr>
        </p:nvSpPr>
        <p:spPr/>
        <p:txBody>
          <a:bodyPr/>
          <a:lstStyle/>
          <a:p>
            <a:fld id="{F862BE2C-399D-40B6-A494-611AB4593373}" type="slidenum">
              <a:rPr lang="nl-NL" smtClean="0"/>
              <a:t>16</a:t>
            </a:fld>
            <a:endParaRPr lang="nl-NL"/>
          </a:p>
        </p:txBody>
      </p:sp>
    </p:spTree>
    <p:extLst>
      <p:ext uri="{BB962C8B-B14F-4D97-AF65-F5344CB8AC3E}">
        <p14:creationId xmlns:p14="http://schemas.microsoft.com/office/powerpoint/2010/main" val="17036522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nl-NL" sz="1200" i="1" kern="1200" dirty="0">
              <a:solidFill>
                <a:schemeClr val="tx1"/>
              </a:solidFill>
              <a:effectLst/>
              <a:latin typeface="+mn-lt"/>
              <a:ea typeface="+mn-ea"/>
              <a:cs typeface="+mn-cs"/>
            </a:endParaRPr>
          </a:p>
        </p:txBody>
      </p:sp>
      <p:sp>
        <p:nvSpPr>
          <p:cNvPr id="4" name="Tijdelijke aanduiding voor dianummer 3"/>
          <p:cNvSpPr>
            <a:spLocks noGrp="1"/>
          </p:cNvSpPr>
          <p:nvPr>
            <p:ph type="sldNum" sz="quarter" idx="10"/>
          </p:nvPr>
        </p:nvSpPr>
        <p:spPr/>
        <p:txBody>
          <a:bodyPr/>
          <a:lstStyle/>
          <a:p>
            <a:fld id="{F862BE2C-399D-40B6-A494-611AB4593373}" type="slidenum">
              <a:rPr lang="nl-NL" smtClean="0"/>
              <a:t>17</a:t>
            </a:fld>
            <a:endParaRPr lang="nl-NL"/>
          </a:p>
        </p:txBody>
      </p:sp>
    </p:spTree>
    <p:extLst>
      <p:ext uri="{BB962C8B-B14F-4D97-AF65-F5344CB8AC3E}">
        <p14:creationId xmlns:p14="http://schemas.microsoft.com/office/powerpoint/2010/main" val="26572004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nl-NL" sz="1200" i="1" kern="1200" dirty="0">
              <a:solidFill>
                <a:schemeClr val="tx1"/>
              </a:solidFill>
              <a:effectLst/>
              <a:latin typeface="+mn-lt"/>
              <a:ea typeface="+mn-ea"/>
              <a:cs typeface="+mn-cs"/>
            </a:endParaRPr>
          </a:p>
        </p:txBody>
      </p:sp>
      <p:sp>
        <p:nvSpPr>
          <p:cNvPr id="4" name="Tijdelijke aanduiding voor dianummer 3"/>
          <p:cNvSpPr>
            <a:spLocks noGrp="1"/>
          </p:cNvSpPr>
          <p:nvPr>
            <p:ph type="sldNum" sz="quarter" idx="10"/>
          </p:nvPr>
        </p:nvSpPr>
        <p:spPr/>
        <p:txBody>
          <a:bodyPr/>
          <a:lstStyle/>
          <a:p>
            <a:fld id="{F862BE2C-399D-40B6-A494-611AB4593373}" type="slidenum">
              <a:rPr lang="nl-NL" smtClean="0"/>
              <a:t>18</a:t>
            </a:fld>
            <a:endParaRPr lang="nl-NL"/>
          </a:p>
        </p:txBody>
      </p:sp>
    </p:spTree>
    <p:extLst>
      <p:ext uri="{BB962C8B-B14F-4D97-AF65-F5344CB8AC3E}">
        <p14:creationId xmlns:p14="http://schemas.microsoft.com/office/powerpoint/2010/main" val="23126342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6F2027C0-5126-452D-82E8-DD07C0C90C3C}" type="slidenum">
              <a:rPr lang="nl-NL" smtClean="0"/>
              <a:t>19</a:t>
            </a:fld>
            <a:endParaRPr lang="nl-NL"/>
          </a:p>
        </p:txBody>
      </p:sp>
    </p:spTree>
    <p:extLst>
      <p:ext uri="{BB962C8B-B14F-4D97-AF65-F5344CB8AC3E}">
        <p14:creationId xmlns:p14="http://schemas.microsoft.com/office/powerpoint/2010/main" val="7813280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09035B-1486-4F40-9ED0-B4BD16F04890}"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75282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6F2027C0-5126-452D-82E8-DD07C0C90C3C}" type="slidenum">
              <a:rPr lang="nl-NL" smtClean="0"/>
              <a:t>2</a:t>
            </a:fld>
            <a:endParaRPr lang="nl-NL"/>
          </a:p>
        </p:txBody>
      </p:sp>
    </p:spTree>
    <p:extLst>
      <p:ext uri="{BB962C8B-B14F-4D97-AF65-F5344CB8AC3E}">
        <p14:creationId xmlns:p14="http://schemas.microsoft.com/office/powerpoint/2010/main" val="11388597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nl-B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09035B-1486-4F40-9ED0-B4BD16F04890}"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76472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nl-B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09035B-1486-4F40-9ED0-B4BD16F04890}"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05746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nl-B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09035B-1486-4F40-9ED0-B4BD16F04890}"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63783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nl-B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09035B-1486-4F40-9ED0-B4BD16F04890}"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05265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Het filmpje over de leerlingsoftware vind je ook op: https://www.youtube.com/watch?v=MvxTQ1fAHdw&amp;feature=emb_logo</a:t>
            </a:r>
          </a:p>
          <a:p>
            <a:endParaRPr lang="nl-NL" dirty="0"/>
          </a:p>
          <a:p>
            <a:endParaRPr lang="nl-NL" dirty="0"/>
          </a:p>
          <a:p>
            <a:pPr lvl="0"/>
            <a:endParaRPr lang="nl-B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09035B-1486-4F40-9ED0-B4BD16F04890}"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88384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nl-B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09035B-1486-4F40-9ED0-B4BD16F04890}"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398451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Binnen de leerlingsoftware zijn er twee routes. In beide routes doorlopen de leerlingen dezelfde spellen.</a:t>
            </a:r>
          </a:p>
          <a:p>
            <a:pPr marL="171450" indent="-171450">
              <a:buFontTx/>
              <a:buChar char="-"/>
            </a:pPr>
            <a:r>
              <a:rPr lang="nl-NL" dirty="0" err="1"/>
              <a:t>Ankergebonden</a:t>
            </a:r>
            <a:r>
              <a:rPr lang="nl-NL" dirty="0"/>
              <a:t> route =&gt; spellen met content die aansluit bij het anker; extra </a:t>
            </a:r>
            <a:r>
              <a:rPr lang="nl-NL" dirty="0" err="1"/>
              <a:t>inoefening</a:t>
            </a:r>
            <a:r>
              <a:rPr lang="nl-NL" dirty="0"/>
              <a:t> en verdieping van datgene wat de leerlingen tijdens het anker tegenkomen.</a:t>
            </a:r>
          </a:p>
          <a:p>
            <a:pPr marL="171450" indent="-171450">
              <a:buFontTx/>
              <a:buChar char="-"/>
            </a:pPr>
            <a:r>
              <a:rPr lang="nl-NL" dirty="0" err="1"/>
              <a:t>Ankeroverstijgend</a:t>
            </a:r>
            <a:r>
              <a:rPr lang="nl-NL" dirty="0"/>
              <a:t> route =&gt; het programma genereert automatisch de content waarop de leerling eerder uitviel. Valt de leerling nooit uit op iets, dan genereert de software automatisch random content; bieden van extra oefenstof en herhaling van alles wat ze tegenkomen in Schatkist</a:t>
            </a:r>
          </a:p>
          <a:p>
            <a:pPr lvl="0"/>
            <a:endParaRPr lang="nl-B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09035B-1486-4F40-9ED0-B4BD16F04890}"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019934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nl-NL" b="1" dirty="0">
                <a:solidFill>
                  <a:schemeClr val="bg1"/>
                </a:solidFill>
              </a:rPr>
              <a:t>Creatiespel:</a:t>
            </a:r>
            <a:r>
              <a:rPr lang="nl-NL" dirty="0">
                <a:solidFill>
                  <a:schemeClr val="bg1"/>
                </a:solidFill>
              </a:rPr>
              <a:t> onderzoekend en ontwerpend leren, het creatiespel is het hart, het centrale overkoepelende beloningsspel in de software. Dit spel motiveert de leerlingen om steeds opnieuw de spellen te willen spelen en dus te oefenen en te leren. Het kind verzamelt door spellen te spelen beloningen waarmee het uiteindelijk in dit spel de oplossing voor het probleem van </a:t>
            </a:r>
            <a:r>
              <a:rPr lang="nl-NL" dirty="0" err="1">
                <a:solidFill>
                  <a:schemeClr val="bg1"/>
                </a:solidFill>
              </a:rPr>
              <a:t>Pompom</a:t>
            </a:r>
            <a:r>
              <a:rPr lang="nl-NL" dirty="0">
                <a:solidFill>
                  <a:schemeClr val="bg1"/>
                </a:solidFill>
              </a:rPr>
              <a:t> kan ontwerpen.  Het ontwerp wordt opgeslagen als een foto en kan gedeeld worden via mail of WhatsApp met ouders, opa’s en oma’s. </a:t>
            </a:r>
          </a:p>
          <a:p>
            <a:pPr marL="0" indent="0">
              <a:buFont typeface="Arial" panose="020B0604020202020204" pitchFamily="34" charset="0"/>
              <a:buNone/>
            </a:pPr>
            <a:endParaRPr kumimoji="0" lang="nl-NL" sz="1600" b="0" i="0" u="none" strike="noStrike" kern="1200" cap="none" spc="0" normalizeH="0" baseline="0" noProof="0" dirty="0">
              <a:ln>
                <a:noFill/>
              </a:ln>
              <a:solidFill>
                <a:schemeClr val="bg1"/>
              </a:solidFill>
              <a:effectLst/>
              <a:uLnTx/>
              <a:uFillTx/>
              <a:latin typeface="+mn-lt"/>
              <a:ea typeface="+mn-ea"/>
              <a:cs typeface="Arial" panose="020B0604020202020204" pitchFamily="34" charset="0"/>
            </a:endParaRPr>
          </a:p>
          <a:p>
            <a:pPr marL="0" indent="0">
              <a:buFont typeface="Arial" panose="020B0604020202020204" pitchFamily="34" charset="0"/>
              <a:buNone/>
            </a:pPr>
            <a:r>
              <a:rPr kumimoji="0" lang="nl-NL" sz="1600" b="0" i="0" u="none" strike="noStrike" kern="1200" cap="none" spc="0" normalizeH="0" baseline="0" noProof="0" dirty="0" err="1">
                <a:ln>
                  <a:noFill/>
                </a:ln>
                <a:solidFill>
                  <a:schemeClr val="bg1"/>
                </a:solidFill>
                <a:effectLst/>
                <a:uLnTx/>
                <a:uFillTx/>
                <a:latin typeface="+mn-lt"/>
                <a:ea typeface="+mn-ea"/>
                <a:cs typeface="Arial" panose="020B0604020202020204" pitchFamily="34" charset="0"/>
              </a:rPr>
              <a:t>Computational</a:t>
            </a:r>
            <a:r>
              <a:rPr kumimoji="0" lang="nl-NL" sz="1600" b="0"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 Thinking: bijv. ‘routespel’ =&gt; de leerling kiest uit de pijlen en ‘</a:t>
            </a:r>
            <a:r>
              <a:rPr kumimoji="0" lang="nl-NL" sz="1600" b="0" i="0" u="none" strike="noStrike" kern="1200" cap="none" spc="0" normalizeH="0" baseline="0" noProof="0" dirty="0" err="1">
                <a:ln>
                  <a:noFill/>
                </a:ln>
                <a:solidFill>
                  <a:schemeClr val="bg1"/>
                </a:solidFill>
                <a:effectLst/>
                <a:uLnTx/>
                <a:uFillTx/>
                <a:latin typeface="+mn-lt"/>
                <a:ea typeface="+mn-ea"/>
                <a:cs typeface="Arial" panose="020B0604020202020204" pitchFamily="34" charset="0"/>
              </a:rPr>
              <a:t>progrmammeert</a:t>
            </a:r>
            <a:r>
              <a:rPr kumimoji="0" lang="nl-NL" sz="1600" b="0"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 zo een route naar oma, </a:t>
            </a:r>
            <a:r>
              <a:rPr kumimoji="0" lang="nl-NL" sz="1600" b="0" i="0" u="none" strike="noStrike" kern="1200" cap="none" spc="0" normalizeH="0" baseline="0" noProof="0" dirty="0" err="1">
                <a:ln>
                  <a:noFill/>
                </a:ln>
                <a:solidFill>
                  <a:schemeClr val="bg1"/>
                </a:solidFill>
                <a:effectLst/>
                <a:uLnTx/>
                <a:uFillTx/>
                <a:latin typeface="+mn-lt"/>
                <a:ea typeface="+mn-ea"/>
                <a:cs typeface="Arial" panose="020B0604020202020204" pitchFamily="34" charset="0"/>
              </a:rPr>
              <a:t>Loeloe</a:t>
            </a:r>
            <a:r>
              <a:rPr kumimoji="0" lang="nl-NL" sz="1600" b="0"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 of Snoes</a:t>
            </a:r>
            <a:endParaRPr kumimoji="0" lang="nl-BE" sz="1600" b="0" i="0" u="none" strike="noStrike" kern="1200" cap="none" spc="0" normalizeH="0" baseline="0" noProof="0" dirty="0">
              <a:ln>
                <a:noFill/>
              </a:ln>
              <a:solidFill>
                <a:schemeClr val="bg1"/>
              </a:solidFill>
              <a:effectLst/>
              <a:uLnTx/>
              <a:uFillTx/>
              <a:latin typeface="+mn-lt"/>
              <a:ea typeface="+mn-ea"/>
              <a:cs typeface="Arial" panose="020B0604020202020204" pitchFamily="34" charset="0"/>
            </a:endParaRPr>
          </a:p>
          <a:p>
            <a:endParaRPr lang="nl-NL" b="1" dirty="0">
              <a:solidFill>
                <a:schemeClr val="bg1"/>
              </a:solidFill>
            </a:endParaRPr>
          </a:p>
          <a:p>
            <a:r>
              <a:rPr lang="nl-NL" b="1" dirty="0">
                <a:solidFill>
                  <a:schemeClr val="bg1"/>
                </a:solidFill>
              </a:rPr>
              <a:t>Rekenen: </a:t>
            </a:r>
          </a:p>
          <a:p>
            <a:r>
              <a:rPr lang="nl-NL" dirty="0">
                <a:solidFill>
                  <a:schemeClr val="bg1"/>
                </a:solidFill>
              </a:rPr>
              <a:t>In de drie rekenspellen speelt de leerling spellen op drie domeinen van rekenen: </a:t>
            </a:r>
            <a:r>
              <a:rPr lang="nl-NL" i="1" dirty="0">
                <a:solidFill>
                  <a:schemeClr val="bg1"/>
                </a:solidFill>
              </a:rPr>
              <a:t>meten, meetkunde en getalbegrip</a:t>
            </a:r>
            <a:r>
              <a:rPr lang="nl-NL" dirty="0">
                <a:solidFill>
                  <a:schemeClr val="bg1"/>
                </a:solidFill>
              </a:rPr>
              <a:t>. </a:t>
            </a:r>
          </a:p>
          <a:p>
            <a:r>
              <a:rPr lang="nl-NL" dirty="0">
                <a:solidFill>
                  <a:schemeClr val="bg1"/>
                </a:solidFill>
              </a:rPr>
              <a:t>Daarnaast biedt de leerlingsoftware een overkoepelend rekenspel op het gebied van </a:t>
            </a:r>
            <a:r>
              <a:rPr lang="nl-NL" i="1" dirty="0" err="1">
                <a:solidFill>
                  <a:schemeClr val="bg1"/>
                </a:solidFill>
              </a:rPr>
              <a:t>computational</a:t>
            </a:r>
            <a:r>
              <a:rPr lang="nl-NL" i="1" dirty="0">
                <a:solidFill>
                  <a:schemeClr val="bg1"/>
                </a:solidFill>
              </a:rPr>
              <a:t> thinking</a:t>
            </a:r>
            <a:r>
              <a:rPr lang="nl-NL" dirty="0">
                <a:solidFill>
                  <a:schemeClr val="bg1"/>
                </a:solidFill>
              </a:rPr>
              <a:t>. De leerling puzzelt uit hoe hij de route moet lopen om bij oma, Snoes of </a:t>
            </a:r>
            <a:r>
              <a:rPr lang="nl-NL" dirty="0" err="1">
                <a:solidFill>
                  <a:schemeClr val="bg1"/>
                </a:solidFill>
              </a:rPr>
              <a:t>Loeloe</a:t>
            </a:r>
            <a:r>
              <a:rPr lang="nl-NL" dirty="0">
                <a:solidFill>
                  <a:schemeClr val="bg1"/>
                </a:solidFill>
              </a:rPr>
              <a:t> te komen. </a:t>
            </a:r>
          </a:p>
          <a:p>
            <a:endParaRPr lang="nl-NL" b="1" dirty="0">
              <a:solidFill>
                <a:schemeClr val="bg1"/>
              </a:solidFill>
            </a:endParaRPr>
          </a:p>
          <a:p>
            <a:r>
              <a:rPr lang="nl-NL" b="1" dirty="0">
                <a:solidFill>
                  <a:schemeClr val="bg1"/>
                </a:solidFill>
              </a:rPr>
              <a:t>Taal: </a:t>
            </a:r>
          </a:p>
          <a:p>
            <a:r>
              <a:rPr lang="nl-NL" i="1" dirty="0">
                <a:solidFill>
                  <a:schemeClr val="bg1"/>
                </a:solidFill>
              </a:rPr>
              <a:t>Zoemspel: </a:t>
            </a:r>
            <a:r>
              <a:rPr lang="nl-NL" dirty="0">
                <a:solidFill>
                  <a:schemeClr val="bg1"/>
                </a:solidFill>
              </a:rPr>
              <a:t>de leerling verkent en herhaalt spelenderwijs via ‘het bijenhotel’ letters, klanken en woorden van een bepaald anker</a:t>
            </a:r>
          </a:p>
          <a:p>
            <a:r>
              <a:rPr lang="nl-NL" i="1" dirty="0">
                <a:solidFill>
                  <a:schemeClr val="bg1"/>
                </a:solidFill>
              </a:rPr>
              <a:t>Tims woordenmachine : </a:t>
            </a:r>
            <a:r>
              <a:rPr lang="nl-NL" i="0" dirty="0">
                <a:solidFill>
                  <a:schemeClr val="bg1"/>
                </a:solidFill>
              </a:rPr>
              <a:t>Woordenschatspel, de </a:t>
            </a:r>
            <a:r>
              <a:rPr lang="nl-NL" dirty="0">
                <a:solidFill>
                  <a:schemeClr val="bg1"/>
                </a:solidFill>
              </a:rPr>
              <a:t>leerling oefent en herhaalt de eerder aangeboden woorden uit een bepaald anker. Dit gebeurt spelenderwijs.</a:t>
            </a:r>
          </a:p>
          <a:p>
            <a:pPr lvl="0"/>
            <a:endParaRPr lang="nl-B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09035B-1486-4F40-9ED0-B4BD16F04890}"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523699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nl-NL" b="1" dirty="0">
                <a:solidFill>
                  <a:schemeClr val="bg1"/>
                </a:solidFill>
              </a:rPr>
              <a:t>Creatiespel:</a:t>
            </a:r>
            <a:r>
              <a:rPr lang="nl-NL" dirty="0">
                <a:solidFill>
                  <a:schemeClr val="bg1"/>
                </a:solidFill>
              </a:rPr>
              <a:t> onderzoekend en ontwerpend leren, het creatiespel is het hart, het centrale overkoepelende beloningsspel in de software. Dit spel motiveert de leerlingen om steeds opnieuw de spellen te willen spelen en dus te oefenen en te leren. Het kind verzamelt door spellen te spelen beloningen waarmee het uiteindelijk in dit spel de oplossing voor het probleem van </a:t>
            </a:r>
            <a:r>
              <a:rPr lang="nl-NL" dirty="0" err="1">
                <a:solidFill>
                  <a:schemeClr val="bg1"/>
                </a:solidFill>
              </a:rPr>
              <a:t>Pompom</a:t>
            </a:r>
            <a:r>
              <a:rPr lang="nl-NL" dirty="0">
                <a:solidFill>
                  <a:schemeClr val="bg1"/>
                </a:solidFill>
              </a:rPr>
              <a:t> kan ontwerpen.  Het ontwerp wordt opgeslagen als een foto en kan gedeeld worden via mail of WhatsApp met ouders, opa’s en oma’s. </a:t>
            </a:r>
          </a:p>
          <a:p>
            <a:pPr marL="0" indent="0">
              <a:buFont typeface="Arial" panose="020B0604020202020204" pitchFamily="34" charset="0"/>
              <a:buNone/>
            </a:pPr>
            <a:endParaRPr kumimoji="0" lang="nl-NL" sz="1600" b="0" i="0" u="none" strike="noStrike" kern="1200" cap="none" spc="0" normalizeH="0" baseline="0" noProof="0" dirty="0">
              <a:ln>
                <a:noFill/>
              </a:ln>
              <a:solidFill>
                <a:schemeClr val="bg1"/>
              </a:solidFill>
              <a:effectLst/>
              <a:uLnTx/>
              <a:uFillTx/>
              <a:latin typeface="+mn-lt"/>
              <a:ea typeface="+mn-ea"/>
              <a:cs typeface="Arial" panose="020B0604020202020204" pitchFamily="34" charset="0"/>
            </a:endParaRPr>
          </a:p>
          <a:p>
            <a:pPr lvl="0"/>
            <a:endParaRPr lang="nl-B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09035B-1486-4F40-9ED0-B4BD16F04890}"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998591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nl-B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09035B-1486-4F40-9ED0-B4BD16F04890}"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90777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Het filmpje geeft de sterke punten van Schatkist op een duidelijke en overzichtelijke manier weer. </a:t>
            </a:r>
          </a:p>
          <a:p>
            <a:r>
              <a:rPr lang="nl-NL" dirty="0"/>
              <a:t>https://www.youtube.com/watch?v=bntWwldA28I</a:t>
            </a:r>
          </a:p>
          <a:p>
            <a:endParaRPr lang="nl-NL" dirty="0"/>
          </a:p>
          <a:p>
            <a:pPr lvl="0"/>
            <a:r>
              <a:rPr lang="nl-NL" sz="1200" b="1" kern="1200" dirty="0">
                <a:solidFill>
                  <a:schemeClr val="tx1"/>
                </a:solidFill>
                <a:effectLst/>
                <a:latin typeface="+mn-lt"/>
                <a:ea typeface="+mn-ea"/>
                <a:cs typeface="+mn-cs"/>
              </a:rPr>
              <a:t>Keuzevrijheid &amp; flexibiliteit</a:t>
            </a:r>
          </a:p>
          <a:p>
            <a:r>
              <a:rPr lang="nl-NL" sz="1200" b="0" i="0" u="none" strike="noStrike" kern="1200" baseline="0" dirty="0">
                <a:solidFill>
                  <a:schemeClr val="tx1"/>
                </a:solidFill>
                <a:latin typeface="+mn-lt"/>
                <a:ea typeface="+mn-ea"/>
                <a:cs typeface="+mn-cs"/>
              </a:rPr>
              <a:t>Schatkist stimuleert kinderen in hun totale ontwikkeling. In een betekenisvolle context worden kinderen uitgedaagd om samen met elkaar nieuwe ervaringen op te doen en te spelen. </a:t>
            </a:r>
            <a:r>
              <a:rPr lang="nl-NL" sz="1200" kern="1200" dirty="0">
                <a:solidFill>
                  <a:schemeClr val="tx1"/>
                </a:solidFill>
                <a:effectLst/>
                <a:latin typeface="+mn-lt"/>
                <a:ea typeface="+mn-ea"/>
                <a:cs typeface="+mn-cs"/>
              </a:rPr>
              <a:t>Je hoeft niet alles van Schatkist aan te bieden. Je bepaalt helemaal zelf welke thema’s en activiteiten je op welk moment inzet. </a:t>
            </a:r>
          </a:p>
          <a:p>
            <a:endParaRPr lang="nl-NL" sz="1200" b="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sz="1200" b="1" kern="1200" dirty="0">
                <a:solidFill>
                  <a:schemeClr val="tx1"/>
                </a:solidFill>
                <a:effectLst/>
                <a:latin typeface="+mn-lt"/>
                <a:ea typeface="+mn-ea"/>
                <a:cs typeface="+mn-cs"/>
              </a:rPr>
              <a:t>Ondersteuning bij eigen thema’s en activiteiten</a:t>
            </a:r>
            <a:br>
              <a:rPr lang="nl-NL" sz="1200" b="1" kern="1200" dirty="0">
                <a:solidFill>
                  <a:schemeClr val="tx1"/>
                </a:solidFill>
                <a:effectLst/>
                <a:latin typeface="+mn-lt"/>
                <a:ea typeface="+mn-ea"/>
                <a:cs typeface="+mn-cs"/>
              </a:rPr>
            </a:br>
            <a:r>
              <a:rPr lang="nl-NL" sz="1200" kern="1200" dirty="0">
                <a:solidFill>
                  <a:schemeClr val="tx1"/>
                </a:solidFill>
                <a:effectLst/>
                <a:latin typeface="+mn-lt"/>
                <a:ea typeface="+mn-ea"/>
                <a:cs typeface="+mn-cs"/>
              </a:rPr>
              <a:t>Bovendien krijg je ondersteuning bij eigen thema’s en activiteiten. Daarmee zorg je ervoor dat alle activiteiten, zowel die van Schatkist als die van jezelf, één samenhangend aanbod vormen voor de kinderen. </a:t>
            </a:r>
          </a:p>
          <a:p>
            <a:endParaRPr lang="nl-NL" sz="1200" b="0" kern="1200" dirty="0">
              <a:solidFill>
                <a:schemeClr val="tx1"/>
              </a:solidFill>
              <a:effectLst/>
              <a:latin typeface="+mn-lt"/>
              <a:ea typeface="+mn-ea"/>
              <a:cs typeface="+mn-cs"/>
            </a:endParaRPr>
          </a:p>
          <a:p>
            <a:r>
              <a:rPr lang="nl-NL" sz="1200" b="1" kern="1200" dirty="0" err="1">
                <a:solidFill>
                  <a:schemeClr val="tx1"/>
                </a:solidFill>
                <a:effectLst/>
                <a:latin typeface="+mn-lt"/>
                <a:ea typeface="+mn-ea"/>
                <a:cs typeface="+mn-cs"/>
              </a:rPr>
              <a:t>Kerndoeldekkend</a:t>
            </a:r>
            <a:endParaRPr lang="nl-NL" sz="1200" b="1" kern="1200" dirty="0">
              <a:solidFill>
                <a:schemeClr val="tx1"/>
              </a:solidFill>
              <a:effectLst/>
              <a:latin typeface="+mn-lt"/>
              <a:ea typeface="+mn-ea"/>
              <a:cs typeface="+mn-cs"/>
            </a:endParaRPr>
          </a:p>
          <a:p>
            <a:r>
              <a:rPr lang="nl-NL" sz="1200" kern="1200" dirty="0">
                <a:solidFill>
                  <a:schemeClr val="tx1"/>
                </a:solidFill>
                <a:effectLst/>
                <a:latin typeface="+mn-lt"/>
                <a:ea typeface="+mn-ea"/>
                <a:cs typeface="+mn-cs"/>
              </a:rPr>
              <a:t>In Schatkist komen de volgende kerndoelen aan bod: Taal, Rekenen, Sociaal-emotionele ontwikkeling, Motoriek, Kunstzinnige vorming, Wereldoriëntatie, Wetenschap &amp; Technologie. </a:t>
            </a:r>
          </a:p>
          <a:p>
            <a:endParaRPr lang="nl-NL" sz="1200" kern="1200" dirty="0">
              <a:solidFill>
                <a:schemeClr val="tx1"/>
              </a:solidFill>
              <a:effectLst/>
              <a:latin typeface="+mn-lt"/>
              <a:ea typeface="+mn-ea"/>
              <a:cs typeface="+mn-cs"/>
            </a:endParaRPr>
          </a:p>
          <a:p>
            <a:r>
              <a:rPr lang="nl-NL" sz="1200" kern="1200" dirty="0">
                <a:solidFill>
                  <a:schemeClr val="tx1"/>
                </a:solidFill>
                <a:effectLst/>
                <a:latin typeface="+mn-lt"/>
                <a:ea typeface="+mn-ea"/>
                <a:cs typeface="+mn-cs"/>
              </a:rPr>
              <a:t>Rekenen</a:t>
            </a:r>
          </a:p>
          <a:p>
            <a:r>
              <a:rPr lang="nl-NL" sz="1200" kern="1200" dirty="0">
                <a:solidFill>
                  <a:schemeClr val="tx1"/>
                </a:solidFill>
                <a:effectLst/>
                <a:latin typeface="+mn-lt"/>
                <a:ea typeface="+mn-ea"/>
                <a:cs typeface="+mn-cs"/>
              </a:rPr>
              <a:t>Rekenen is een belangrijk ontwikkelingsgebied. Daarom komt rekenen in elk anker speels en doelgericht aan bod. Rekenen zit op heel veel plekken in Schatkist. Natuurlijk in de kring-activiteiten, maar ook in spel in de hoeken, in de prentenboeken, in de voorleesboekjes en in de routines</a:t>
            </a:r>
          </a:p>
          <a:p>
            <a:endParaRPr lang="nl-NL" sz="1200" kern="1200" dirty="0">
              <a:solidFill>
                <a:schemeClr val="tx1"/>
              </a:solidFill>
              <a:effectLst/>
              <a:latin typeface="+mn-lt"/>
              <a:ea typeface="+mn-ea"/>
              <a:cs typeface="+mn-cs"/>
            </a:endParaRPr>
          </a:p>
          <a:p>
            <a:r>
              <a:rPr lang="nl-NL" sz="1200" b="1" kern="1200" dirty="0">
                <a:solidFill>
                  <a:schemeClr val="tx1"/>
                </a:solidFill>
                <a:effectLst/>
                <a:latin typeface="+mn-lt"/>
                <a:ea typeface="+mn-ea"/>
                <a:cs typeface="+mn-cs"/>
              </a:rPr>
              <a:t>Sluit aan bij Uk &amp; Puk en Veilig leren lezen kim-versie</a:t>
            </a:r>
          </a:p>
          <a:p>
            <a:r>
              <a:rPr lang="nl-NL" sz="1200" b="0" u="sng" kern="1200" dirty="0">
                <a:solidFill>
                  <a:schemeClr val="tx1"/>
                </a:solidFill>
                <a:effectLst/>
                <a:latin typeface="+mn-lt"/>
                <a:ea typeface="+mn-ea"/>
                <a:cs typeface="+mn-cs"/>
              </a:rPr>
              <a:t>Veilig leren lezen kim-versie</a:t>
            </a:r>
            <a:r>
              <a:rPr lang="nl-NL" sz="1200" b="0" kern="1200" dirty="0">
                <a:solidFill>
                  <a:schemeClr val="tx1"/>
                </a:solidFill>
                <a:effectLst/>
                <a:latin typeface="+mn-lt"/>
                <a:ea typeface="+mn-ea"/>
                <a:cs typeface="+mn-cs"/>
              </a:rPr>
              <a:t>: Naast het zoemend zeggen in Schatkist en het zoemend lezen in Veilig leren lezen, gaan leerlingen aan de slag met het alzijdig verkennen van de letter. Verhaaloriëntatie en verhaalbegrip vormen bij beide methoden de basis om te werken aan woordenschat. Er wordt ondersteuning gegeven om woorden in verhalen verder uit te diepen. Bovendien is er herkenbaarheid in de materialen en zijn er aansluitende thema’s en pictogrammen. Differentiatie vindt plaats op dezelfde 3 niveaus: ster, maan, zon. Tenslotte werk je met hetzelfde programma: </a:t>
            </a:r>
            <a:r>
              <a:rPr lang="nl-NL" sz="1200" b="0" kern="1200" dirty="0" err="1">
                <a:solidFill>
                  <a:schemeClr val="tx1"/>
                </a:solidFill>
                <a:effectLst/>
                <a:latin typeface="+mn-lt"/>
                <a:ea typeface="+mn-ea"/>
                <a:cs typeface="+mn-cs"/>
              </a:rPr>
              <a:t>Digiregie</a:t>
            </a:r>
            <a:r>
              <a:rPr lang="nl-NL" sz="1200" b="0" kern="1200" dirty="0">
                <a:solidFill>
                  <a:schemeClr val="tx1"/>
                </a:solidFill>
                <a:effectLst/>
                <a:latin typeface="+mn-lt"/>
                <a:ea typeface="+mn-ea"/>
                <a:cs typeface="+mn-cs"/>
              </a:rPr>
              <a:t>. Hierin komen planning, observatie, registratie, </a:t>
            </a:r>
            <a:r>
              <a:rPr lang="nl-NL" sz="1200" b="0" kern="1200" dirty="0" err="1">
                <a:solidFill>
                  <a:schemeClr val="tx1"/>
                </a:solidFill>
                <a:effectLst/>
                <a:latin typeface="+mn-lt"/>
                <a:ea typeface="+mn-ea"/>
                <a:cs typeface="+mn-cs"/>
              </a:rPr>
              <a:t>leerlingoverzichten</a:t>
            </a:r>
            <a:r>
              <a:rPr lang="nl-NL" sz="1200" b="0" kern="1200" dirty="0">
                <a:solidFill>
                  <a:schemeClr val="tx1"/>
                </a:solidFill>
                <a:effectLst/>
                <a:latin typeface="+mn-lt"/>
                <a:ea typeface="+mn-ea"/>
                <a:cs typeface="+mn-cs"/>
              </a:rPr>
              <a:t>, materialen en achtergrondinformatie samen.</a:t>
            </a:r>
          </a:p>
          <a:p>
            <a:endParaRPr lang="nl-NL" sz="1200" b="0" kern="1200" dirty="0">
              <a:solidFill>
                <a:schemeClr val="tx1"/>
              </a:solidFill>
              <a:effectLst/>
              <a:latin typeface="+mn-lt"/>
              <a:ea typeface="+mn-ea"/>
              <a:cs typeface="+mn-cs"/>
            </a:endParaRPr>
          </a:p>
          <a:p>
            <a:r>
              <a:rPr lang="nl-NL" sz="1200" b="0" u="sng" kern="1200" dirty="0">
                <a:solidFill>
                  <a:schemeClr val="tx1"/>
                </a:solidFill>
                <a:effectLst/>
                <a:latin typeface="+mn-lt"/>
                <a:ea typeface="+mn-ea"/>
                <a:cs typeface="+mn-cs"/>
              </a:rPr>
              <a:t>Uk &amp; Puk</a:t>
            </a:r>
            <a:r>
              <a:rPr lang="nl-NL" sz="1200" b="0" kern="1200" dirty="0">
                <a:solidFill>
                  <a:schemeClr val="tx1"/>
                </a:solidFill>
                <a:effectLst/>
                <a:latin typeface="+mn-lt"/>
                <a:ea typeface="+mn-ea"/>
                <a:cs typeface="+mn-cs"/>
              </a:rPr>
              <a:t>: </a:t>
            </a:r>
            <a:r>
              <a:rPr lang="nl-NL" sz="1200" b="0" i="0" kern="1200" dirty="0">
                <a:solidFill>
                  <a:schemeClr val="tx1"/>
                </a:solidFill>
                <a:effectLst/>
                <a:latin typeface="+mn-lt"/>
                <a:ea typeface="+mn-ea"/>
                <a:cs typeface="+mn-cs"/>
              </a:rPr>
              <a:t>Er zijn steeds meer peuters die met Uk &amp; Puk werken. Uk &amp; Puk daagt kinderen van 0 tot 4 jaar bij kindercentra (baby's, dreumesen en peuters) uit om al spelenderwijs de wereld te ontdekken en belangrijke vaardigheden op te doen. Dat gebeurt met doelgerichte activiteiten op het gebied van taal, spraak, motoriek en sociale-emotionele ontwikkeling. Vanaf groep 1 borduurt Schatkist hierop voort met aansluitende doelen, thema's, ankers en overeenkomstige materialen (zoals de pop, het prentenboek en dagritmekaarten). Een subtiele overgang van kinderdagverblijf of peuterspeelzaal naar basisschool.</a:t>
            </a:r>
            <a:endParaRPr lang="nl-BE" dirty="0"/>
          </a:p>
          <a:p>
            <a:endParaRPr lang="nl-NL" sz="1200" kern="1200" dirty="0">
              <a:solidFill>
                <a:schemeClr val="tx1"/>
              </a:solidFill>
              <a:effectLst/>
              <a:latin typeface="+mn-lt"/>
              <a:ea typeface="+mn-ea"/>
              <a:cs typeface="+mn-cs"/>
            </a:endParaRPr>
          </a:p>
          <a:p>
            <a:r>
              <a:rPr lang="nl-NL" sz="1200" b="1" kern="1200" dirty="0">
                <a:solidFill>
                  <a:schemeClr val="tx1"/>
                </a:solidFill>
                <a:effectLst/>
                <a:latin typeface="+mn-lt"/>
                <a:ea typeface="+mn-ea"/>
                <a:cs typeface="+mn-cs"/>
              </a:rPr>
              <a:t>VVE-</a:t>
            </a:r>
            <a:r>
              <a:rPr lang="nl-NL" sz="1200" b="1" kern="1200" dirty="0" err="1">
                <a:solidFill>
                  <a:schemeClr val="tx1"/>
                </a:solidFill>
                <a:effectLst/>
                <a:latin typeface="+mn-lt"/>
                <a:ea typeface="+mn-ea"/>
                <a:cs typeface="+mn-cs"/>
              </a:rPr>
              <a:t>proof</a:t>
            </a:r>
            <a:endParaRPr lang="nl-NL" sz="1200" b="1" kern="1200" dirty="0">
              <a:solidFill>
                <a:schemeClr val="tx1"/>
              </a:solidFill>
              <a:effectLst/>
              <a:latin typeface="+mn-lt"/>
              <a:ea typeface="+mn-ea"/>
              <a:cs typeface="+mn-cs"/>
            </a:endParaRPr>
          </a:p>
          <a:p>
            <a:r>
              <a:rPr lang="nl-NL" sz="1200" b="0" kern="1200" dirty="0">
                <a:solidFill>
                  <a:schemeClr val="tx1"/>
                </a:solidFill>
                <a:effectLst/>
                <a:latin typeface="+mn-lt"/>
                <a:ea typeface="+mn-ea"/>
                <a:cs typeface="+mn-cs"/>
              </a:rPr>
              <a:t>Er is specifieke aandacht voor tweede-</a:t>
            </a:r>
            <a:r>
              <a:rPr lang="nl-NL" sz="1200" b="0" kern="1200" dirty="0" err="1">
                <a:solidFill>
                  <a:schemeClr val="tx1"/>
                </a:solidFill>
                <a:effectLst/>
                <a:latin typeface="+mn-lt"/>
                <a:ea typeface="+mn-ea"/>
                <a:cs typeface="+mn-cs"/>
              </a:rPr>
              <a:t>taalleerders</a:t>
            </a:r>
            <a:r>
              <a:rPr lang="nl-NL" sz="1200" b="0" kern="1200" dirty="0">
                <a:solidFill>
                  <a:schemeClr val="tx1"/>
                </a:solidFill>
                <a:effectLst/>
                <a:latin typeface="+mn-lt"/>
                <a:ea typeface="+mn-ea"/>
                <a:cs typeface="+mn-cs"/>
              </a:rPr>
              <a:t> en anderstalige nieuwkomers. Zo is in elke anker een </a:t>
            </a:r>
            <a:r>
              <a:rPr lang="nl-NL" sz="1200" b="0" kern="1200" dirty="0" err="1">
                <a:solidFill>
                  <a:schemeClr val="tx1"/>
                </a:solidFill>
                <a:effectLst/>
                <a:latin typeface="+mn-lt"/>
                <a:ea typeface="+mn-ea"/>
                <a:cs typeface="+mn-cs"/>
              </a:rPr>
              <a:t>preteaching</a:t>
            </a:r>
            <a:r>
              <a:rPr lang="nl-NL" sz="1200" b="0" kern="1200" dirty="0">
                <a:solidFill>
                  <a:schemeClr val="tx1"/>
                </a:solidFill>
                <a:effectLst/>
                <a:latin typeface="+mn-lt"/>
                <a:ea typeface="+mn-ea"/>
                <a:cs typeface="+mn-cs"/>
              </a:rPr>
              <a:t>-activiteit opgenomen. Ook zijn er veel tips om kinderen positieve ervaringen met andere talen en culturen op te laten doen.</a:t>
            </a:r>
          </a:p>
          <a:p>
            <a:endParaRPr lang="nl-NL" sz="1200" kern="1200" dirty="0">
              <a:solidFill>
                <a:schemeClr val="tx1"/>
              </a:solidFill>
              <a:effectLst/>
              <a:latin typeface="+mn-lt"/>
              <a:ea typeface="+mn-ea"/>
              <a:cs typeface="+mn-cs"/>
            </a:endParaRPr>
          </a:p>
          <a:p>
            <a:r>
              <a:rPr lang="nl-NL" sz="1200" b="1" kern="1200" dirty="0">
                <a:solidFill>
                  <a:schemeClr val="tx1"/>
                </a:solidFill>
                <a:effectLst/>
                <a:latin typeface="+mn-lt"/>
                <a:ea typeface="+mn-ea"/>
                <a:cs typeface="+mn-cs"/>
              </a:rPr>
              <a:t>Wetenschap &amp; technologie geïntegreerd</a:t>
            </a:r>
          </a:p>
          <a:p>
            <a:r>
              <a:rPr lang="nl-NL" sz="1200" kern="1200" dirty="0">
                <a:solidFill>
                  <a:schemeClr val="tx1"/>
                </a:solidFill>
                <a:effectLst/>
                <a:latin typeface="+mn-lt"/>
                <a:ea typeface="+mn-ea"/>
                <a:cs typeface="+mn-cs"/>
              </a:rPr>
              <a:t>Vanaf 2020 wordt vanuit het SLO Wetenschap en technologie </a:t>
            </a:r>
            <a:r>
              <a:rPr lang="nl-NL" sz="1200" b="1" kern="1200" dirty="0">
                <a:solidFill>
                  <a:schemeClr val="tx1"/>
                </a:solidFill>
                <a:effectLst/>
                <a:latin typeface="+mn-lt"/>
                <a:ea typeface="+mn-ea"/>
                <a:cs typeface="+mn-cs"/>
              </a:rPr>
              <a:t>verplicht</a:t>
            </a:r>
            <a:r>
              <a:rPr lang="nl-NL" sz="1200" kern="1200" dirty="0">
                <a:solidFill>
                  <a:schemeClr val="tx1"/>
                </a:solidFill>
                <a:effectLst/>
                <a:latin typeface="+mn-lt"/>
                <a:ea typeface="+mn-ea"/>
                <a:cs typeface="+mn-cs"/>
              </a:rPr>
              <a:t> gesteld. Schatkist is de enige methode die dit heeft geïntegreerd. </a:t>
            </a:r>
          </a:p>
          <a:p>
            <a:endParaRPr lang="nl-NL" dirty="0"/>
          </a:p>
        </p:txBody>
      </p:sp>
      <p:sp>
        <p:nvSpPr>
          <p:cNvPr id="4" name="Tijdelijke aanduiding voor dianummer 3"/>
          <p:cNvSpPr>
            <a:spLocks noGrp="1"/>
          </p:cNvSpPr>
          <p:nvPr>
            <p:ph type="sldNum" sz="quarter" idx="10"/>
          </p:nvPr>
        </p:nvSpPr>
        <p:spPr/>
        <p:txBody>
          <a:bodyPr/>
          <a:lstStyle/>
          <a:p>
            <a:fld id="{00A3AE8D-1D93-4ED3-B78F-24886745B11B}" type="slidenum">
              <a:rPr lang="nl-NL" smtClean="0"/>
              <a:t>3</a:t>
            </a:fld>
            <a:endParaRPr lang="nl-NL"/>
          </a:p>
        </p:txBody>
      </p:sp>
    </p:spTree>
    <p:extLst>
      <p:ext uri="{BB962C8B-B14F-4D97-AF65-F5344CB8AC3E}">
        <p14:creationId xmlns:p14="http://schemas.microsoft.com/office/powerpoint/2010/main" val="19633628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nl-B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09035B-1486-4F40-9ED0-B4BD16F04890}"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273230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nl-B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09035B-1486-4F40-9ED0-B4BD16F04890}"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317651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nl-B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09035B-1486-4F40-9ED0-B4BD16F04890}"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057200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nl-B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09035B-1486-4F40-9ED0-B4BD16F04890}"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74680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nl-B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09035B-1486-4F40-9ED0-B4BD16F04890}"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06242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nl-B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09035B-1486-4F40-9ED0-B4BD16F04890}"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720718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nl-B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09035B-1486-4F40-9ED0-B4BD16F04890}"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629698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09035B-1486-4F40-9ED0-B4BD16F04890}"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456432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10"/>
          </p:nvPr>
        </p:nvSpPr>
        <p:spPr/>
        <p:txBody>
          <a:bodyPr/>
          <a:lstStyle/>
          <a:p>
            <a:fld id="{3B09035B-1486-4F40-9ED0-B4BD16F04890}" type="slidenum">
              <a:rPr lang="nl-BE" smtClean="0"/>
              <a:t>41</a:t>
            </a:fld>
            <a:endParaRPr lang="nl-BE"/>
          </a:p>
        </p:txBody>
      </p:sp>
    </p:spTree>
    <p:extLst>
      <p:ext uri="{BB962C8B-B14F-4D97-AF65-F5344CB8AC3E}">
        <p14:creationId xmlns:p14="http://schemas.microsoft.com/office/powerpoint/2010/main" val="152378794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10"/>
          </p:nvPr>
        </p:nvSpPr>
        <p:spPr/>
        <p:txBody>
          <a:bodyPr/>
          <a:lstStyle/>
          <a:p>
            <a:fld id="{3B09035B-1486-4F40-9ED0-B4BD16F04890}" type="slidenum">
              <a:rPr lang="nl-BE" smtClean="0"/>
              <a:t>42</a:t>
            </a:fld>
            <a:endParaRPr lang="nl-BE"/>
          </a:p>
        </p:txBody>
      </p:sp>
    </p:spTree>
    <p:extLst>
      <p:ext uri="{BB962C8B-B14F-4D97-AF65-F5344CB8AC3E}">
        <p14:creationId xmlns:p14="http://schemas.microsoft.com/office/powerpoint/2010/main" val="10409890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6F2027C0-5126-452D-82E8-DD07C0C90C3C}" type="slidenum">
              <a:rPr lang="nl-NL" smtClean="0"/>
              <a:t>4</a:t>
            </a:fld>
            <a:endParaRPr lang="nl-NL"/>
          </a:p>
        </p:txBody>
      </p:sp>
    </p:spTree>
    <p:extLst>
      <p:ext uri="{BB962C8B-B14F-4D97-AF65-F5344CB8AC3E}">
        <p14:creationId xmlns:p14="http://schemas.microsoft.com/office/powerpoint/2010/main" val="377439956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nl-NL"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0FAFD5-F58E-433D-848A-CF3FF98849F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286133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nl-NL"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0FAFD5-F58E-433D-848A-CF3FF98849F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61141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00A3AE8D-1D93-4ED3-B78F-24886745B11B}" type="slidenum">
              <a:rPr lang="nl-NL" smtClean="0"/>
              <a:t>5</a:t>
            </a:fld>
            <a:endParaRPr lang="nl-NL"/>
          </a:p>
        </p:txBody>
      </p:sp>
    </p:spTree>
    <p:extLst>
      <p:ext uri="{BB962C8B-B14F-4D97-AF65-F5344CB8AC3E}">
        <p14:creationId xmlns:p14="http://schemas.microsoft.com/office/powerpoint/2010/main" val="35000975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Link naar het  nieuwste filmpje over keuzevrijheid: https://www.youtube.com/watch?time_continue=116&amp;v=zOqa1-_eLnI&amp;feature=emb_logo</a:t>
            </a:r>
          </a:p>
          <a:p>
            <a:endParaRPr lang="nl-NL" dirty="0"/>
          </a:p>
          <a:p>
            <a:r>
              <a:rPr lang="nl-NL" dirty="0"/>
              <a:t>Link naar vorige filmpje over keuzevrijheid: https://www.youtube.com/watch?v=59Dn37q5Kzc&amp;feature=youtu.be</a:t>
            </a:r>
          </a:p>
          <a:p>
            <a:endParaRPr lang="nl-NL" dirty="0"/>
          </a:p>
        </p:txBody>
      </p:sp>
      <p:sp>
        <p:nvSpPr>
          <p:cNvPr id="4" name="Tijdelijke aanduiding voor dianummer 3"/>
          <p:cNvSpPr>
            <a:spLocks noGrp="1"/>
          </p:cNvSpPr>
          <p:nvPr>
            <p:ph type="sldNum" sz="quarter" idx="10"/>
          </p:nvPr>
        </p:nvSpPr>
        <p:spPr/>
        <p:txBody>
          <a:bodyPr/>
          <a:lstStyle/>
          <a:p>
            <a:fld id="{00A3AE8D-1D93-4ED3-B78F-24886745B11B}" type="slidenum">
              <a:rPr lang="nl-NL" smtClean="0"/>
              <a:t>6</a:t>
            </a:fld>
            <a:endParaRPr lang="nl-NL"/>
          </a:p>
        </p:txBody>
      </p:sp>
    </p:spTree>
    <p:extLst>
      <p:ext uri="{BB962C8B-B14F-4D97-AF65-F5344CB8AC3E}">
        <p14:creationId xmlns:p14="http://schemas.microsoft.com/office/powerpoint/2010/main" val="29586732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Al met 6 ankers per jaar bied je een kerndoel dekkend aanbod.</a:t>
            </a:r>
          </a:p>
        </p:txBody>
      </p:sp>
      <p:sp>
        <p:nvSpPr>
          <p:cNvPr id="4" name="Slide Number Placeholder 3"/>
          <p:cNvSpPr>
            <a:spLocks noGrp="1"/>
          </p:cNvSpPr>
          <p:nvPr>
            <p:ph type="sldNum" sz="quarter" idx="10"/>
          </p:nvPr>
        </p:nvSpPr>
        <p:spPr/>
        <p:txBody>
          <a:bodyPr/>
          <a:lstStyle/>
          <a:p>
            <a:fld id="{3B09035B-1486-4F40-9ED0-B4BD16F04890}" type="slidenum">
              <a:rPr lang="nl-BE" smtClean="0"/>
              <a:t>7</a:t>
            </a:fld>
            <a:endParaRPr lang="nl-BE"/>
          </a:p>
        </p:txBody>
      </p:sp>
    </p:spTree>
    <p:extLst>
      <p:ext uri="{BB962C8B-B14F-4D97-AF65-F5344CB8AC3E}">
        <p14:creationId xmlns:p14="http://schemas.microsoft.com/office/powerpoint/2010/main" val="17778723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effectLst/>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09035B-1486-4F40-9ED0-B4BD16F04890}"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79288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10"/>
          </p:nvPr>
        </p:nvSpPr>
        <p:spPr/>
        <p:txBody>
          <a:bodyPr/>
          <a:lstStyle/>
          <a:p>
            <a:fld id="{3B09035B-1486-4F40-9ED0-B4BD16F04890}" type="slidenum">
              <a:rPr lang="nl-BE" smtClean="0"/>
              <a:t>9</a:t>
            </a:fld>
            <a:endParaRPr lang="nl-BE"/>
          </a:p>
        </p:txBody>
      </p:sp>
    </p:spTree>
    <p:extLst>
      <p:ext uri="{BB962C8B-B14F-4D97-AF65-F5344CB8AC3E}">
        <p14:creationId xmlns:p14="http://schemas.microsoft.com/office/powerpoint/2010/main" val="39863441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3B2754A-2D37-4BF7-9324-EFD9EC919823}"/>
              </a:ext>
            </a:extLst>
          </p:cNvPr>
          <p:cNvSpPr>
            <a:spLocks noGrp="1"/>
          </p:cNvSpPr>
          <p:nvPr>
            <p:ph type="ctrTitle"/>
          </p:nvPr>
        </p:nvSpPr>
        <p:spPr>
          <a:xfrm>
            <a:off x="1524000" y="1122363"/>
            <a:ext cx="9144000" cy="2387600"/>
          </a:xfrm>
        </p:spPr>
        <p:txBody>
          <a:bodyPr anchor="b"/>
          <a:lstStyle>
            <a:lvl1pPr algn="ctr">
              <a:defRPr sz="6000"/>
            </a:lvl1pPr>
          </a:lstStyle>
          <a:p>
            <a:r>
              <a:rPr lang="nl-NL"/>
              <a:t>Klik om stijl te bewerken</a:t>
            </a:r>
          </a:p>
        </p:txBody>
      </p:sp>
      <p:sp>
        <p:nvSpPr>
          <p:cNvPr id="3" name="Ondertitel 2">
            <a:extLst>
              <a:ext uri="{FF2B5EF4-FFF2-40B4-BE49-F238E27FC236}">
                <a16:creationId xmlns:a16="http://schemas.microsoft.com/office/drawing/2014/main" id="{DB6875F5-1572-4B7D-96A0-9DF40D9F93C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4" name="Tijdelijke aanduiding voor datum 3">
            <a:extLst>
              <a:ext uri="{FF2B5EF4-FFF2-40B4-BE49-F238E27FC236}">
                <a16:creationId xmlns:a16="http://schemas.microsoft.com/office/drawing/2014/main" id="{B7FE9B01-5F59-47D4-9E8A-47FB7EF367C2}"/>
              </a:ext>
            </a:extLst>
          </p:cNvPr>
          <p:cNvSpPr>
            <a:spLocks noGrp="1"/>
          </p:cNvSpPr>
          <p:nvPr>
            <p:ph type="dt" sz="half" idx="10"/>
          </p:nvPr>
        </p:nvSpPr>
        <p:spPr/>
        <p:txBody>
          <a:bodyPr/>
          <a:lstStyle/>
          <a:p>
            <a:fld id="{01D794D1-DA4E-4BFB-A6D5-E8DD8A8910CB}" type="datetimeFigureOut">
              <a:rPr lang="nl-NL" smtClean="0"/>
              <a:t>7-1-2020</a:t>
            </a:fld>
            <a:endParaRPr lang="nl-NL"/>
          </a:p>
        </p:txBody>
      </p:sp>
      <p:sp>
        <p:nvSpPr>
          <p:cNvPr id="5" name="Tijdelijke aanduiding voor voettekst 4">
            <a:extLst>
              <a:ext uri="{FF2B5EF4-FFF2-40B4-BE49-F238E27FC236}">
                <a16:creationId xmlns:a16="http://schemas.microsoft.com/office/drawing/2014/main" id="{A1ED1FE2-801B-4E5D-822E-49CD9FC8460C}"/>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F8D20F04-EEFC-480B-A979-E5F1C6D4731A}"/>
              </a:ext>
            </a:extLst>
          </p:cNvPr>
          <p:cNvSpPr>
            <a:spLocks noGrp="1"/>
          </p:cNvSpPr>
          <p:nvPr>
            <p:ph type="sldNum" sz="quarter" idx="12"/>
          </p:nvPr>
        </p:nvSpPr>
        <p:spPr/>
        <p:txBody>
          <a:bodyPr/>
          <a:lstStyle/>
          <a:p>
            <a:fld id="{C5FC540B-A53C-4A2D-9BE5-1911A59F9402}" type="slidenum">
              <a:rPr lang="nl-NL" smtClean="0"/>
              <a:t>‹nr.›</a:t>
            </a:fld>
            <a:endParaRPr lang="nl-NL"/>
          </a:p>
        </p:txBody>
      </p:sp>
    </p:spTree>
    <p:extLst>
      <p:ext uri="{BB962C8B-B14F-4D97-AF65-F5344CB8AC3E}">
        <p14:creationId xmlns:p14="http://schemas.microsoft.com/office/powerpoint/2010/main" val="18561542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F628CE-5EEB-4649-AF5A-A346DC608118}"/>
              </a:ext>
            </a:extLst>
          </p:cNvPr>
          <p:cNvSpPr>
            <a:spLocks noGrp="1"/>
          </p:cNvSpPr>
          <p:nvPr>
            <p:ph type="title"/>
          </p:nvPr>
        </p:nvSpPr>
        <p:spPr/>
        <p:txBody>
          <a:bodyPr/>
          <a:lstStyle/>
          <a:p>
            <a:r>
              <a:rPr lang="nl-NL"/>
              <a:t>Klik om stijl te bewerken</a:t>
            </a:r>
          </a:p>
        </p:txBody>
      </p:sp>
      <p:sp>
        <p:nvSpPr>
          <p:cNvPr id="3" name="Tijdelijke aanduiding voor verticale tekst 2">
            <a:extLst>
              <a:ext uri="{FF2B5EF4-FFF2-40B4-BE49-F238E27FC236}">
                <a16:creationId xmlns:a16="http://schemas.microsoft.com/office/drawing/2014/main" id="{0E9CB1A4-478E-4084-8A78-3FB31FDB0202}"/>
              </a:ext>
            </a:extLst>
          </p:cNvPr>
          <p:cNvSpPr>
            <a:spLocks noGrp="1"/>
          </p:cNvSpPr>
          <p:nvPr>
            <p:ph type="body" orient="vert" idx="1"/>
          </p:nvPr>
        </p:nvSpPr>
        <p:spPr/>
        <p:txBody>
          <a:bodyPr vert="eaVert"/>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D93FE171-0D05-45B6-A00E-C4FB900BD9B0}"/>
              </a:ext>
            </a:extLst>
          </p:cNvPr>
          <p:cNvSpPr>
            <a:spLocks noGrp="1"/>
          </p:cNvSpPr>
          <p:nvPr>
            <p:ph type="dt" sz="half" idx="10"/>
          </p:nvPr>
        </p:nvSpPr>
        <p:spPr/>
        <p:txBody>
          <a:bodyPr/>
          <a:lstStyle/>
          <a:p>
            <a:fld id="{01D794D1-DA4E-4BFB-A6D5-E8DD8A8910CB}" type="datetimeFigureOut">
              <a:rPr lang="nl-NL" smtClean="0"/>
              <a:t>7-1-2020</a:t>
            </a:fld>
            <a:endParaRPr lang="nl-NL"/>
          </a:p>
        </p:txBody>
      </p:sp>
      <p:sp>
        <p:nvSpPr>
          <p:cNvPr id="5" name="Tijdelijke aanduiding voor voettekst 4">
            <a:extLst>
              <a:ext uri="{FF2B5EF4-FFF2-40B4-BE49-F238E27FC236}">
                <a16:creationId xmlns:a16="http://schemas.microsoft.com/office/drawing/2014/main" id="{70A206A2-3D8F-43F3-9B18-027A5E2410BD}"/>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950CCBC5-123B-47D4-9960-DE0303C8D013}"/>
              </a:ext>
            </a:extLst>
          </p:cNvPr>
          <p:cNvSpPr>
            <a:spLocks noGrp="1"/>
          </p:cNvSpPr>
          <p:nvPr>
            <p:ph type="sldNum" sz="quarter" idx="12"/>
          </p:nvPr>
        </p:nvSpPr>
        <p:spPr/>
        <p:txBody>
          <a:bodyPr/>
          <a:lstStyle/>
          <a:p>
            <a:fld id="{C5FC540B-A53C-4A2D-9BE5-1911A59F9402}" type="slidenum">
              <a:rPr lang="nl-NL" smtClean="0"/>
              <a:t>‹nr.›</a:t>
            </a:fld>
            <a:endParaRPr lang="nl-NL"/>
          </a:p>
        </p:txBody>
      </p:sp>
    </p:spTree>
    <p:extLst>
      <p:ext uri="{BB962C8B-B14F-4D97-AF65-F5344CB8AC3E}">
        <p14:creationId xmlns:p14="http://schemas.microsoft.com/office/powerpoint/2010/main" val="1072964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a:extLst>
              <a:ext uri="{FF2B5EF4-FFF2-40B4-BE49-F238E27FC236}">
                <a16:creationId xmlns:a16="http://schemas.microsoft.com/office/drawing/2014/main" id="{BCA843EE-67A7-4EF3-B588-37AAD130247B}"/>
              </a:ext>
            </a:extLst>
          </p:cNvPr>
          <p:cNvSpPr>
            <a:spLocks noGrp="1"/>
          </p:cNvSpPr>
          <p:nvPr>
            <p:ph type="title" orient="vert"/>
          </p:nvPr>
        </p:nvSpPr>
        <p:spPr>
          <a:xfrm>
            <a:off x="8724900" y="365125"/>
            <a:ext cx="2628900" cy="5811838"/>
          </a:xfrm>
        </p:spPr>
        <p:txBody>
          <a:bodyPr vert="eaVert"/>
          <a:lstStyle/>
          <a:p>
            <a:r>
              <a:rPr lang="nl-NL"/>
              <a:t>Klik om stijl te bewerken</a:t>
            </a:r>
          </a:p>
        </p:txBody>
      </p:sp>
      <p:sp>
        <p:nvSpPr>
          <p:cNvPr id="3" name="Tijdelijke aanduiding voor verticale tekst 2">
            <a:extLst>
              <a:ext uri="{FF2B5EF4-FFF2-40B4-BE49-F238E27FC236}">
                <a16:creationId xmlns:a16="http://schemas.microsoft.com/office/drawing/2014/main" id="{9DA51DF8-82E9-4F75-8F38-FB4EBE8D7D50}"/>
              </a:ext>
            </a:extLst>
          </p:cNvPr>
          <p:cNvSpPr>
            <a:spLocks noGrp="1"/>
          </p:cNvSpPr>
          <p:nvPr>
            <p:ph type="body" orient="vert" idx="1"/>
          </p:nvPr>
        </p:nvSpPr>
        <p:spPr>
          <a:xfrm>
            <a:off x="838200" y="365125"/>
            <a:ext cx="7734300" cy="5811838"/>
          </a:xfrm>
        </p:spPr>
        <p:txBody>
          <a:bodyPr vert="eaVert"/>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12307422-ED46-496F-BAD6-CC70ADACE33C}"/>
              </a:ext>
            </a:extLst>
          </p:cNvPr>
          <p:cNvSpPr>
            <a:spLocks noGrp="1"/>
          </p:cNvSpPr>
          <p:nvPr>
            <p:ph type="dt" sz="half" idx="10"/>
          </p:nvPr>
        </p:nvSpPr>
        <p:spPr/>
        <p:txBody>
          <a:bodyPr/>
          <a:lstStyle/>
          <a:p>
            <a:fld id="{01D794D1-DA4E-4BFB-A6D5-E8DD8A8910CB}" type="datetimeFigureOut">
              <a:rPr lang="nl-NL" smtClean="0"/>
              <a:t>7-1-2020</a:t>
            </a:fld>
            <a:endParaRPr lang="nl-NL"/>
          </a:p>
        </p:txBody>
      </p:sp>
      <p:sp>
        <p:nvSpPr>
          <p:cNvPr id="5" name="Tijdelijke aanduiding voor voettekst 4">
            <a:extLst>
              <a:ext uri="{FF2B5EF4-FFF2-40B4-BE49-F238E27FC236}">
                <a16:creationId xmlns:a16="http://schemas.microsoft.com/office/drawing/2014/main" id="{39049096-EA2C-4481-8646-636232191C39}"/>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3710E53B-E795-4F6D-8947-9541F535589C}"/>
              </a:ext>
            </a:extLst>
          </p:cNvPr>
          <p:cNvSpPr>
            <a:spLocks noGrp="1"/>
          </p:cNvSpPr>
          <p:nvPr>
            <p:ph type="sldNum" sz="quarter" idx="12"/>
          </p:nvPr>
        </p:nvSpPr>
        <p:spPr/>
        <p:txBody>
          <a:bodyPr/>
          <a:lstStyle/>
          <a:p>
            <a:fld id="{C5FC540B-A53C-4A2D-9BE5-1911A59F9402}" type="slidenum">
              <a:rPr lang="nl-NL" smtClean="0"/>
              <a:t>‹nr.›</a:t>
            </a:fld>
            <a:endParaRPr lang="nl-NL"/>
          </a:p>
        </p:txBody>
      </p:sp>
    </p:spTree>
    <p:extLst>
      <p:ext uri="{BB962C8B-B14F-4D97-AF65-F5344CB8AC3E}">
        <p14:creationId xmlns:p14="http://schemas.microsoft.com/office/powerpoint/2010/main" val="33078188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7/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19387261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7/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7412001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7/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29557448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7/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33434555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7/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29973254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7/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40309533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4" name="think-cell Slide" r:id="rId4" imgW="353" imgH="353" progId="TCLayout.ActiveDocument.1">
                  <p:embed/>
                </p:oleObj>
              </mc:Choice>
              <mc:Fallback>
                <p:oleObj name="think-cell Slide" r:id="rId4" imgW="353" imgH="353"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1D8BD707-D9CF-40AE-B4C6-C98DA3205C09}" type="datetimeFigureOut">
              <a:rPr lang="en-US" smtClean="0"/>
              <a:pPr/>
              <a:t>1/7/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11016959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7/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27664992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28FC9AA-BD8C-4C85-8290-A5EF84EA6194}"/>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D76C4AFD-3613-4C2F-A787-125A82A76A44}"/>
              </a:ext>
            </a:extLst>
          </p:cNvPr>
          <p:cNvSpPr>
            <a:spLocks noGrp="1"/>
          </p:cNvSpPr>
          <p:nvPr>
            <p:ph idx="1"/>
          </p:nvPr>
        </p:nvSpPr>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32BAA37A-84DD-4058-911D-C23EC37D91F8}"/>
              </a:ext>
            </a:extLst>
          </p:cNvPr>
          <p:cNvSpPr>
            <a:spLocks noGrp="1"/>
          </p:cNvSpPr>
          <p:nvPr>
            <p:ph type="dt" sz="half" idx="10"/>
          </p:nvPr>
        </p:nvSpPr>
        <p:spPr/>
        <p:txBody>
          <a:bodyPr/>
          <a:lstStyle/>
          <a:p>
            <a:fld id="{01D794D1-DA4E-4BFB-A6D5-E8DD8A8910CB}" type="datetimeFigureOut">
              <a:rPr lang="nl-NL" smtClean="0"/>
              <a:t>7-1-2020</a:t>
            </a:fld>
            <a:endParaRPr lang="nl-NL"/>
          </a:p>
        </p:txBody>
      </p:sp>
      <p:sp>
        <p:nvSpPr>
          <p:cNvPr id="5" name="Tijdelijke aanduiding voor voettekst 4">
            <a:extLst>
              <a:ext uri="{FF2B5EF4-FFF2-40B4-BE49-F238E27FC236}">
                <a16:creationId xmlns:a16="http://schemas.microsoft.com/office/drawing/2014/main" id="{46EA0358-6ECB-441A-817C-7160767E0091}"/>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395DA121-DA30-42B5-88D6-E5E78A24D3E1}"/>
              </a:ext>
            </a:extLst>
          </p:cNvPr>
          <p:cNvSpPr>
            <a:spLocks noGrp="1"/>
          </p:cNvSpPr>
          <p:nvPr>
            <p:ph type="sldNum" sz="quarter" idx="12"/>
          </p:nvPr>
        </p:nvSpPr>
        <p:spPr/>
        <p:txBody>
          <a:bodyPr/>
          <a:lstStyle/>
          <a:p>
            <a:fld id="{C5FC540B-A53C-4A2D-9BE5-1911A59F9402}" type="slidenum">
              <a:rPr lang="nl-NL" smtClean="0"/>
              <a:t>‹nr.›</a:t>
            </a:fld>
            <a:endParaRPr lang="nl-NL"/>
          </a:p>
        </p:txBody>
      </p:sp>
    </p:spTree>
    <p:extLst>
      <p:ext uri="{BB962C8B-B14F-4D97-AF65-F5344CB8AC3E}">
        <p14:creationId xmlns:p14="http://schemas.microsoft.com/office/powerpoint/2010/main" val="327155417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7/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3121307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7/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23716425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7/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27379761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0655B1-23C4-4397-A9B3-541C27114BBB}"/>
              </a:ext>
            </a:extLst>
          </p:cNvPr>
          <p:cNvSpPr>
            <a:spLocks noGrp="1"/>
          </p:cNvSpPr>
          <p:nvPr>
            <p:ph type="title"/>
          </p:nvPr>
        </p:nvSpPr>
        <p:spPr>
          <a:xfrm>
            <a:off x="831850" y="1709738"/>
            <a:ext cx="10515600" cy="2852737"/>
          </a:xfrm>
        </p:spPr>
        <p:txBody>
          <a:bodyPr anchor="b"/>
          <a:lstStyle>
            <a:lvl1pPr>
              <a:defRPr sz="6000"/>
            </a:lvl1pPr>
          </a:lstStyle>
          <a:p>
            <a:r>
              <a:rPr lang="nl-NL"/>
              <a:t>Klik om stijl te bewerken</a:t>
            </a:r>
          </a:p>
        </p:txBody>
      </p:sp>
      <p:sp>
        <p:nvSpPr>
          <p:cNvPr id="3" name="Tijdelijke aanduiding voor tekst 2">
            <a:extLst>
              <a:ext uri="{FF2B5EF4-FFF2-40B4-BE49-F238E27FC236}">
                <a16:creationId xmlns:a16="http://schemas.microsoft.com/office/drawing/2014/main" id="{5E0EEDA1-41F9-434B-9113-67B7F8A1017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Tekststijl van het model bewerken</a:t>
            </a:r>
          </a:p>
        </p:txBody>
      </p:sp>
      <p:sp>
        <p:nvSpPr>
          <p:cNvPr id="4" name="Tijdelijke aanduiding voor datum 3">
            <a:extLst>
              <a:ext uri="{FF2B5EF4-FFF2-40B4-BE49-F238E27FC236}">
                <a16:creationId xmlns:a16="http://schemas.microsoft.com/office/drawing/2014/main" id="{1FCD8F80-2FDD-4EEA-8A99-C9B10165A03B}"/>
              </a:ext>
            </a:extLst>
          </p:cNvPr>
          <p:cNvSpPr>
            <a:spLocks noGrp="1"/>
          </p:cNvSpPr>
          <p:nvPr>
            <p:ph type="dt" sz="half" idx="10"/>
          </p:nvPr>
        </p:nvSpPr>
        <p:spPr/>
        <p:txBody>
          <a:bodyPr/>
          <a:lstStyle/>
          <a:p>
            <a:fld id="{01D794D1-DA4E-4BFB-A6D5-E8DD8A8910CB}" type="datetimeFigureOut">
              <a:rPr lang="nl-NL" smtClean="0"/>
              <a:t>7-1-2020</a:t>
            </a:fld>
            <a:endParaRPr lang="nl-NL"/>
          </a:p>
        </p:txBody>
      </p:sp>
      <p:sp>
        <p:nvSpPr>
          <p:cNvPr id="5" name="Tijdelijke aanduiding voor voettekst 4">
            <a:extLst>
              <a:ext uri="{FF2B5EF4-FFF2-40B4-BE49-F238E27FC236}">
                <a16:creationId xmlns:a16="http://schemas.microsoft.com/office/drawing/2014/main" id="{E26BC308-09F8-403E-A520-4AD1D3E80D07}"/>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9525DB31-1FD0-4C4D-AD5C-49A50935E63F}"/>
              </a:ext>
            </a:extLst>
          </p:cNvPr>
          <p:cNvSpPr>
            <a:spLocks noGrp="1"/>
          </p:cNvSpPr>
          <p:nvPr>
            <p:ph type="sldNum" sz="quarter" idx="12"/>
          </p:nvPr>
        </p:nvSpPr>
        <p:spPr/>
        <p:txBody>
          <a:bodyPr/>
          <a:lstStyle/>
          <a:p>
            <a:fld id="{C5FC540B-A53C-4A2D-9BE5-1911A59F9402}" type="slidenum">
              <a:rPr lang="nl-NL" smtClean="0"/>
              <a:t>‹nr.›</a:t>
            </a:fld>
            <a:endParaRPr lang="nl-NL"/>
          </a:p>
        </p:txBody>
      </p:sp>
    </p:spTree>
    <p:extLst>
      <p:ext uri="{BB962C8B-B14F-4D97-AF65-F5344CB8AC3E}">
        <p14:creationId xmlns:p14="http://schemas.microsoft.com/office/powerpoint/2010/main" val="1847017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1AFA000-0DE3-4DBD-8F9A-C9854DBECAA2}"/>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750C8D4D-088E-4F11-80FA-169310A56A90}"/>
              </a:ext>
            </a:extLst>
          </p:cNvPr>
          <p:cNvSpPr>
            <a:spLocks noGrp="1"/>
          </p:cNvSpPr>
          <p:nvPr>
            <p:ph sz="half" idx="1"/>
          </p:nvPr>
        </p:nvSpPr>
        <p:spPr>
          <a:xfrm>
            <a:off x="838200" y="1825625"/>
            <a:ext cx="5181600" cy="435133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a:extLst>
              <a:ext uri="{FF2B5EF4-FFF2-40B4-BE49-F238E27FC236}">
                <a16:creationId xmlns:a16="http://schemas.microsoft.com/office/drawing/2014/main" id="{2B46EF67-43D0-4D02-8A33-38F50C8AC8AE}"/>
              </a:ext>
            </a:extLst>
          </p:cNvPr>
          <p:cNvSpPr>
            <a:spLocks noGrp="1"/>
          </p:cNvSpPr>
          <p:nvPr>
            <p:ph sz="half" idx="2"/>
          </p:nvPr>
        </p:nvSpPr>
        <p:spPr>
          <a:xfrm>
            <a:off x="6172200" y="1825625"/>
            <a:ext cx="5181600" cy="435133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4">
            <a:extLst>
              <a:ext uri="{FF2B5EF4-FFF2-40B4-BE49-F238E27FC236}">
                <a16:creationId xmlns:a16="http://schemas.microsoft.com/office/drawing/2014/main" id="{E737BECC-693F-4E00-8F88-11E23EAFF878}"/>
              </a:ext>
            </a:extLst>
          </p:cNvPr>
          <p:cNvSpPr>
            <a:spLocks noGrp="1"/>
          </p:cNvSpPr>
          <p:nvPr>
            <p:ph type="dt" sz="half" idx="10"/>
          </p:nvPr>
        </p:nvSpPr>
        <p:spPr/>
        <p:txBody>
          <a:bodyPr/>
          <a:lstStyle/>
          <a:p>
            <a:fld id="{01D794D1-DA4E-4BFB-A6D5-E8DD8A8910CB}" type="datetimeFigureOut">
              <a:rPr lang="nl-NL" smtClean="0"/>
              <a:t>7-1-2020</a:t>
            </a:fld>
            <a:endParaRPr lang="nl-NL"/>
          </a:p>
        </p:txBody>
      </p:sp>
      <p:sp>
        <p:nvSpPr>
          <p:cNvPr id="6" name="Tijdelijke aanduiding voor voettekst 5">
            <a:extLst>
              <a:ext uri="{FF2B5EF4-FFF2-40B4-BE49-F238E27FC236}">
                <a16:creationId xmlns:a16="http://schemas.microsoft.com/office/drawing/2014/main" id="{35E9A6C6-B93B-427F-BC46-5998801040AC}"/>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93D6F548-55ED-4412-A4A4-7CFC1C24C527}"/>
              </a:ext>
            </a:extLst>
          </p:cNvPr>
          <p:cNvSpPr>
            <a:spLocks noGrp="1"/>
          </p:cNvSpPr>
          <p:nvPr>
            <p:ph type="sldNum" sz="quarter" idx="12"/>
          </p:nvPr>
        </p:nvSpPr>
        <p:spPr/>
        <p:txBody>
          <a:bodyPr/>
          <a:lstStyle/>
          <a:p>
            <a:fld id="{C5FC540B-A53C-4A2D-9BE5-1911A59F9402}" type="slidenum">
              <a:rPr lang="nl-NL" smtClean="0"/>
              <a:t>‹nr.›</a:t>
            </a:fld>
            <a:endParaRPr lang="nl-NL"/>
          </a:p>
        </p:txBody>
      </p:sp>
    </p:spTree>
    <p:extLst>
      <p:ext uri="{BB962C8B-B14F-4D97-AF65-F5344CB8AC3E}">
        <p14:creationId xmlns:p14="http://schemas.microsoft.com/office/powerpoint/2010/main" val="28057966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6717EE-D077-4003-BBB8-AA0F70C1E145}"/>
              </a:ext>
            </a:extLst>
          </p:cNvPr>
          <p:cNvSpPr>
            <a:spLocks noGrp="1"/>
          </p:cNvSpPr>
          <p:nvPr>
            <p:ph type="title"/>
          </p:nvPr>
        </p:nvSpPr>
        <p:spPr>
          <a:xfrm>
            <a:off x="839788" y="365125"/>
            <a:ext cx="10515600" cy="1325563"/>
          </a:xfrm>
        </p:spPr>
        <p:txBody>
          <a:bodyPr/>
          <a:lstStyle/>
          <a:p>
            <a:r>
              <a:rPr lang="nl-NL"/>
              <a:t>Klik om stijl te bewerken</a:t>
            </a:r>
          </a:p>
        </p:txBody>
      </p:sp>
      <p:sp>
        <p:nvSpPr>
          <p:cNvPr id="3" name="Tijdelijke aanduiding voor tekst 2">
            <a:extLst>
              <a:ext uri="{FF2B5EF4-FFF2-40B4-BE49-F238E27FC236}">
                <a16:creationId xmlns:a16="http://schemas.microsoft.com/office/drawing/2014/main" id="{8E44B3FD-3925-493D-A911-1E5010BADAF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Tekststijl van het model bewerken</a:t>
            </a:r>
          </a:p>
        </p:txBody>
      </p:sp>
      <p:sp>
        <p:nvSpPr>
          <p:cNvPr id="4" name="Tijdelijke aanduiding voor inhoud 3">
            <a:extLst>
              <a:ext uri="{FF2B5EF4-FFF2-40B4-BE49-F238E27FC236}">
                <a16:creationId xmlns:a16="http://schemas.microsoft.com/office/drawing/2014/main" id="{5658AF9F-56E1-4EF0-AE94-F94FF3F03683}"/>
              </a:ext>
            </a:extLst>
          </p:cNvPr>
          <p:cNvSpPr>
            <a:spLocks noGrp="1"/>
          </p:cNvSpPr>
          <p:nvPr>
            <p:ph sz="half" idx="2"/>
          </p:nvPr>
        </p:nvSpPr>
        <p:spPr>
          <a:xfrm>
            <a:off x="839788" y="2505075"/>
            <a:ext cx="5157787" cy="368458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a:extLst>
              <a:ext uri="{FF2B5EF4-FFF2-40B4-BE49-F238E27FC236}">
                <a16:creationId xmlns:a16="http://schemas.microsoft.com/office/drawing/2014/main" id="{9B3A52EA-6BC2-42B1-B68A-4CE20662ABB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Tekststijl van het model bewerken</a:t>
            </a:r>
          </a:p>
        </p:txBody>
      </p:sp>
      <p:sp>
        <p:nvSpPr>
          <p:cNvPr id="6" name="Tijdelijke aanduiding voor inhoud 5">
            <a:extLst>
              <a:ext uri="{FF2B5EF4-FFF2-40B4-BE49-F238E27FC236}">
                <a16:creationId xmlns:a16="http://schemas.microsoft.com/office/drawing/2014/main" id="{279CB375-5BEC-43AE-800E-B47780FC7115}"/>
              </a:ext>
            </a:extLst>
          </p:cNvPr>
          <p:cNvSpPr>
            <a:spLocks noGrp="1"/>
          </p:cNvSpPr>
          <p:nvPr>
            <p:ph sz="quarter" idx="4"/>
          </p:nvPr>
        </p:nvSpPr>
        <p:spPr>
          <a:xfrm>
            <a:off x="6172200" y="2505075"/>
            <a:ext cx="5183188" cy="368458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6">
            <a:extLst>
              <a:ext uri="{FF2B5EF4-FFF2-40B4-BE49-F238E27FC236}">
                <a16:creationId xmlns:a16="http://schemas.microsoft.com/office/drawing/2014/main" id="{DB04278F-F5D6-48D5-9F32-79820C81CA17}"/>
              </a:ext>
            </a:extLst>
          </p:cNvPr>
          <p:cNvSpPr>
            <a:spLocks noGrp="1"/>
          </p:cNvSpPr>
          <p:nvPr>
            <p:ph type="dt" sz="half" idx="10"/>
          </p:nvPr>
        </p:nvSpPr>
        <p:spPr/>
        <p:txBody>
          <a:bodyPr/>
          <a:lstStyle/>
          <a:p>
            <a:fld id="{01D794D1-DA4E-4BFB-A6D5-E8DD8A8910CB}" type="datetimeFigureOut">
              <a:rPr lang="nl-NL" smtClean="0"/>
              <a:t>7-1-2020</a:t>
            </a:fld>
            <a:endParaRPr lang="nl-NL"/>
          </a:p>
        </p:txBody>
      </p:sp>
      <p:sp>
        <p:nvSpPr>
          <p:cNvPr id="8" name="Tijdelijke aanduiding voor voettekst 7">
            <a:extLst>
              <a:ext uri="{FF2B5EF4-FFF2-40B4-BE49-F238E27FC236}">
                <a16:creationId xmlns:a16="http://schemas.microsoft.com/office/drawing/2014/main" id="{977CBCB1-FB90-4B72-89D7-69811964281E}"/>
              </a:ext>
            </a:extLst>
          </p:cNvPr>
          <p:cNvSpPr>
            <a:spLocks noGrp="1"/>
          </p:cNvSpPr>
          <p:nvPr>
            <p:ph type="ftr" sz="quarter" idx="11"/>
          </p:nvPr>
        </p:nvSpPr>
        <p:spPr/>
        <p:txBody>
          <a:bodyPr/>
          <a:lstStyle/>
          <a:p>
            <a:endParaRPr lang="nl-NL"/>
          </a:p>
        </p:txBody>
      </p:sp>
      <p:sp>
        <p:nvSpPr>
          <p:cNvPr id="9" name="Tijdelijke aanduiding voor dianummer 8">
            <a:extLst>
              <a:ext uri="{FF2B5EF4-FFF2-40B4-BE49-F238E27FC236}">
                <a16:creationId xmlns:a16="http://schemas.microsoft.com/office/drawing/2014/main" id="{56EEDD1B-44A2-4E96-89E0-9FC552625135}"/>
              </a:ext>
            </a:extLst>
          </p:cNvPr>
          <p:cNvSpPr>
            <a:spLocks noGrp="1"/>
          </p:cNvSpPr>
          <p:nvPr>
            <p:ph type="sldNum" sz="quarter" idx="12"/>
          </p:nvPr>
        </p:nvSpPr>
        <p:spPr/>
        <p:txBody>
          <a:bodyPr/>
          <a:lstStyle/>
          <a:p>
            <a:fld id="{C5FC540B-A53C-4A2D-9BE5-1911A59F9402}" type="slidenum">
              <a:rPr lang="nl-NL" smtClean="0"/>
              <a:t>‹nr.›</a:t>
            </a:fld>
            <a:endParaRPr lang="nl-NL"/>
          </a:p>
        </p:txBody>
      </p:sp>
    </p:spTree>
    <p:extLst>
      <p:ext uri="{BB962C8B-B14F-4D97-AF65-F5344CB8AC3E}">
        <p14:creationId xmlns:p14="http://schemas.microsoft.com/office/powerpoint/2010/main" val="1099566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26FCAEB-A70D-4BFA-8CBE-45CE51E59FB9}"/>
              </a:ext>
            </a:extLst>
          </p:cNvPr>
          <p:cNvSpPr>
            <a:spLocks noGrp="1"/>
          </p:cNvSpPr>
          <p:nvPr>
            <p:ph type="title"/>
          </p:nvPr>
        </p:nvSpPr>
        <p:spPr/>
        <p:txBody>
          <a:bodyPr/>
          <a:lstStyle/>
          <a:p>
            <a:r>
              <a:rPr lang="nl-NL"/>
              <a:t>Klik om stijl te bewerken</a:t>
            </a:r>
          </a:p>
        </p:txBody>
      </p:sp>
      <p:sp>
        <p:nvSpPr>
          <p:cNvPr id="3" name="Tijdelijke aanduiding voor datum 2">
            <a:extLst>
              <a:ext uri="{FF2B5EF4-FFF2-40B4-BE49-F238E27FC236}">
                <a16:creationId xmlns:a16="http://schemas.microsoft.com/office/drawing/2014/main" id="{9E05DBC7-498D-4559-9AC8-1D81DD272559}"/>
              </a:ext>
            </a:extLst>
          </p:cNvPr>
          <p:cNvSpPr>
            <a:spLocks noGrp="1"/>
          </p:cNvSpPr>
          <p:nvPr>
            <p:ph type="dt" sz="half" idx="10"/>
          </p:nvPr>
        </p:nvSpPr>
        <p:spPr/>
        <p:txBody>
          <a:bodyPr/>
          <a:lstStyle/>
          <a:p>
            <a:fld id="{01D794D1-DA4E-4BFB-A6D5-E8DD8A8910CB}" type="datetimeFigureOut">
              <a:rPr lang="nl-NL" smtClean="0"/>
              <a:t>7-1-2020</a:t>
            </a:fld>
            <a:endParaRPr lang="nl-NL"/>
          </a:p>
        </p:txBody>
      </p:sp>
      <p:sp>
        <p:nvSpPr>
          <p:cNvPr id="4" name="Tijdelijke aanduiding voor voettekst 3">
            <a:extLst>
              <a:ext uri="{FF2B5EF4-FFF2-40B4-BE49-F238E27FC236}">
                <a16:creationId xmlns:a16="http://schemas.microsoft.com/office/drawing/2014/main" id="{FB7BE49B-36D0-482B-8473-CCC13E590C34}"/>
              </a:ext>
            </a:extLst>
          </p:cNvPr>
          <p:cNvSpPr>
            <a:spLocks noGrp="1"/>
          </p:cNvSpPr>
          <p:nvPr>
            <p:ph type="ftr" sz="quarter" idx="11"/>
          </p:nvPr>
        </p:nvSpPr>
        <p:spPr/>
        <p:txBody>
          <a:bodyPr/>
          <a:lstStyle/>
          <a:p>
            <a:endParaRPr lang="nl-NL"/>
          </a:p>
        </p:txBody>
      </p:sp>
      <p:sp>
        <p:nvSpPr>
          <p:cNvPr id="5" name="Tijdelijke aanduiding voor dianummer 4">
            <a:extLst>
              <a:ext uri="{FF2B5EF4-FFF2-40B4-BE49-F238E27FC236}">
                <a16:creationId xmlns:a16="http://schemas.microsoft.com/office/drawing/2014/main" id="{DEC9572F-CEEC-41A0-ACE3-D609B3D0102D}"/>
              </a:ext>
            </a:extLst>
          </p:cNvPr>
          <p:cNvSpPr>
            <a:spLocks noGrp="1"/>
          </p:cNvSpPr>
          <p:nvPr>
            <p:ph type="sldNum" sz="quarter" idx="12"/>
          </p:nvPr>
        </p:nvSpPr>
        <p:spPr/>
        <p:txBody>
          <a:bodyPr/>
          <a:lstStyle/>
          <a:p>
            <a:fld id="{C5FC540B-A53C-4A2D-9BE5-1911A59F9402}" type="slidenum">
              <a:rPr lang="nl-NL" smtClean="0"/>
              <a:t>‹nr.›</a:t>
            </a:fld>
            <a:endParaRPr lang="nl-NL"/>
          </a:p>
        </p:txBody>
      </p:sp>
    </p:spTree>
    <p:extLst>
      <p:ext uri="{BB962C8B-B14F-4D97-AF65-F5344CB8AC3E}">
        <p14:creationId xmlns:p14="http://schemas.microsoft.com/office/powerpoint/2010/main" val="7039905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DA380D1D-6D58-4FC9-848C-44E42515F992}"/>
              </a:ext>
            </a:extLst>
          </p:cNvPr>
          <p:cNvSpPr>
            <a:spLocks noGrp="1"/>
          </p:cNvSpPr>
          <p:nvPr>
            <p:ph type="dt" sz="half" idx="10"/>
          </p:nvPr>
        </p:nvSpPr>
        <p:spPr/>
        <p:txBody>
          <a:bodyPr/>
          <a:lstStyle/>
          <a:p>
            <a:fld id="{01D794D1-DA4E-4BFB-A6D5-E8DD8A8910CB}" type="datetimeFigureOut">
              <a:rPr lang="nl-NL" smtClean="0"/>
              <a:t>7-1-2020</a:t>
            </a:fld>
            <a:endParaRPr lang="nl-NL"/>
          </a:p>
        </p:txBody>
      </p:sp>
      <p:sp>
        <p:nvSpPr>
          <p:cNvPr id="3" name="Tijdelijke aanduiding voor voettekst 2">
            <a:extLst>
              <a:ext uri="{FF2B5EF4-FFF2-40B4-BE49-F238E27FC236}">
                <a16:creationId xmlns:a16="http://schemas.microsoft.com/office/drawing/2014/main" id="{966C59E6-0687-4C2D-8ECE-8D9897D90593}"/>
              </a:ext>
            </a:extLst>
          </p:cNvPr>
          <p:cNvSpPr>
            <a:spLocks noGrp="1"/>
          </p:cNvSpPr>
          <p:nvPr>
            <p:ph type="ftr" sz="quarter" idx="11"/>
          </p:nvPr>
        </p:nvSpPr>
        <p:spPr/>
        <p:txBody>
          <a:bodyPr/>
          <a:lstStyle/>
          <a:p>
            <a:endParaRPr lang="nl-NL"/>
          </a:p>
        </p:txBody>
      </p:sp>
      <p:sp>
        <p:nvSpPr>
          <p:cNvPr id="4" name="Tijdelijke aanduiding voor dianummer 3">
            <a:extLst>
              <a:ext uri="{FF2B5EF4-FFF2-40B4-BE49-F238E27FC236}">
                <a16:creationId xmlns:a16="http://schemas.microsoft.com/office/drawing/2014/main" id="{06F89A1D-5503-4ADA-A98D-C58C29C5C1B0}"/>
              </a:ext>
            </a:extLst>
          </p:cNvPr>
          <p:cNvSpPr>
            <a:spLocks noGrp="1"/>
          </p:cNvSpPr>
          <p:nvPr>
            <p:ph type="sldNum" sz="quarter" idx="12"/>
          </p:nvPr>
        </p:nvSpPr>
        <p:spPr/>
        <p:txBody>
          <a:bodyPr/>
          <a:lstStyle/>
          <a:p>
            <a:fld id="{C5FC540B-A53C-4A2D-9BE5-1911A59F9402}" type="slidenum">
              <a:rPr lang="nl-NL" smtClean="0"/>
              <a:t>‹nr.›</a:t>
            </a:fld>
            <a:endParaRPr lang="nl-NL"/>
          </a:p>
        </p:txBody>
      </p:sp>
    </p:spTree>
    <p:extLst>
      <p:ext uri="{BB962C8B-B14F-4D97-AF65-F5344CB8AC3E}">
        <p14:creationId xmlns:p14="http://schemas.microsoft.com/office/powerpoint/2010/main" val="10897757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E14684-B137-4142-929F-3E89A8A88FDA}"/>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inhoud 2">
            <a:extLst>
              <a:ext uri="{FF2B5EF4-FFF2-40B4-BE49-F238E27FC236}">
                <a16:creationId xmlns:a16="http://schemas.microsoft.com/office/drawing/2014/main" id="{512CD956-DD74-4F3B-B5A7-4A9F5B3F03C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a:extLst>
              <a:ext uri="{FF2B5EF4-FFF2-40B4-BE49-F238E27FC236}">
                <a16:creationId xmlns:a16="http://schemas.microsoft.com/office/drawing/2014/main" id="{A639F9A7-2A6E-4361-80BA-256481AE49B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Tekststijl van het model bewerken</a:t>
            </a:r>
          </a:p>
        </p:txBody>
      </p:sp>
      <p:sp>
        <p:nvSpPr>
          <p:cNvPr id="5" name="Tijdelijke aanduiding voor datum 4">
            <a:extLst>
              <a:ext uri="{FF2B5EF4-FFF2-40B4-BE49-F238E27FC236}">
                <a16:creationId xmlns:a16="http://schemas.microsoft.com/office/drawing/2014/main" id="{A9F3A4D1-BCA6-4B29-84A0-3CC492787BC5}"/>
              </a:ext>
            </a:extLst>
          </p:cNvPr>
          <p:cNvSpPr>
            <a:spLocks noGrp="1"/>
          </p:cNvSpPr>
          <p:nvPr>
            <p:ph type="dt" sz="half" idx="10"/>
          </p:nvPr>
        </p:nvSpPr>
        <p:spPr/>
        <p:txBody>
          <a:bodyPr/>
          <a:lstStyle/>
          <a:p>
            <a:fld id="{01D794D1-DA4E-4BFB-A6D5-E8DD8A8910CB}" type="datetimeFigureOut">
              <a:rPr lang="nl-NL" smtClean="0"/>
              <a:t>7-1-2020</a:t>
            </a:fld>
            <a:endParaRPr lang="nl-NL"/>
          </a:p>
        </p:txBody>
      </p:sp>
      <p:sp>
        <p:nvSpPr>
          <p:cNvPr id="6" name="Tijdelijke aanduiding voor voettekst 5">
            <a:extLst>
              <a:ext uri="{FF2B5EF4-FFF2-40B4-BE49-F238E27FC236}">
                <a16:creationId xmlns:a16="http://schemas.microsoft.com/office/drawing/2014/main" id="{DBF5EAE0-3580-42C9-8617-6389DA7FD154}"/>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EA679858-4CCA-4124-AFDA-9F23A79FF361}"/>
              </a:ext>
            </a:extLst>
          </p:cNvPr>
          <p:cNvSpPr>
            <a:spLocks noGrp="1"/>
          </p:cNvSpPr>
          <p:nvPr>
            <p:ph type="sldNum" sz="quarter" idx="12"/>
          </p:nvPr>
        </p:nvSpPr>
        <p:spPr/>
        <p:txBody>
          <a:bodyPr/>
          <a:lstStyle/>
          <a:p>
            <a:fld id="{C5FC540B-A53C-4A2D-9BE5-1911A59F9402}" type="slidenum">
              <a:rPr lang="nl-NL" smtClean="0"/>
              <a:t>‹nr.›</a:t>
            </a:fld>
            <a:endParaRPr lang="nl-NL"/>
          </a:p>
        </p:txBody>
      </p:sp>
    </p:spTree>
    <p:extLst>
      <p:ext uri="{BB962C8B-B14F-4D97-AF65-F5344CB8AC3E}">
        <p14:creationId xmlns:p14="http://schemas.microsoft.com/office/powerpoint/2010/main" val="30693862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7E02417-DB8D-4153-9C46-A696CB497395}"/>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afbeelding 2">
            <a:extLst>
              <a:ext uri="{FF2B5EF4-FFF2-40B4-BE49-F238E27FC236}">
                <a16:creationId xmlns:a16="http://schemas.microsoft.com/office/drawing/2014/main" id="{ED3D1C00-C24C-4757-922E-BF196A1DBEE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ijdelijke aanduiding voor tekst 3">
            <a:extLst>
              <a:ext uri="{FF2B5EF4-FFF2-40B4-BE49-F238E27FC236}">
                <a16:creationId xmlns:a16="http://schemas.microsoft.com/office/drawing/2014/main" id="{72439112-1AF4-4C53-96E7-7CA3F97AB2F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Tekststijl van het model bewerken</a:t>
            </a:r>
          </a:p>
        </p:txBody>
      </p:sp>
      <p:sp>
        <p:nvSpPr>
          <p:cNvPr id="5" name="Tijdelijke aanduiding voor datum 4">
            <a:extLst>
              <a:ext uri="{FF2B5EF4-FFF2-40B4-BE49-F238E27FC236}">
                <a16:creationId xmlns:a16="http://schemas.microsoft.com/office/drawing/2014/main" id="{01A52EE8-E6FF-44D5-B13D-D8767B470502}"/>
              </a:ext>
            </a:extLst>
          </p:cNvPr>
          <p:cNvSpPr>
            <a:spLocks noGrp="1"/>
          </p:cNvSpPr>
          <p:nvPr>
            <p:ph type="dt" sz="half" idx="10"/>
          </p:nvPr>
        </p:nvSpPr>
        <p:spPr/>
        <p:txBody>
          <a:bodyPr/>
          <a:lstStyle/>
          <a:p>
            <a:fld id="{01D794D1-DA4E-4BFB-A6D5-E8DD8A8910CB}" type="datetimeFigureOut">
              <a:rPr lang="nl-NL" smtClean="0"/>
              <a:t>7-1-2020</a:t>
            </a:fld>
            <a:endParaRPr lang="nl-NL"/>
          </a:p>
        </p:txBody>
      </p:sp>
      <p:sp>
        <p:nvSpPr>
          <p:cNvPr id="6" name="Tijdelijke aanduiding voor voettekst 5">
            <a:extLst>
              <a:ext uri="{FF2B5EF4-FFF2-40B4-BE49-F238E27FC236}">
                <a16:creationId xmlns:a16="http://schemas.microsoft.com/office/drawing/2014/main" id="{C908D27A-55E6-4B6C-B3BD-63EB0DB7C6FD}"/>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4E2D3AD8-0E1E-42A7-98D1-B1B63C363F92}"/>
              </a:ext>
            </a:extLst>
          </p:cNvPr>
          <p:cNvSpPr>
            <a:spLocks noGrp="1"/>
          </p:cNvSpPr>
          <p:nvPr>
            <p:ph type="sldNum" sz="quarter" idx="12"/>
          </p:nvPr>
        </p:nvSpPr>
        <p:spPr/>
        <p:txBody>
          <a:bodyPr/>
          <a:lstStyle/>
          <a:p>
            <a:fld id="{C5FC540B-A53C-4A2D-9BE5-1911A59F9402}" type="slidenum">
              <a:rPr lang="nl-NL" smtClean="0"/>
              <a:t>‹nr.›</a:t>
            </a:fld>
            <a:endParaRPr lang="nl-NL"/>
          </a:p>
        </p:txBody>
      </p:sp>
    </p:spTree>
    <p:extLst>
      <p:ext uri="{BB962C8B-B14F-4D97-AF65-F5344CB8AC3E}">
        <p14:creationId xmlns:p14="http://schemas.microsoft.com/office/powerpoint/2010/main" val="15398124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1.v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1.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F73F8EB4-5F56-48F5-A496-E33EC5F2217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stijl te bewerken</a:t>
            </a:r>
          </a:p>
        </p:txBody>
      </p:sp>
      <p:sp>
        <p:nvSpPr>
          <p:cNvPr id="3" name="Tijdelijke aanduiding voor tekst 2">
            <a:extLst>
              <a:ext uri="{FF2B5EF4-FFF2-40B4-BE49-F238E27FC236}">
                <a16:creationId xmlns:a16="http://schemas.microsoft.com/office/drawing/2014/main" id="{692AC673-AB80-4020-93E3-CC749C27E56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47126642-94FC-437B-A4A5-FDFF85167F8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1D794D1-DA4E-4BFB-A6D5-E8DD8A8910CB}" type="datetimeFigureOut">
              <a:rPr lang="nl-NL" smtClean="0"/>
              <a:t>7-1-2020</a:t>
            </a:fld>
            <a:endParaRPr lang="nl-NL"/>
          </a:p>
        </p:txBody>
      </p:sp>
      <p:sp>
        <p:nvSpPr>
          <p:cNvPr id="5" name="Tijdelijke aanduiding voor voettekst 4">
            <a:extLst>
              <a:ext uri="{FF2B5EF4-FFF2-40B4-BE49-F238E27FC236}">
                <a16:creationId xmlns:a16="http://schemas.microsoft.com/office/drawing/2014/main" id="{2BD91ECB-68C1-4EDB-80A7-4811B29C5CE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a:p>
        </p:txBody>
      </p:sp>
      <p:sp>
        <p:nvSpPr>
          <p:cNvPr id="6" name="Tijdelijke aanduiding voor dianummer 5">
            <a:extLst>
              <a:ext uri="{FF2B5EF4-FFF2-40B4-BE49-F238E27FC236}">
                <a16:creationId xmlns:a16="http://schemas.microsoft.com/office/drawing/2014/main" id="{A353C399-F7B1-4ABC-B72F-5DBD42B80FC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5FC540B-A53C-4A2D-9BE5-1911A59F9402}" type="slidenum">
              <a:rPr lang="nl-NL" smtClean="0"/>
              <a:t>‹nr.›</a:t>
            </a:fld>
            <a:endParaRPr lang="nl-NL"/>
          </a:p>
        </p:txBody>
      </p:sp>
    </p:spTree>
    <p:extLst>
      <p:ext uri="{BB962C8B-B14F-4D97-AF65-F5344CB8AC3E}">
        <p14:creationId xmlns:p14="http://schemas.microsoft.com/office/powerpoint/2010/main" val="52189903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0" name="think-cell Slide" r:id="rId15" imgW="353" imgH="353" progId="TCLayout.ActiveDocument.1">
                  <p:embed/>
                </p:oleObj>
              </mc:Choice>
              <mc:Fallback>
                <p:oleObj name="think-cell Slide" r:id="rId15" imgW="353" imgH="353" progId="TCLayout.ActiveDocument.1">
                  <p:embed/>
                  <p:pic>
                    <p:nvPicPr>
                      <p:cNvPr id="7" name="Object 6"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1/7/2020</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nr.›</a:t>
            </a:fld>
            <a:endParaRPr lang="en-US"/>
          </a:p>
        </p:txBody>
      </p:sp>
    </p:spTree>
    <p:extLst>
      <p:ext uri="{BB962C8B-B14F-4D97-AF65-F5344CB8AC3E}">
        <p14:creationId xmlns:p14="http://schemas.microsoft.com/office/powerpoint/2010/main" val="178909972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jpeg"/><Relationship Id="rId13" Type="http://schemas.openxmlformats.org/officeDocument/2006/relationships/image" Target="../media/image11.jpeg"/><Relationship Id="rId3" Type="http://schemas.openxmlformats.org/officeDocument/2006/relationships/slide" Target="slide40.xml"/><Relationship Id="rId7" Type="http://schemas.openxmlformats.org/officeDocument/2006/relationships/image" Target="../media/image5.png"/><Relationship Id="rId12"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4.jpeg"/><Relationship Id="rId11" Type="http://schemas.openxmlformats.org/officeDocument/2006/relationships/image" Target="../media/image9.jpeg"/><Relationship Id="rId5" Type="http://schemas.openxmlformats.org/officeDocument/2006/relationships/image" Target="../media/image3.jpeg"/><Relationship Id="rId10" Type="http://schemas.openxmlformats.org/officeDocument/2006/relationships/image" Target="../media/image8.jpeg"/><Relationship Id="rId4" Type="http://schemas.openxmlformats.org/officeDocument/2006/relationships/image" Target="../media/image2.png"/><Relationship Id="rId9" Type="http://schemas.openxmlformats.org/officeDocument/2006/relationships/image" Target="../media/image7.png"/></Relationships>
</file>

<file path=ppt/slides/_rels/slide10.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vmlDrawing" Target="../drawings/vmlDrawing6.vml"/><Relationship Id="rId1" Type="http://schemas.openxmlformats.org/officeDocument/2006/relationships/themeOverride" Target="../theme/themeOverride2.xml"/><Relationship Id="rId6" Type="http://schemas.openxmlformats.org/officeDocument/2006/relationships/oleObject" Target="../embeddings/oleObject5.bin"/><Relationship Id="rId11" Type="http://schemas.openxmlformats.org/officeDocument/2006/relationships/image" Target="../media/image14.jpeg"/><Relationship Id="rId5" Type="http://schemas.openxmlformats.org/officeDocument/2006/relationships/notesSlide" Target="../notesSlides/notesSlide10.xml"/><Relationship Id="rId10" Type="http://schemas.openxmlformats.org/officeDocument/2006/relationships/image" Target="../media/image45.png"/><Relationship Id="rId4" Type="http://schemas.openxmlformats.org/officeDocument/2006/relationships/slideLayout" Target="../slideLayouts/slideLayout7.xml"/><Relationship Id="rId9" Type="http://schemas.openxmlformats.org/officeDocument/2006/relationships/image" Target="../media/image44.png"/></Relationships>
</file>

<file path=ppt/slides/_rels/slide11.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49.png"/><Relationship Id="rId3" Type="http://schemas.openxmlformats.org/officeDocument/2006/relationships/tags" Target="../tags/tag7.xml"/><Relationship Id="rId7" Type="http://schemas.openxmlformats.org/officeDocument/2006/relationships/image" Target="../media/image1.emf"/><Relationship Id="rId12" Type="http://schemas.openxmlformats.org/officeDocument/2006/relationships/image" Target="../media/image48.png"/><Relationship Id="rId2" Type="http://schemas.openxmlformats.org/officeDocument/2006/relationships/vmlDrawing" Target="../drawings/vmlDrawing7.vml"/><Relationship Id="rId1" Type="http://schemas.openxmlformats.org/officeDocument/2006/relationships/themeOverride" Target="../theme/themeOverride3.xml"/><Relationship Id="rId6" Type="http://schemas.openxmlformats.org/officeDocument/2006/relationships/oleObject" Target="../embeddings/oleObject5.bin"/><Relationship Id="rId11" Type="http://schemas.openxmlformats.org/officeDocument/2006/relationships/image" Target="../media/image47.png"/><Relationship Id="rId5" Type="http://schemas.openxmlformats.org/officeDocument/2006/relationships/notesSlide" Target="../notesSlides/notesSlide11.xml"/><Relationship Id="rId15" Type="http://schemas.openxmlformats.org/officeDocument/2006/relationships/image" Target="../media/image14.jpeg"/><Relationship Id="rId10" Type="http://schemas.openxmlformats.org/officeDocument/2006/relationships/image" Target="../media/image46.png"/><Relationship Id="rId4" Type="http://schemas.openxmlformats.org/officeDocument/2006/relationships/slideLayout" Target="../slideLayouts/slideLayout7.xml"/><Relationship Id="rId9" Type="http://schemas.openxmlformats.org/officeDocument/2006/relationships/image" Target="../media/image35.svg"/><Relationship Id="rId14" Type="http://schemas.openxmlformats.org/officeDocument/2006/relationships/image" Target="../media/image50.jpeg"/></Relationships>
</file>

<file path=ppt/slides/_rels/slide12.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Layout" Target="../slideLayouts/slideLayout7.xml"/><Relationship Id="rId7" Type="http://schemas.openxmlformats.org/officeDocument/2006/relationships/image" Target="../media/image14.jpe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5.bin"/><Relationship Id="rId10" Type="http://schemas.openxmlformats.org/officeDocument/2006/relationships/image" Target="../media/image18.png"/><Relationship Id="rId4" Type="http://schemas.openxmlformats.org/officeDocument/2006/relationships/notesSlide" Target="../notesSlides/notesSlide12.xml"/><Relationship Id="rId9" Type="http://schemas.openxmlformats.org/officeDocument/2006/relationships/hyperlink" Target="https://www.youtube.com/watch?v=XQfhaDwhEoI&amp;feature=emb_logo"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7.png"/><Relationship Id="rId1" Type="http://schemas.openxmlformats.org/officeDocument/2006/relationships/slideLayout" Target="../slideLayouts/slideLayout1.xml"/><Relationship Id="rId4" Type="http://schemas.openxmlformats.org/officeDocument/2006/relationships/image" Target="../media/image14.jpeg"/></Relationships>
</file>

<file path=ppt/slides/_rels/slide14.xml.rels><?xml version="1.0" encoding="UTF-8" standalone="yes"?>
<Relationships xmlns="http://schemas.openxmlformats.org/package/2006/relationships"><Relationship Id="rId3" Type="http://schemas.openxmlformats.org/officeDocument/2006/relationships/image" Target="../media/image53.png"/><Relationship Id="rId7" Type="http://schemas.openxmlformats.org/officeDocument/2006/relationships/image" Target="../media/image18.png"/><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hyperlink" Target="https://www.youtube.com/watch?v=hj70oPsw5r4&amp;feature=emb_logo" TargetMode="External"/><Relationship Id="rId5" Type="http://schemas.openxmlformats.org/officeDocument/2006/relationships/image" Target="../media/image17.svg"/><Relationship Id="rId4" Type="http://schemas.openxmlformats.org/officeDocument/2006/relationships/image" Target="../media/image16.png"/></Relationships>
</file>

<file path=ppt/slides/_rels/slide15.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4.png"/><Relationship Id="rId7" Type="http://schemas.openxmlformats.org/officeDocument/2006/relationships/image" Target="../media/image58.sv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57.png"/><Relationship Id="rId5" Type="http://schemas.openxmlformats.org/officeDocument/2006/relationships/image" Target="../media/image56.png"/><Relationship Id="rId10" Type="http://schemas.openxmlformats.org/officeDocument/2006/relationships/image" Target="../media/image14.jpeg"/><Relationship Id="rId4" Type="http://schemas.openxmlformats.org/officeDocument/2006/relationships/image" Target="../media/image55.png"/><Relationship Id="rId9" Type="http://schemas.openxmlformats.org/officeDocument/2006/relationships/image" Target="../media/image60.png"/></Relationships>
</file>

<file path=ppt/slides/_rels/slide16.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61.png"/><Relationship Id="rId7" Type="http://schemas.openxmlformats.org/officeDocument/2006/relationships/image" Target="../media/image63.png"/><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58.svg"/><Relationship Id="rId5" Type="http://schemas.openxmlformats.org/officeDocument/2006/relationships/image" Target="../media/image57.png"/><Relationship Id="rId4" Type="http://schemas.openxmlformats.org/officeDocument/2006/relationships/image" Target="../media/image62.png"/><Relationship Id="rId9" Type="http://schemas.openxmlformats.org/officeDocument/2006/relationships/image" Target="../media/image14.jpeg"/></Relationships>
</file>

<file path=ppt/slides/_rels/slide17.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5.png"/><Relationship Id="rId7" Type="http://schemas.openxmlformats.org/officeDocument/2006/relationships/image" Target="../media/image17.sv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16.png"/><Relationship Id="rId5" Type="http://schemas.openxmlformats.org/officeDocument/2006/relationships/image" Target="../media/image44.png"/><Relationship Id="rId4" Type="http://schemas.openxmlformats.org/officeDocument/2006/relationships/image" Target="../media/image45.png"/></Relationships>
</file>

<file path=ppt/slides/_rels/slide1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7.xml"/><Relationship Id="rId1" Type="http://schemas.openxmlformats.org/officeDocument/2006/relationships/slideLayout" Target="../slideLayouts/slideLayout7.xml"/><Relationship Id="rId5" Type="http://schemas.openxmlformats.org/officeDocument/2006/relationships/image" Target="../media/image17.svg"/><Relationship Id="rId4" Type="http://schemas.openxmlformats.org/officeDocument/2006/relationships/image" Target="../media/image16.png"/></Relationships>
</file>

<file path=ppt/slides/_rels/slide19.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18.xml"/><Relationship Id="rId1" Type="http://schemas.openxmlformats.org/officeDocument/2006/relationships/slideLayout" Target="../slideLayouts/slideLayout1.xml"/><Relationship Id="rId5" Type="http://schemas.openxmlformats.org/officeDocument/2006/relationships/image" Target="../media/image14.jpeg"/><Relationship Id="rId4" Type="http://schemas.openxmlformats.org/officeDocument/2006/relationships/image" Target="../media/image69.png"/></Relationships>
</file>

<file path=ppt/slides/_rels/slide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14.jpeg"/><Relationship Id="rId4" Type="http://schemas.openxmlformats.org/officeDocument/2006/relationships/image" Target="../media/image13.png"/></Relationships>
</file>

<file path=ppt/slides/_rels/slide20.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73.svg"/><Relationship Id="rId3" Type="http://schemas.openxmlformats.org/officeDocument/2006/relationships/slideLayout" Target="../slideLayouts/slideLayout7.xml"/><Relationship Id="rId7" Type="http://schemas.openxmlformats.org/officeDocument/2006/relationships/hyperlink" Target="https://la-ed3.schatkist.nl/Main.aspx?cisbp#Start/14639" TargetMode="External"/><Relationship Id="rId12" Type="http://schemas.openxmlformats.org/officeDocument/2006/relationships/image" Target="../media/image72.pn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1.emf"/><Relationship Id="rId11" Type="http://schemas.openxmlformats.org/officeDocument/2006/relationships/image" Target="../media/image14.jpeg"/><Relationship Id="rId5" Type="http://schemas.openxmlformats.org/officeDocument/2006/relationships/oleObject" Target="../embeddings/oleObject6.bin"/><Relationship Id="rId15" Type="http://schemas.openxmlformats.org/officeDocument/2006/relationships/image" Target="../media/image75.png"/><Relationship Id="rId10" Type="http://schemas.openxmlformats.org/officeDocument/2006/relationships/image" Target="../media/image71.png"/><Relationship Id="rId4" Type="http://schemas.openxmlformats.org/officeDocument/2006/relationships/notesSlide" Target="../notesSlides/notesSlide19.xml"/><Relationship Id="rId9" Type="http://schemas.openxmlformats.org/officeDocument/2006/relationships/hyperlink" Target="https://digiregie-ed3.schatkist.nl/Home.aspx?id=100&amp;group=267366" TargetMode="External"/><Relationship Id="rId14" Type="http://schemas.openxmlformats.org/officeDocument/2006/relationships/image" Target="../media/image74.png"/></Relationships>
</file>

<file path=ppt/slides/_rels/slide21.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slideLayout" Target="../slideLayouts/slideLayout7.xml"/><Relationship Id="rId7" Type="http://schemas.openxmlformats.org/officeDocument/2006/relationships/image" Target="../media/image76.png"/><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20.xml"/></Relationships>
</file>

<file path=ppt/slides/_rels/slide22.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slideLayout" Target="../slideLayouts/slideLayout7.xml"/><Relationship Id="rId7" Type="http://schemas.openxmlformats.org/officeDocument/2006/relationships/image" Target="../media/image16.png"/><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21.xml"/><Relationship Id="rId9" Type="http://schemas.openxmlformats.org/officeDocument/2006/relationships/image" Target="../media/image77.png"/></Relationships>
</file>

<file path=ppt/slides/_rels/slide23.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slideLayout" Target="../slideLayouts/slideLayout7.xml"/><Relationship Id="rId7" Type="http://schemas.openxmlformats.org/officeDocument/2006/relationships/image" Target="../media/image16.png"/><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7.bin"/><Relationship Id="rId10" Type="http://schemas.openxmlformats.org/officeDocument/2006/relationships/image" Target="../media/image79.png"/><Relationship Id="rId4" Type="http://schemas.openxmlformats.org/officeDocument/2006/relationships/notesSlide" Target="../notesSlides/notesSlide22.xml"/><Relationship Id="rId9" Type="http://schemas.openxmlformats.org/officeDocument/2006/relationships/image" Target="../media/image78.png"/></Relationships>
</file>

<file path=ppt/slides/_rels/slide24.xml.rels><?xml version="1.0" encoding="UTF-8" standalone="yes"?>
<Relationships xmlns="http://schemas.openxmlformats.org/package/2006/relationships"><Relationship Id="rId8" Type="http://schemas.openxmlformats.org/officeDocument/2006/relationships/image" Target="../media/image17.svg"/><Relationship Id="rId13" Type="http://schemas.openxmlformats.org/officeDocument/2006/relationships/image" Target="../media/image84.png"/><Relationship Id="rId3" Type="http://schemas.openxmlformats.org/officeDocument/2006/relationships/slideLayout" Target="../slideLayouts/slideLayout7.xml"/><Relationship Id="rId7" Type="http://schemas.openxmlformats.org/officeDocument/2006/relationships/image" Target="../media/image16.png"/><Relationship Id="rId12" Type="http://schemas.openxmlformats.org/officeDocument/2006/relationships/image" Target="../media/image83.png"/><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1.emf"/><Relationship Id="rId11" Type="http://schemas.openxmlformats.org/officeDocument/2006/relationships/image" Target="../media/image82.png"/><Relationship Id="rId5" Type="http://schemas.openxmlformats.org/officeDocument/2006/relationships/oleObject" Target="../embeddings/oleObject7.bin"/><Relationship Id="rId10" Type="http://schemas.openxmlformats.org/officeDocument/2006/relationships/image" Target="../media/image81.png"/><Relationship Id="rId4" Type="http://schemas.openxmlformats.org/officeDocument/2006/relationships/notesSlide" Target="../notesSlides/notesSlide23.xml"/><Relationship Id="rId9" Type="http://schemas.openxmlformats.org/officeDocument/2006/relationships/image" Target="../media/image80.png"/></Relationships>
</file>

<file path=ppt/slides/_rels/slide25.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slideLayout" Target="../slideLayouts/slideLayout7.xml"/><Relationship Id="rId7" Type="http://schemas.openxmlformats.org/officeDocument/2006/relationships/image" Target="../media/image14.jpeg"/><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6.bin"/><Relationship Id="rId10" Type="http://schemas.openxmlformats.org/officeDocument/2006/relationships/image" Target="../media/image18.png"/><Relationship Id="rId4" Type="http://schemas.openxmlformats.org/officeDocument/2006/relationships/notesSlide" Target="../notesSlides/notesSlide24.xml"/><Relationship Id="rId9" Type="http://schemas.openxmlformats.org/officeDocument/2006/relationships/hyperlink" Target="https://www.youtube.com/watch?v=MvxTQ1fAHdw&amp;feature=emb_logo" TargetMode="External"/></Relationships>
</file>

<file path=ppt/slides/_rels/slide2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7.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oleObject" Target="../embeddings/oleObject8.bin"/><Relationship Id="rId5" Type="http://schemas.openxmlformats.org/officeDocument/2006/relationships/image" Target="../media/image86.png"/><Relationship Id="rId10" Type="http://schemas.openxmlformats.org/officeDocument/2006/relationships/image" Target="../media/image87.png"/><Relationship Id="rId4" Type="http://schemas.openxmlformats.org/officeDocument/2006/relationships/notesSlide" Target="../notesSlides/notesSlide25.xml"/><Relationship Id="rId9" Type="http://schemas.openxmlformats.org/officeDocument/2006/relationships/image" Target="../media/image17.svg"/></Relationships>
</file>

<file path=ppt/slides/_rels/slide2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oleObject" Target="../embeddings/oleObject8.bin"/><Relationship Id="rId5" Type="http://schemas.openxmlformats.org/officeDocument/2006/relationships/image" Target="../media/image88.png"/><Relationship Id="rId10" Type="http://schemas.openxmlformats.org/officeDocument/2006/relationships/image" Target="../media/image89.png"/><Relationship Id="rId4" Type="http://schemas.openxmlformats.org/officeDocument/2006/relationships/notesSlide" Target="../notesSlides/notesSlide26.xml"/><Relationship Id="rId9" Type="http://schemas.openxmlformats.org/officeDocument/2006/relationships/image" Target="../media/image17.svg"/></Relationships>
</file>

<file path=ppt/slides/_rels/slide28.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slideLayout" Target="../slideLayouts/slideLayout7.xml"/><Relationship Id="rId7" Type="http://schemas.openxmlformats.org/officeDocument/2006/relationships/image" Target="../media/image14.jpeg"/><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27.xml"/></Relationships>
</file>

<file path=ppt/slides/_rels/slide29.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slideLayout" Target="../slideLayouts/slideLayout7.xml"/><Relationship Id="rId7" Type="http://schemas.openxmlformats.org/officeDocument/2006/relationships/image" Target="../media/image14.jpeg"/><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28.xml"/></Relationships>
</file>

<file path=ppt/slides/_rels/slide3.xml.rels><?xml version="1.0" encoding="UTF-8" standalone="yes"?>
<Relationships xmlns="http://schemas.openxmlformats.org/package/2006/relationships"><Relationship Id="rId3" Type="http://schemas.openxmlformats.org/officeDocument/2006/relationships/image" Target="../media/image15.jpeg"/><Relationship Id="rId7"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hyperlink" Target="https://www.youtube.com/watch?v=bntWwldA28I" TargetMode="External"/><Relationship Id="rId5" Type="http://schemas.openxmlformats.org/officeDocument/2006/relationships/image" Target="../media/image17.svg"/><Relationship Id="rId4" Type="http://schemas.openxmlformats.org/officeDocument/2006/relationships/image" Target="../media/image16.png"/></Relationships>
</file>

<file path=ppt/slides/_rels/slide30.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slideLayout" Target="../slideLayouts/slideLayout7.xml"/><Relationship Id="rId7" Type="http://schemas.openxmlformats.org/officeDocument/2006/relationships/image" Target="../media/image14.jpeg"/><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29.xml"/></Relationships>
</file>

<file path=ppt/slides/_rels/slide31.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slideLayout" Target="../slideLayouts/slideLayout7.xml"/><Relationship Id="rId7" Type="http://schemas.openxmlformats.org/officeDocument/2006/relationships/image" Target="../media/image14.jpeg"/><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30.xml"/></Relationships>
</file>

<file path=ppt/slides/_rels/slide32.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slideLayout" Target="../slideLayouts/slideLayout7.xml"/><Relationship Id="rId7" Type="http://schemas.openxmlformats.org/officeDocument/2006/relationships/image" Target="../media/image14.jpeg"/><Relationship Id="rId2" Type="http://schemas.openxmlformats.org/officeDocument/2006/relationships/tags" Target="../tags/tag21.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31.xml"/></Relationships>
</file>

<file path=ppt/slides/_rels/slide33.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slideLayout" Target="../slideLayouts/slideLayout7.xml"/><Relationship Id="rId7" Type="http://schemas.openxmlformats.org/officeDocument/2006/relationships/image" Target="../media/image14.jpeg"/><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32.xml"/></Relationships>
</file>

<file path=ppt/slides/_rels/slide34.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slideLayout" Target="../slideLayouts/slideLayout7.xml"/><Relationship Id="rId7" Type="http://schemas.openxmlformats.org/officeDocument/2006/relationships/image" Target="../media/image14.jpeg"/><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33.xml"/><Relationship Id="rId9" Type="http://schemas.openxmlformats.org/officeDocument/2006/relationships/image" Target="../media/image97.png"/></Relationships>
</file>

<file path=ppt/slides/_rels/slide35.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slideLayout" Target="../slideLayouts/slideLayout7.xml"/><Relationship Id="rId7" Type="http://schemas.openxmlformats.org/officeDocument/2006/relationships/image" Target="../media/image14.jpeg"/><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6.bin"/><Relationship Id="rId10" Type="http://schemas.openxmlformats.org/officeDocument/2006/relationships/image" Target="../media/image100.png"/><Relationship Id="rId4" Type="http://schemas.openxmlformats.org/officeDocument/2006/relationships/notesSlide" Target="../notesSlides/notesSlide34.xml"/><Relationship Id="rId9" Type="http://schemas.openxmlformats.org/officeDocument/2006/relationships/image" Target="../media/image99.png"/></Relationships>
</file>

<file path=ppt/slides/_rels/slide36.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slideLayout" Target="../slideLayouts/slideLayout7.xml"/><Relationship Id="rId7" Type="http://schemas.openxmlformats.org/officeDocument/2006/relationships/image" Target="../media/image14.jpeg"/><Relationship Id="rId2" Type="http://schemas.openxmlformats.org/officeDocument/2006/relationships/tags" Target="../tags/tag25.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35.xml"/><Relationship Id="rId9" Type="http://schemas.openxmlformats.org/officeDocument/2006/relationships/image" Target="../media/image102.png"/></Relationships>
</file>

<file path=ppt/slides/_rels/slide37.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jpeg"/><Relationship Id="rId1" Type="http://schemas.openxmlformats.org/officeDocument/2006/relationships/slideLayout" Target="../slideLayouts/slideLayout1.xml"/><Relationship Id="rId4" Type="http://schemas.openxmlformats.org/officeDocument/2006/relationships/image" Target="../media/image14.jpeg"/></Relationships>
</file>

<file path=ppt/slides/_rels/slide38.xml.rels><?xml version="1.0" encoding="UTF-8" standalone="yes"?>
<Relationships xmlns="http://schemas.openxmlformats.org/package/2006/relationships"><Relationship Id="rId8" Type="http://schemas.openxmlformats.org/officeDocument/2006/relationships/image" Target="../media/image106.png"/><Relationship Id="rId13" Type="http://schemas.openxmlformats.org/officeDocument/2006/relationships/image" Target="../media/image110.png"/><Relationship Id="rId18" Type="http://schemas.microsoft.com/office/2007/relationships/hdphoto" Target="../media/hdphoto4.wdp"/><Relationship Id="rId26" Type="http://schemas.openxmlformats.org/officeDocument/2006/relationships/image" Target="../media/image122.png"/><Relationship Id="rId3" Type="http://schemas.openxmlformats.org/officeDocument/2006/relationships/slideLayout" Target="../slideLayouts/slideLayout18.xml"/><Relationship Id="rId21" Type="http://schemas.openxmlformats.org/officeDocument/2006/relationships/image" Target="../media/image117.png"/><Relationship Id="rId7" Type="http://schemas.openxmlformats.org/officeDocument/2006/relationships/image" Target="../media/image105.png"/><Relationship Id="rId12" Type="http://schemas.openxmlformats.org/officeDocument/2006/relationships/image" Target="../media/image109.png"/><Relationship Id="rId17" Type="http://schemas.openxmlformats.org/officeDocument/2006/relationships/image" Target="../media/image114.png"/><Relationship Id="rId25" Type="http://schemas.openxmlformats.org/officeDocument/2006/relationships/image" Target="../media/image121.jpeg"/><Relationship Id="rId2" Type="http://schemas.openxmlformats.org/officeDocument/2006/relationships/tags" Target="../tags/tag26.xml"/><Relationship Id="rId16" Type="http://schemas.openxmlformats.org/officeDocument/2006/relationships/image" Target="../media/image113.png"/><Relationship Id="rId20" Type="http://schemas.openxmlformats.org/officeDocument/2006/relationships/image" Target="../media/image116.png"/><Relationship Id="rId29" Type="http://schemas.microsoft.com/office/2007/relationships/hdphoto" Target="../media/hdphoto5.wdp"/><Relationship Id="rId1" Type="http://schemas.openxmlformats.org/officeDocument/2006/relationships/vmlDrawing" Target="../drawings/vmlDrawing26.vml"/><Relationship Id="rId6" Type="http://schemas.openxmlformats.org/officeDocument/2006/relationships/image" Target="../media/image1.emf"/><Relationship Id="rId11" Type="http://schemas.openxmlformats.org/officeDocument/2006/relationships/image" Target="../media/image66.png"/><Relationship Id="rId24" Type="http://schemas.openxmlformats.org/officeDocument/2006/relationships/image" Target="../media/image120.tiff"/><Relationship Id="rId5" Type="http://schemas.openxmlformats.org/officeDocument/2006/relationships/oleObject" Target="../embeddings/oleObject9.bin"/><Relationship Id="rId15" Type="http://schemas.openxmlformats.org/officeDocument/2006/relationships/image" Target="../media/image112.png"/><Relationship Id="rId23" Type="http://schemas.openxmlformats.org/officeDocument/2006/relationships/image" Target="../media/image119.png"/><Relationship Id="rId28" Type="http://schemas.openxmlformats.org/officeDocument/2006/relationships/image" Target="../media/image124.png"/><Relationship Id="rId10" Type="http://schemas.openxmlformats.org/officeDocument/2006/relationships/image" Target="../media/image108.png"/><Relationship Id="rId19" Type="http://schemas.openxmlformats.org/officeDocument/2006/relationships/image" Target="../media/image115.png"/><Relationship Id="rId4" Type="http://schemas.openxmlformats.org/officeDocument/2006/relationships/notesSlide" Target="../notesSlides/notesSlide36.xml"/><Relationship Id="rId9" Type="http://schemas.openxmlformats.org/officeDocument/2006/relationships/image" Target="../media/image107.png"/><Relationship Id="rId14" Type="http://schemas.openxmlformats.org/officeDocument/2006/relationships/image" Target="../media/image111.jpeg"/><Relationship Id="rId22" Type="http://schemas.openxmlformats.org/officeDocument/2006/relationships/image" Target="../media/image118.png"/><Relationship Id="rId27" Type="http://schemas.openxmlformats.org/officeDocument/2006/relationships/image" Target="../media/image123.tiff"/></Relationships>
</file>

<file path=ppt/slides/_rels/slide39.xml.rels><?xml version="1.0" encoding="UTF-8" standalone="yes"?>
<Relationships xmlns="http://schemas.openxmlformats.org/package/2006/relationships"><Relationship Id="rId8" Type="http://schemas.openxmlformats.org/officeDocument/2006/relationships/image" Target="../media/image106.png"/><Relationship Id="rId13" Type="http://schemas.openxmlformats.org/officeDocument/2006/relationships/image" Target="../media/image128.png"/><Relationship Id="rId18" Type="http://schemas.openxmlformats.org/officeDocument/2006/relationships/image" Target="../media/image133.png"/><Relationship Id="rId3" Type="http://schemas.openxmlformats.org/officeDocument/2006/relationships/slideLayout" Target="../slideLayouts/slideLayout7.xml"/><Relationship Id="rId21" Type="http://schemas.openxmlformats.org/officeDocument/2006/relationships/image" Target="../media/image136.png"/><Relationship Id="rId7" Type="http://schemas.openxmlformats.org/officeDocument/2006/relationships/image" Target="../media/image105.png"/><Relationship Id="rId12" Type="http://schemas.microsoft.com/office/2007/relationships/hdphoto" Target="../media/hdphoto6.wdp"/><Relationship Id="rId17" Type="http://schemas.openxmlformats.org/officeDocument/2006/relationships/image" Target="../media/image132.png"/><Relationship Id="rId2" Type="http://schemas.openxmlformats.org/officeDocument/2006/relationships/tags" Target="../tags/tag27.xml"/><Relationship Id="rId16" Type="http://schemas.openxmlformats.org/officeDocument/2006/relationships/image" Target="../media/image131.png"/><Relationship Id="rId20" Type="http://schemas.openxmlformats.org/officeDocument/2006/relationships/image" Target="../media/image135.tiff"/><Relationship Id="rId1" Type="http://schemas.openxmlformats.org/officeDocument/2006/relationships/vmlDrawing" Target="../drawings/vmlDrawing27.vml"/><Relationship Id="rId6" Type="http://schemas.openxmlformats.org/officeDocument/2006/relationships/image" Target="../media/image1.emf"/><Relationship Id="rId11" Type="http://schemas.openxmlformats.org/officeDocument/2006/relationships/image" Target="../media/image127.png"/><Relationship Id="rId5" Type="http://schemas.openxmlformats.org/officeDocument/2006/relationships/oleObject" Target="../embeddings/oleObject10.bin"/><Relationship Id="rId15" Type="http://schemas.openxmlformats.org/officeDocument/2006/relationships/image" Target="../media/image130.png"/><Relationship Id="rId10" Type="http://schemas.openxmlformats.org/officeDocument/2006/relationships/image" Target="../media/image126.jpeg"/><Relationship Id="rId19" Type="http://schemas.openxmlformats.org/officeDocument/2006/relationships/image" Target="../media/image134.png"/><Relationship Id="rId4" Type="http://schemas.openxmlformats.org/officeDocument/2006/relationships/notesSlide" Target="../notesSlides/notesSlide37.xml"/><Relationship Id="rId9" Type="http://schemas.openxmlformats.org/officeDocument/2006/relationships/image" Target="../media/image125.png"/><Relationship Id="rId14" Type="http://schemas.openxmlformats.org/officeDocument/2006/relationships/image" Target="../media/image129.png"/><Relationship Id="rId22" Type="http://schemas.openxmlformats.org/officeDocument/2006/relationships/image" Target="../media/image137.png"/></Relationships>
</file>

<file path=ppt/slides/_rels/slide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4.xml"/><Relationship Id="rId1" Type="http://schemas.openxmlformats.org/officeDocument/2006/relationships/slideLayout" Target="../slideLayouts/slideLayout1.xml"/><Relationship Id="rId5" Type="http://schemas.openxmlformats.org/officeDocument/2006/relationships/image" Target="../media/image14.jpeg"/><Relationship Id="rId4" Type="http://schemas.openxmlformats.org/officeDocument/2006/relationships/image" Target="../media/image20.png"/></Relationships>
</file>

<file path=ppt/slides/_rels/slide40.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image" Target="../media/image138.jpeg"/><Relationship Id="rId1" Type="http://schemas.openxmlformats.org/officeDocument/2006/relationships/slideLayout" Target="../slideLayouts/slideLayout1.xml"/><Relationship Id="rId4" Type="http://schemas.openxmlformats.org/officeDocument/2006/relationships/image" Target="../media/image14.jpeg"/></Relationships>
</file>

<file path=ppt/slides/_rels/slide41.xml.rels><?xml version="1.0" encoding="UTF-8" standalone="yes"?>
<Relationships xmlns="http://schemas.openxmlformats.org/package/2006/relationships"><Relationship Id="rId8" Type="http://schemas.openxmlformats.org/officeDocument/2006/relationships/image" Target="../media/image140.png"/><Relationship Id="rId3" Type="http://schemas.openxmlformats.org/officeDocument/2006/relationships/slideLayout" Target="../slideLayouts/slideLayout7.xml"/><Relationship Id="rId7" Type="http://schemas.openxmlformats.org/officeDocument/2006/relationships/hyperlink" Target="https://www.zwijsen.nl/lesmethoden/schatkist" TargetMode="External"/><Relationship Id="rId12" Type="http://schemas.openxmlformats.org/officeDocument/2006/relationships/image" Target="../media/image143.png"/><Relationship Id="rId2" Type="http://schemas.openxmlformats.org/officeDocument/2006/relationships/tags" Target="../tags/tag28.xml"/><Relationship Id="rId1" Type="http://schemas.openxmlformats.org/officeDocument/2006/relationships/vmlDrawing" Target="../drawings/vmlDrawing28.vml"/><Relationship Id="rId6" Type="http://schemas.openxmlformats.org/officeDocument/2006/relationships/image" Target="../media/image1.emf"/><Relationship Id="rId11" Type="http://schemas.openxmlformats.org/officeDocument/2006/relationships/image" Target="../media/image142.png"/><Relationship Id="rId5" Type="http://schemas.openxmlformats.org/officeDocument/2006/relationships/oleObject" Target="../embeddings/oleObject11.bin"/><Relationship Id="rId10" Type="http://schemas.openxmlformats.org/officeDocument/2006/relationships/image" Target="../media/image141.png"/><Relationship Id="rId4" Type="http://schemas.openxmlformats.org/officeDocument/2006/relationships/notesSlide" Target="../notesSlides/notesSlide38.xml"/><Relationship Id="rId9" Type="http://schemas.openxmlformats.org/officeDocument/2006/relationships/hyperlink" Target="https://www.zwijsen.nl/lesmethoden/uk-puk" TargetMode="External"/></Relationships>
</file>

<file path=ppt/slides/_rels/slide4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7.xml"/><Relationship Id="rId7" Type="http://schemas.openxmlformats.org/officeDocument/2006/relationships/oleObject" Target="../embeddings/oleObject11.bin"/><Relationship Id="rId2" Type="http://schemas.openxmlformats.org/officeDocument/2006/relationships/tags" Target="../tags/tag29.xml"/><Relationship Id="rId1" Type="http://schemas.openxmlformats.org/officeDocument/2006/relationships/vmlDrawing" Target="../drawings/vmlDrawing29.vml"/><Relationship Id="rId6" Type="http://schemas.openxmlformats.org/officeDocument/2006/relationships/image" Target="../media/image144.jpeg"/><Relationship Id="rId5" Type="http://schemas.openxmlformats.org/officeDocument/2006/relationships/hyperlink" Target="https://www.zwijsen.nl/lesmethoden/pennenstreken" TargetMode="External"/><Relationship Id="rId10" Type="http://schemas.openxmlformats.org/officeDocument/2006/relationships/image" Target="../media/image145.png"/><Relationship Id="rId4" Type="http://schemas.openxmlformats.org/officeDocument/2006/relationships/notesSlide" Target="../notesSlides/notesSlide39.xml"/><Relationship Id="rId9" Type="http://schemas.openxmlformats.org/officeDocument/2006/relationships/hyperlink" Target="https://www.zwijsen.nl/lesmethoden/veilig-leren-lezen"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40.xml"/><Relationship Id="rId1" Type="http://schemas.openxmlformats.org/officeDocument/2006/relationships/slideLayout" Target="../slideLayouts/slideLayout2.xml"/><Relationship Id="rId4" Type="http://schemas.openxmlformats.org/officeDocument/2006/relationships/image" Target="../media/image146.png"/></Relationships>
</file>

<file path=ppt/slides/_rels/slide44.xml.rels><?xml version="1.0" encoding="UTF-8" standalone="yes"?>
<Relationships xmlns="http://schemas.openxmlformats.org/package/2006/relationships"><Relationship Id="rId3" Type="http://schemas.openxmlformats.org/officeDocument/2006/relationships/image" Target="../media/image147.png"/><Relationship Id="rId7" Type="http://schemas.openxmlformats.org/officeDocument/2006/relationships/image" Target="../media/image149.png"/><Relationship Id="rId2" Type="http://schemas.openxmlformats.org/officeDocument/2006/relationships/notesSlide" Target="../notesSlides/notesSlide41.xml"/><Relationship Id="rId1" Type="http://schemas.openxmlformats.org/officeDocument/2006/relationships/slideLayout" Target="../slideLayouts/slideLayout2.xml"/><Relationship Id="rId6" Type="http://schemas.openxmlformats.org/officeDocument/2006/relationships/image" Target="../media/image148.png"/><Relationship Id="rId5" Type="http://schemas.openxmlformats.org/officeDocument/2006/relationships/image" Target="../media/image126.jpeg"/><Relationship Id="rId4" Type="http://schemas.openxmlformats.org/officeDocument/2006/relationships/image" Target="../media/image14.jpeg"/></Relationships>
</file>

<file path=ppt/slides/_rels/slide5.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16.png"/><Relationship Id="rId3" Type="http://schemas.openxmlformats.org/officeDocument/2006/relationships/image" Target="../media/image21.png"/><Relationship Id="rId7" Type="http://schemas.openxmlformats.org/officeDocument/2006/relationships/image" Target="../media/image25.png"/><Relationship Id="rId12"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23.svg"/><Relationship Id="rId15" Type="http://schemas.openxmlformats.org/officeDocument/2006/relationships/image" Target="../media/image31.pn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png"/><Relationship Id="rId14" Type="http://schemas.openxmlformats.org/officeDocument/2006/relationships/image" Target="../media/image17.svg"/></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17.sv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16.png"/><Relationship Id="rId5" Type="http://schemas.openxmlformats.org/officeDocument/2006/relationships/image" Target="../media/image18.png"/><Relationship Id="rId4" Type="http://schemas.openxmlformats.org/officeDocument/2006/relationships/hyperlink" Target="https://www.youtube.com/watch?time_continue=116&amp;v=zOqa1-_eLnI&amp;feature=emb_logo"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7.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33.png"/><Relationship Id="rId4" Type="http://schemas.openxmlformats.org/officeDocument/2006/relationships/notesSlide" Target="../notesSlides/notesSlide7.xml"/><Relationship Id="rId9" Type="http://schemas.openxmlformats.org/officeDocument/2006/relationships/image" Target="../media/image17.svg"/></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7.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32.png"/><Relationship Id="rId4" Type="http://schemas.openxmlformats.org/officeDocument/2006/relationships/notesSlide" Target="../notesSlides/notesSlide8.xml"/><Relationship Id="rId9" Type="http://schemas.openxmlformats.org/officeDocument/2006/relationships/image" Target="../media/image17.svg"/></Relationships>
</file>

<file path=ppt/slides/_rels/slide9.xml.rels><?xml version="1.0" encoding="UTF-8" standalone="yes"?>
<Relationships xmlns="http://schemas.openxmlformats.org/package/2006/relationships"><Relationship Id="rId8" Type="http://schemas.openxmlformats.org/officeDocument/2006/relationships/image" Target="../media/image34.png"/><Relationship Id="rId13" Type="http://schemas.microsoft.com/office/2007/relationships/hdphoto" Target="../media/hdphoto2.wdp"/><Relationship Id="rId18" Type="http://schemas.openxmlformats.org/officeDocument/2006/relationships/image" Target="../media/image41.png"/><Relationship Id="rId3" Type="http://schemas.openxmlformats.org/officeDocument/2006/relationships/tags" Target="../tags/tag5.xml"/><Relationship Id="rId7" Type="http://schemas.openxmlformats.org/officeDocument/2006/relationships/image" Target="../media/image1.emf"/><Relationship Id="rId12" Type="http://schemas.openxmlformats.org/officeDocument/2006/relationships/image" Target="../media/image37.png"/><Relationship Id="rId17" Type="http://schemas.openxmlformats.org/officeDocument/2006/relationships/image" Target="../media/image40.png"/><Relationship Id="rId2" Type="http://schemas.openxmlformats.org/officeDocument/2006/relationships/vmlDrawing" Target="../drawings/vmlDrawing5.vml"/><Relationship Id="rId16" Type="http://schemas.openxmlformats.org/officeDocument/2006/relationships/image" Target="../media/image39.png"/><Relationship Id="rId20" Type="http://schemas.openxmlformats.org/officeDocument/2006/relationships/image" Target="../media/image14.jpeg"/><Relationship Id="rId1" Type="http://schemas.openxmlformats.org/officeDocument/2006/relationships/themeOverride" Target="../theme/themeOverride1.xml"/><Relationship Id="rId6" Type="http://schemas.openxmlformats.org/officeDocument/2006/relationships/oleObject" Target="../embeddings/oleObject5.bin"/><Relationship Id="rId11" Type="http://schemas.microsoft.com/office/2007/relationships/hdphoto" Target="../media/hdphoto1.wdp"/><Relationship Id="rId5" Type="http://schemas.openxmlformats.org/officeDocument/2006/relationships/notesSlide" Target="../notesSlides/notesSlide9.xml"/><Relationship Id="rId15" Type="http://schemas.microsoft.com/office/2007/relationships/hdphoto" Target="../media/hdphoto3.wdp"/><Relationship Id="rId10" Type="http://schemas.openxmlformats.org/officeDocument/2006/relationships/image" Target="../media/image36.png"/><Relationship Id="rId19" Type="http://schemas.openxmlformats.org/officeDocument/2006/relationships/image" Target="../media/image42.png"/><Relationship Id="rId4" Type="http://schemas.openxmlformats.org/officeDocument/2006/relationships/slideLayout" Target="../slideLayouts/slideLayout7.xml"/><Relationship Id="rId9" Type="http://schemas.openxmlformats.org/officeDocument/2006/relationships/image" Target="../media/image35.svg"/><Relationship Id="rId14"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hthoek 14">
            <a:hlinkClick r:id="rId3" action="ppaction://hlinksldjump"/>
          </p:cNvPr>
          <p:cNvSpPr/>
          <p:nvPr/>
        </p:nvSpPr>
        <p:spPr>
          <a:xfrm>
            <a:off x="7907204" y="5472442"/>
            <a:ext cx="2976331" cy="10561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a:p>
        </p:txBody>
      </p:sp>
      <p:grpSp>
        <p:nvGrpSpPr>
          <p:cNvPr id="7" name="Groep 6"/>
          <p:cNvGrpSpPr/>
          <p:nvPr/>
        </p:nvGrpSpPr>
        <p:grpSpPr>
          <a:xfrm>
            <a:off x="1935060" y="964869"/>
            <a:ext cx="3039020" cy="2653185"/>
            <a:chOff x="780410" y="632225"/>
            <a:chExt cx="2279265" cy="1989889"/>
          </a:xfrm>
        </p:grpSpPr>
        <p:pic>
          <p:nvPicPr>
            <p:cNvPr id="3" name="Afbeelding 2"/>
            <p:cNvPicPr>
              <a:picLocks noChangeAspect="1"/>
            </p:cNvPicPr>
            <p:nvPr/>
          </p:nvPicPr>
          <p:blipFill rotWithShape="1">
            <a:blip r:embed="rId4" cstate="print">
              <a:extLst>
                <a:ext uri="{28A0092B-C50C-407E-A947-70E740481C1C}">
                  <a14:useLocalDpi xmlns:a14="http://schemas.microsoft.com/office/drawing/2010/main" val="0"/>
                </a:ext>
              </a:extLst>
            </a:blip>
            <a:srcRect l="-243" t="82221" r="-1"/>
            <a:stretch/>
          </p:blipFill>
          <p:spPr>
            <a:xfrm>
              <a:off x="780410" y="2029350"/>
              <a:ext cx="2261289" cy="592764"/>
            </a:xfrm>
            <a:prstGeom prst="rect">
              <a:avLst/>
            </a:prstGeom>
          </p:spPr>
        </p:pic>
        <p:sp>
          <p:nvSpPr>
            <p:cNvPr id="4" name="Tekstvak 3"/>
            <p:cNvSpPr txBox="1"/>
            <p:nvPr/>
          </p:nvSpPr>
          <p:spPr>
            <a:xfrm>
              <a:off x="894546" y="2184891"/>
              <a:ext cx="2165129" cy="346249"/>
            </a:xfrm>
            <a:prstGeom prst="rect">
              <a:avLst/>
            </a:prstGeom>
            <a:noFill/>
          </p:spPr>
          <p:txBody>
            <a:bodyPr wrap="square" rtlCol="0">
              <a:spAutoFit/>
            </a:bodyPr>
            <a:lstStyle/>
            <a:p>
              <a:pPr algn="ctr"/>
              <a:r>
                <a:rPr lang="nl-NL" sz="2400" dirty="0">
                  <a:solidFill>
                    <a:schemeClr val="bg1"/>
                  </a:solidFill>
                  <a:latin typeface="Amaranth" panose="02000503050000020004" pitchFamily="2" charset="0"/>
                </a:rPr>
                <a:t>Sterke punten</a:t>
              </a:r>
            </a:p>
          </p:txBody>
        </p:sp>
        <p:pic>
          <p:nvPicPr>
            <p:cNvPr id="44" name="Afbeelding 4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94546" y="632225"/>
              <a:ext cx="2147153" cy="1432589"/>
            </a:xfrm>
            <a:prstGeom prst="roundRect">
              <a:avLst>
                <a:gd name="adj" fmla="val 4167"/>
              </a:avLst>
            </a:prstGeom>
            <a:solidFill>
              <a:srgbClr val="FFFFFF"/>
            </a:solidFill>
            <a:ln w="76200" cap="sq">
              <a:noFill/>
              <a:miter lim="800000"/>
            </a:ln>
            <a:effectLst/>
          </p:spPr>
        </p:pic>
      </p:grpSp>
      <p:grpSp>
        <p:nvGrpSpPr>
          <p:cNvPr id="5" name="Groep 4"/>
          <p:cNvGrpSpPr/>
          <p:nvPr/>
        </p:nvGrpSpPr>
        <p:grpSpPr>
          <a:xfrm>
            <a:off x="4974081" y="953059"/>
            <a:ext cx="3018581" cy="2664995"/>
            <a:chOff x="3300690" y="623368"/>
            <a:chExt cx="2263936" cy="1998746"/>
          </a:xfrm>
        </p:grpSpPr>
        <p:pic>
          <p:nvPicPr>
            <p:cNvPr id="35" name="Afbeelding 34"/>
            <p:cNvPicPr>
              <a:picLocks noChangeAspect="1"/>
            </p:cNvPicPr>
            <p:nvPr/>
          </p:nvPicPr>
          <p:blipFill rotWithShape="1">
            <a:blip r:embed="rId4" cstate="print">
              <a:extLst>
                <a:ext uri="{28A0092B-C50C-407E-A947-70E740481C1C}">
                  <a14:useLocalDpi xmlns:a14="http://schemas.microsoft.com/office/drawing/2010/main" val="0"/>
                </a:ext>
              </a:extLst>
            </a:blip>
            <a:srcRect l="-243" t="82221" r="-1"/>
            <a:stretch/>
          </p:blipFill>
          <p:spPr>
            <a:xfrm>
              <a:off x="3300690" y="2029350"/>
              <a:ext cx="2261289" cy="592764"/>
            </a:xfrm>
            <a:prstGeom prst="rect">
              <a:avLst/>
            </a:prstGeom>
          </p:spPr>
        </p:pic>
        <p:sp>
          <p:nvSpPr>
            <p:cNvPr id="39" name="Tekstvak 38"/>
            <p:cNvSpPr txBox="1"/>
            <p:nvPr/>
          </p:nvSpPr>
          <p:spPr>
            <a:xfrm>
              <a:off x="3399496" y="2184891"/>
              <a:ext cx="2165130" cy="300083"/>
            </a:xfrm>
            <a:prstGeom prst="rect">
              <a:avLst/>
            </a:prstGeom>
            <a:noFill/>
          </p:spPr>
          <p:txBody>
            <a:bodyPr wrap="square" rtlCol="0">
              <a:spAutoFit/>
            </a:bodyPr>
            <a:lstStyle/>
            <a:p>
              <a:pPr algn="ctr"/>
              <a:r>
                <a:rPr lang="nl-NL" sz="2000" dirty="0">
                  <a:solidFill>
                    <a:schemeClr val="bg1"/>
                  </a:solidFill>
                  <a:latin typeface="Amaranth" panose="02000503050000020004" pitchFamily="2" charset="0"/>
                </a:rPr>
                <a:t>Opbouw &amp; differentiatie</a:t>
              </a:r>
            </a:p>
          </p:txBody>
        </p:sp>
        <p:pic>
          <p:nvPicPr>
            <p:cNvPr id="45" name="Afbeelding 4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419873" y="623368"/>
              <a:ext cx="2142105" cy="1440811"/>
            </a:xfrm>
            <a:prstGeom prst="roundRect">
              <a:avLst>
                <a:gd name="adj" fmla="val 4167"/>
              </a:avLst>
            </a:prstGeom>
            <a:solidFill>
              <a:srgbClr val="FFFFFF"/>
            </a:solidFill>
            <a:ln w="76200" cap="sq">
              <a:noFill/>
              <a:miter lim="800000"/>
            </a:ln>
            <a:effectLst/>
          </p:spPr>
        </p:pic>
      </p:grpSp>
      <p:grpSp>
        <p:nvGrpSpPr>
          <p:cNvPr id="8" name="Groep 7"/>
          <p:cNvGrpSpPr/>
          <p:nvPr/>
        </p:nvGrpSpPr>
        <p:grpSpPr>
          <a:xfrm>
            <a:off x="1945865" y="5684259"/>
            <a:ext cx="2976332" cy="830537"/>
            <a:chOff x="809451" y="4273516"/>
            <a:chExt cx="2232249" cy="622903"/>
          </a:xfrm>
        </p:grpSpPr>
        <p:pic>
          <p:nvPicPr>
            <p:cNvPr id="32" name="Afbeelding 31"/>
            <p:cNvPicPr>
              <a:picLocks noChangeAspect="1"/>
            </p:cNvPicPr>
            <p:nvPr/>
          </p:nvPicPr>
          <p:blipFill rotWithShape="1">
            <a:blip r:embed="rId7" cstate="print">
              <a:extLst>
                <a:ext uri="{28A0092B-C50C-407E-A947-70E740481C1C}">
                  <a14:useLocalDpi xmlns:a14="http://schemas.microsoft.com/office/drawing/2010/main" val="0"/>
                </a:ext>
              </a:extLst>
            </a:blip>
            <a:srcRect l="-243" t="82221" r="-1"/>
            <a:stretch/>
          </p:blipFill>
          <p:spPr>
            <a:xfrm>
              <a:off x="809451" y="4273516"/>
              <a:ext cx="2232248" cy="622903"/>
            </a:xfrm>
            <a:prstGeom prst="rect">
              <a:avLst/>
            </a:prstGeom>
          </p:spPr>
        </p:pic>
        <p:sp>
          <p:nvSpPr>
            <p:cNvPr id="43" name="Tekstvak 42"/>
            <p:cNvSpPr txBox="1"/>
            <p:nvPr/>
          </p:nvSpPr>
          <p:spPr>
            <a:xfrm>
              <a:off x="953468" y="4437544"/>
              <a:ext cx="2088232" cy="346249"/>
            </a:xfrm>
            <a:prstGeom prst="rect">
              <a:avLst/>
            </a:prstGeom>
            <a:noFill/>
          </p:spPr>
          <p:txBody>
            <a:bodyPr wrap="square" rtlCol="0">
              <a:spAutoFit/>
            </a:bodyPr>
            <a:lstStyle/>
            <a:p>
              <a:pPr algn="ctr"/>
              <a:r>
                <a:rPr lang="nl-NL" sz="2400" dirty="0">
                  <a:solidFill>
                    <a:schemeClr val="bg1"/>
                  </a:solidFill>
                  <a:latin typeface="Amaranth" panose="02000503050000020004" pitchFamily="2" charset="0"/>
                </a:rPr>
                <a:t>Software</a:t>
              </a:r>
            </a:p>
          </p:txBody>
        </p:sp>
      </p:grpSp>
      <p:grpSp>
        <p:nvGrpSpPr>
          <p:cNvPr id="9" name="Groep 8"/>
          <p:cNvGrpSpPr/>
          <p:nvPr/>
        </p:nvGrpSpPr>
        <p:grpSpPr>
          <a:xfrm>
            <a:off x="4950112" y="5684745"/>
            <a:ext cx="3077280" cy="830537"/>
            <a:chOff x="3279707" y="4273515"/>
            <a:chExt cx="2307960" cy="622903"/>
          </a:xfrm>
        </p:grpSpPr>
        <p:pic>
          <p:nvPicPr>
            <p:cNvPr id="36" name="Afbeelding 35"/>
            <p:cNvPicPr>
              <a:picLocks noChangeAspect="1"/>
            </p:cNvPicPr>
            <p:nvPr/>
          </p:nvPicPr>
          <p:blipFill rotWithShape="1">
            <a:blip r:embed="rId7" cstate="print">
              <a:extLst>
                <a:ext uri="{28A0092B-C50C-407E-A947-70E740481C1C}">
                  <a14:useLocalDpi xmlns:a14="http://schemas.microsoft.com/office/drawing/2010/main" val="0"/>
                </a:ext>
              </a:extLst>
            </a:blip>
            <a:srcRect l="-243" t="82221" r="-1"/>
            <a:stretch/>
          </p:blipFill>
          <p:spPr>
            <a:xfrm>
              <a:off x="3279707" y="4273515"/>
              <a:ext cx="2280674" cy="622903"/>
            </a:xfrm>
            <a:prstGeom prst="rect">
              <a:avLst/>
            </a:prstGeom>
          </p:spPr>
        </p:pic>
        <p:sp>
          <p:nvSpPr>
            <p:cNvPr id="41" name="Tekstvak 40"/>
            <p:cNvSpPr txBox="1"/>
            <p:nvPr/>
          </p:nvSpPr>
          <p:spPr>
            <a:xfrm>
              <a:off x="3327267" y="4437179"/>
              <a:ext cx="2260400" cy="346249"/>
            </a:xfrm>
            <a:prstGeom prst="rect">
              <a:avLst/>
            </a:prstGeom>
            <a:noFill/>
          </p:spPr>
          <p:txBody>
            <a:bodyPr wrap="square" rtlCol="0">
              <a:spAutoFit/>
            </a:bodyPr>
            <a:lstStyle/>
            <a:p>
              <a:pPr algn="ctr"/>
              <a:r>
                <a:rPr lang="nl-NL" sz="2400" dirty="0">
                  <a:solidFill>
                    <a:schemeClr val="bg1"/>
                  </a:solidFill>
                  <a:latin typeface="Amaranth" panose="02000503050000020004" pitchFamily="2" charset="0"/>
                </a:rPr>
                <a:t>Materialen</a:t>
              </a:r>
            </a:p>
          </p:txBody>
        </p:sp>
      </p:grpSp>
      <p:pic>
        <p:nvPicPr>
          <p:cNvPr id="38" name="Afbeelding 37"/>
          <p:cNvPicPr>
            <a:picLocks noChangeAspect="1"/>
          </p:cNvPicPr>
          <p:nvPr/>
        </p:nvPicPr>
        <p:blipFill rotWithShape="1">
          <a:blip r:embed="rId7" cstate="print">
            <a:extLst>
              <a:ext uri="{28A0092B-C50C-407E-A947-70E740481C1C}">
                <a14:useLocalDpi xmlns:a14="http://schemas.microsoft.com/office/drawing/2010/main" val="0"/>
              </a:ext>
            </a:extLst>
          </a:blip>
          <a:srcRect l="-243" t="82221" r="-1"/>
          <a:stretch/>
        </p:blipFill>
        <p:spPr>
          <a:xfrm>
            <a:off x="7983975" y="5684260"/>
            <a:ext cx="3028893" cy="830537"/>
          </a:xfrm>
          <a:prstGeom prst="rect">
            <a:avLst/>
          </a:prstGeom>
        </p:spPr>
      </p:pic>
      <p:sp>
        <p:nvSpPr>
          <p:cNvPr id="42" name="Tekstvak 41"/>
          <p:cNvSpPr txBox="1"/>
          <p:nvPr/>
        </p:nvSpPr>
        <p:spPr>
          <a:xfrm>
            <a:off x="8129884" y="5902965"/>
            <a:ext cx="2869143" cy="461665"/>
          </a:xfrm>
          <a:prstGeom prst="rect">
            <a:avLst/>
          </a:prstGeom>
          <a:noFill/>
        </p:spPr>
        <p:txBody>
          <a:bodyPr wrap="square" rtlCol="0">
            <a:spAutoFit/>
          </a:bodyPr>
          <a:lstStyle/>
          <a:p>
            <a:pPr algn="ctr"/>
            <a:r>
              <a:rPr lang="nl-NL" sz="2400" dirty="0">
                <a:solidFill>
                  <a:schemeClr val="bg1"/>
                </a:solidFill>
                <a:latin typeface="Amaranth" panose="02000503050000020004" pitchFamily="2" charset="0"/>
              </a:rPr>
              <a:t>Doorgaande leerlijn</a:t>
            </a:r>
          </a:p>
        </p:txBody>
      </p:sp>
      <p:grpSp>
        <p:nvGrpSpPr>
          <p:cNvPr id="11" name="Groep 10"/>
          <p:cNvGrpSpPr/>
          <p:nvPr/>
        </p:nvGrpSpPr>
        <p:grpSpPr>
          <a:xfrm>
            <a:off x="7992662" y="954156"/>
            <a:ext cx="3034419" cy="2671165"/>
            <a:chOff x="5815676" y="614574"/>
            <a:chExt cx="2275814" cy="2003374"/>
          </a:xfrm>
        </p:grpSpPr>
        <p:grpSp>
          <p:nvGrpSpPr>
            <p:cNvPr id="6" name="Groep 5"/>
            <p:cNvGrpSpPr/>
            <p:nvPr/>
          </p:nvGrpSpPr>
          <p:grpSpPr>
            <a:xfrm>
              <a:off x="5815676" y="623368"/>
              <a:ext cx="2266583" cy="1994580"/>
              <a:chOff x="5820970" y="627534"/>
              <a:chExt cx="2266583" cy="1994580"/>
            </a:xfrm>
          </p:grpSpPr>
          <p:pic>
            <p:nvPicPr>
              <p:cNvPr id="37" name="Afbeelding 36"/>
              <p:cNvPicPr>
                <a:picLocks noChangeAspect="1"/>
              </p:cNvPicPr>
              <p:nvPr/>
            </p:nvPicPr>
            <p:blipFill rotWithShape="1">
              <a:blip r:embed="rId4" cstate="print">
                <a:extLst>
                  <a:ext uri="{28A0092B-C50C-407E-A947-70E740481C1C}">
                    <a14:useLocalDpi xmlns:a14="http://schemas.microsoft.com/office/drawing/2010/main" val="0"/>
                  </a:ext>
                </a:extLst>
              </a:blip>
              <a:srcRect l="-243" t="82221" r="-1"/>
              <a:stretch/>
            </p:blipFill>
            <p:spPr>
              <a:xfrm>
                <a:off x="5820970" y="2029350"/>
                <a:ext cx="2261289" cy="592764"/>
              </a:xfrm>
              <a:prstGeom prst="rect">
                <a:avLst/>
              </a:prstGeom>
            </p:spPr>
          </p:pic>
          <p:sp>
            <p:nvSpPr>
              <p:cNvPr id="40" name="Tekstvak 39"/>
              <p:cNvSpPr txBox="1"/>
              <p:nvPr/>
            </p:nvSpPr>
            <p:spPr>
              <a:xfrm>
                <a:off x="5930402" y="2189018"/>
                <a:ext cx="2157151" cy="346249"/>
              </a:xfrm>
              <a:prstGeom prst="rect">
                <a:avLst/>
              </a:prstGeom>
              <a:noFill/>
            </p:spPr>
            <p:txBody>
              <a:bodyPr wrap="square" rtlCol="0">
                <a:spAutoFit/>
              </a:bodyPr>
              <a:lstStyle/>
              <a:p>
                <a:pPr algn="ctr"/>
                <a:r>
                  <a:rPr lang="nl-NL" sz="2400" dirty="0">
                    <a:solidFill>
                      <a:schemeClr val="bg1"/>
                    </a:solidFill>
                    <a:latin typeface="Amaranth" panose="02000503050000020004" pitchFamily="2" charset="0"/>
                  </a:rPr>
                  <a:t>Routines</a:t>
                </a:r>
              </a:p>
            </p:txBody>
          </p:sp>
          <p:pic>
            <p:nvPicPr>
              <p:cNvPr id="46" name="Afbeelding 4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940152" y="627534"/>
                <a:ext cx="2142107" cy="1436645"/>
              </a:xfrm>
              <a:prstGeom prst="roundRect">
                <a:avLst>
                  <a:gd name="adj" fmla="val 4167"/>
                </a:avLst>
              </a:prstGeom>
              <a:solidFill>
                <a:srgbClr val="FFFFFF"/>
              </a:solidFill>
              <a:ln w="76200" cap="sq">
                <a:noFill/>
                <a:miter lim="800000"/>
              </a:ln>
              <a:effectLst/>
            </p:spPr>
          </p:pic>
        </p:grpSp>
        <p:pic>
          <p:nvPicPr>
            <p:cNvPr id="34" name="Afbeelding 33"/>
            <p:cNvPicPr>
              <a:picLocks noChangeAspect="1"/>
            </p:cNvPicPr>
            <p:nvPr/>
          </p:nvPicPr>
          <p:blipFill>
            <a:blip r:embed="rId9"/>
            <a:stretch>
              <a:fillRect/>
            </a:stretch>
          </p:blipFill>
          <p:spPr>
            <a:xfrm>
              <a:off x="5934858" y="614574"/>
              <a:ext cx="2156632" cy="1440833"/>
            </a:xfrm>
            <a:prstGeom prst="roundRect">
              <a:avLst>
                <a:gd name="adj" fmla="val 4167"/>
              </a:avLst>
            </a:prstGeom>
            <a:solidFill>
              <a:srgbClr val="FFFFFF"/>
            </a:solidFill>
            <a:ln w="76200" cap="sq">
              <a:noFill/>
              <a:miter lim="800000"/>
            </a:ln>
            <a:effectLst/>
          </p:spPr>
        </p:pic>
      </p:grpSp>
      <p:pic>
        <p:nvPicPr>
          <p:cNvPr id="50" name="Afbeelding 49"/>
          <p:cNvPicPr>
            <a:picLocks noChangeAspect="1"/>
          </p:cNvPicPr>
          <p:nvPr/>
        </p:nvPicPr>
        <p:blipFill rotWithShape="1">
          <a:blip r:embed="rId10" cstate="print">
            <a:extLst>
              <a:ext uri="{28A0092B-C50C-407E-A947-70E740481C1C}">
                <a14:useLocalDpi xmlns:a14="http://schemas.microsoft.com/office/drawing/2010/main" val="0"/>
              </a:ext>
            </a:extLst>
          </a:blip>
          <a:srcRect l="2661" r="2328"/>
          <a:stretch/>
        </p:blipFill>
        <p:spPr>
          <a:xfrm>
            <a:off x="5130448" y="3807746"/>
            <a:ext cx="2865563" cy="1945488"/>
          </a:xfrm>
          <a:prstGeom prst="roundRect">
            <a:avLst>
              <a:gd name="adj" fmla="val 4167"/>
            </a:avLst>
          </a:prstGeom>
          <a:solidFill>
            <a:srgbClr val="FFFFFF"/>
          </a:solidFill>
          <a:ln w="76200" cap="sq">
            <a:noFill/>
            <a:miter lim="800000"/>
          </a:ln>
          <a:effectLst/>
        </p:spPr>
      </p:pic>
      <p:grpSp>
        <p:nvGrpSpPr>
          <p:cNvPr id="12" name="Groep 11"/>
          <p:cNvGrpSpPr/>
          <p:nvPr/>
        </p:nvGrpSpPr>
        <p:grpSpPr>
          <a:xfrm>
            <a:off x="8121552" y="3828606"/>
            <a:ext cx="2884058" cy="2699953"/>
            <a:chOff x="5950533" y="2871453"/>
            <a:chExt cx="2163043" cy="2024965"/>
          </a:xfrm>
        </p:grpSpPr>
        <p:sp>
          <p:nvSpPr>
            <p:cNvPr id="59" name="Rechthoek 58">
              <a:hlinkClick r:id="rId3" action="ppaction://hlinksldjump"/>
            </p:cNvPr>
            <p:cNvSpPr/>
            <p:nvPr/>
          </p:nvSpPr>
          <p:spPr>
            <a:xfrm>
              <a:off x="5950533" y="2871454"/>
              <a:ext cx="2142107" cy="2024964"/>
            </a:xfrm>
            <a:prstGeom prst="rect">
              <a:avLst/>
            </a:prstGeom>
            <a:noFill/>
            <a:ln>
              <a:noFill/>
            </a:ln>
          </p:spPr>
          <p:style>
            <a:lnRef idx="2">
              <a:schemeClr val="accent1">
                <a:shade val="50000"/>
              </a:schemeClr>
            </a:lnRef>
            <a:fillRef idx="1001">
              <a:schemeClr val="lt1"/>
            </a:fillRef>
            <a:effectRef idx="0">
              <a:schemeClr val="accent1"/>
            </a:effectRef>
            <a:fontRef idx="minor">
              <a:schemeClr val="lt1"/>
            </a:fontRef>
          </p:style>
          <p:txBody>
            <a:bodyPr rtlCol="0" anchor="ctr"/>
            <a:lstStyle/>
            <a:p>
              <a:pPr algn="ctr"/>
              <a:endParaRPr lang="nl-NL" sz="2400"/>
            </a:p>
          </p:txBody>
        </p:sp>
        <p:pic>
          <p:nvPicPr>
            <p:cNvPr id="52" name="Afbeelding 5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973048" y="2871453"/>
              <a:ext cx="2140528" cy="1455988"/>
            </a:xfrm>
            <a:prstGeom prst="roundRect">
              <a:avLst>
                <a:gd name="adj" fmla="val 4167"/>
              </a:avLst>
            </a:prstGeom>
            <a:solidFill>
              <a:srgbClr val="FFFFFF"/>
            </a:solidFill>
            <a:ln w="76200" cap="sq">
              <a:noFill/>
              <a:miter lim="800000"/>
            </a:ln>
            <a:effectLst/>
          </p:spPr>
        </p:pic>
      </p:grpSp>
      <p:pic>
        <p:nvPicPr>
          <p:cNvPr id="51" name="Afbeelding 5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113561" y="3833169"/>
            <a:ext cx="2815219" cy="1932190"/>
          </a:xfrm>
          <a:prstGeom prst="roundRect">
            <a:avLst>
              <a:gd name="adj" fmla="val 4167"/>
            </a:avLst>
          </a:prstGeom>
          <a:solidFill>
            <a:srgbClr val="FFFFFF"/>
          </a:solidFill>
          <a:ln w="76200" cap="sq">
            <a:noFill/>
            <a:miter lim="800000"/>
          </a:ln>
          <a:effectLst/>
        </p:spPr>
      </p:pic>
      <p:pic>
        <p:nvPicPr>
          <p:cNvPr id="53" name="Afbeelding 52">
            <a:extLst>
              <a:ext uri="{FF2B5EF4-FFF2-40B4-BE49-F238E27FC236}">
                <a16:creationId xmlns:a16="http://schemas.microsoft.com/office/drawing/2014/main" id="{A0B46A8D-5F42-4575-A3A7-D92E690CAC7B}"/>
              </a:ext>
            </a:extLst>
          </p:cNvPr>
          <p:cNvPicPr>
            <a:picLocks noChangeAspect="1"/>
          </p:cNvPicPr>
          <p:nvPr/>
        </p:nvPicPr>
        <p:blipFill>
          <a:blip r:embed="rId13" cstate="hqprint">
            <a:extLst>
              <a:ext uri="{28A0092B-C50C-407E-A947-70E740481C1C}">
                <a14:useLocalDpi xmlns:a14="http://schemas.microsoft.com/office/drawing/2010/main" val="0"/>
              </a:ext>
            </a:extLst>
          </a:blip>
          <a:stretch>
            <a:fillRect/>
          </a:stretch>
        </p:blipFill>
        <p:spPr>
          <a:xfrm>
            <a:off x="0" y="0"/>
            <a:ext cx="2063272" cy="1736034"/>
          </a:xfrm>
          <a:prstGeom prst="rect">
            <a:avLst/>
          </a:prstGeom>
        </p:spPr>
      </p:pic>
    </p:spTree>
    <p:extLst>
      <p:ext uri="{BB962C8B-B14F-4D97-AF65-F5344CB8AC3E}">
        <p14:creationId xmlns:p14="http://schemas.microsoft.com/office/powerpoint/2010/main" val="23359728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5" name="Rechthoek 24">
            <a:extLst>
              <a:ext uri="{FF2B5EF4-FFF2-40B4-BE49-F238E27FC236}">
                <a16:creationId xmlns:a16="http://schemas.microsoft.com/office/drawing/2014/main" id="{E71006F1-4611-48F5-B20E-110F620629EC}"/>
              </a:ext>
            </a:extLst>
          </p:cNvPr>
          <p:cNvSpPr/>
          <p:nvPr/>
        </p:nvSpPr>
        <p:spPr>
          <a:xfrm>
            <a:off x="0" y="1598971"/>
            <a:ext cx="12192000" cy="4453959"/>
          </a:xfrm>
          <a:prstGeom prst="rect">
            <a:avLst/>
          </a:prstGeom>
          <a:solidFill>
            <a:srgbClr val="5C2483"/>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5" name="Object 4"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71" name="think-cell Slide" r:id="rId6" imgW="353" imgH="353" progId="TCLayout.ActiveDocument.1">
                  <p:embed/>
                </p:oleObj>
              </mc:Choice>
              <mc:Fallback>
                <p:oleObj name="think-cell Slide" r:id="rId6" imgW="353" imgH="353"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9" name="TextBox 11">
            <a:extLst>
              <a:ext uri="{FF2B5EF4-FFF2-40B4-BE49-F238E27FC236}">
                <a16:creationId xmlns:a16="http://schemas.microsoft.com/office/drawing/2014/main" id="{5E26A374-3A6C-4A2A-BF33-A83E7B76D642}"/>
              </a:ext>
            </a:extLst>
          </p:cNvPr>
          <p:cNvSpPr txBox="1"/>
          <p:nvPr/>
        </p:nvSpPr>
        <p:spPr>
          <a:xfrm>
            <a:off x="530629" y="591778"/>
            <a:ext cx="9231432" cy="646331"/>
          </a:xfrm>
          <a:prstGeom prst="rect">
            <a:avLst/>
          </a:prstGeom>
          <a:noFill/>
        </p:spPr>
        <p:txBody>
          <a:bodyPr wrap="square" rtlCol="0" anchor="b" anchorCtr="0">
            <a:spAutoFit/>
          </a:bodyPr>
          <a:lstStyle/>
          <a:p>
            <a:pPr>
              <a:lnSpc>
                <a:spcPct val="90000"/>
              </a:lnSpc>
              <a:tabLst>
                <a:tab pos="1971675" algn="l"/>
              </a:tabLst>
            </a:pPr>
            <a:r>
              <a:rPr lang="nl-BE" sz="4000" dirty="0">
                <a:solidFill>
                  <a:srgbClr val="5C2483"/>
                </a:solidFill>
                <a:latin typeface="Amaranth" panose="02000503000000020004" pitchFamily="50" charset="0"/>
                <a:cs typeface="Arial" panose="020B0604020202020204" pitchFamily="34" charset="0"/>
              </a:rPr>
              <a:t>Differentiatie – VVE gecertificeerd </a:t>
            </a:r>
          </a:p>
        </p:txBody>
      </p:sp>
      <p:sp>
        <p:nvSpPr>
          <p:cNvPr id="37" name="Tekstvak 36">
            <a:extLst>
              <a:ext uri="{FF2B5EF4-FFF2-40B4-BE49-F238E27FC236}">
                <a16:creationId xmlns:a16="http://schemas.microsoft.com/office/drawing/2014/main" id="{508B5D3E-2013-4F0E-AC0F-4882CDC59721}"/>
              </a:ext>
            </a:extLst>
          </p:cNvPr>
          <p:cNvSpPr txBox="1"/>
          <p:nvPr/>
        </p:nvSpPr>
        <p:spPr>
          <a:xfrm>
            <a:off x="530629" y="2033809"/>
            <a:ext cx="5241136" cy="3477875"/>
          </a:xfrm>
          <a:prstGeom prst="rect">
            <a:avLst/>
          </a:prstGeom>
          <a:noFill/>
        </p:spPr>
        <p:txBody>
          <a:bodyPr wrap="square" rtlCol="0">
            <a:spAutoFit/>
          </a:bodyPr>
          <a:lstStyle/>
          <a:p>
            <a:r>
              <a:rPr lang="nl-NL" sz="2200" dirty="0">
                <a:solidFill>
                  <a:schemeClr val="bg1"/>
                </a:solidFill>
              </a:rPr>
              <a:t>Met daarnaast:</a:t>
            </a:r>
          </a:p>
          <a:p>
            <a:endParaRPr lang="nl-NL" sz="2200" dirty="0">
              <a:solidFill>
                <a:schemeClr val="bg1"/>
              </a:solidFill>
            </a:endParaRPr>
          </a:p>
          <a:p>
            <a:pPr marL="342900" indent="-342900">
              <a:buFont typeface="Arial" panose="020B0604020202020204" pitchFamily="34" charset="0"/>
              <a:buChar char="•"/>
            </a:pPr>
            <a:r>
              <a:rPr lang="nl-NL" sz="2200" dirty="0">
                <a:solidFill>
                  <a:schemeClr val="bg1"/>
                </a:solidFill>
              </a:rPr>
              <a:t>Meer oefening en herhaling door </a:t>
            </a:r>
            <a:r>
              <a:rPr lang="nl-NL" sz="2200" dirty="0" err="1">
                <a:solidFill>
                  <a:schemeClr val="bg1"/>
                </a:solidFill>
              </a:rPr>
              <a:t>preteaching</a:t>
            </a:r>
            <a:r>
              <a:rPr lang="nl-NL" sz="2200" dirty="0">
                <a:solidFill>
                  <a:schemeClr val="bg1"/>
                </a:solidFill>
              </a:rPr>
              <a:t> en verlengde instructie </a:t>
            </a:r>
          </a:p>
          <a:p>
            <a:pPr marL="342900" indent="-342900">
              <a:buFont typeface="Arial" panose="020B0604020202020204" pitchFamily="34" charset="0"/>
              <a:buChar char="•"/>
            </a:pPr>
            <a:endParaRPr lang="nl-NL" sz="2200" dirty="0">
              <a:solidFill>
                <a:schemeClr val="bg1"/>
              </a:solidFill>
            </a:endParaRPr>
          </a:p>
          <a:p>
            <a:pPr marL="342900" indent="-342900">
              <a:buFont typeface="Arial" panose="020B0604020202020204" pitchFamily="34" charset="0"/>
              <a:buChar char="•"/>
            </a:pPr>
            <a:r>
              <a:rPr lang="nl-NL" sz="2200" dirty="0">
                <a:solidFill>
                  <a:schemeClr val="bg1"/>
                </a:solidFill>
              </a:rPr>
              <a:t>Visuele ondersteuning </a:t>
            </a:r>
          </a:p>
          <a:p>
            <a:pPr marL="342900" indent="-342900">
              <a:buFont typeface="Arial" panose="020B0604020202020204" pitchFamily="34" charset="0"/>
              <a:buChar char="•"/>
            </a:pPr>
            <a:endParaRPr lang="nl-NL" sz="2200" dirty="0">
              <a:solidFill>
                <a:schemeClr val="bg1"/>
              </a:solidFill>
            </a:endParaRPr>
          </a:p>
          <a:p>
            <a:pPr marL="342900" indent="-342900">
              <a:buFont typeface="Arial" panose="020B0604020202020204" pitchFamily="34" charset="0"/>
              <a:buChar char="•"/>
            </a:pPr>
            <a:r>
              <a:rPr lang="nl-NL" sz="2200" dirty="0">
                <a:solidFill>
                  <a:schemeClr val="bg1"/>
                </a:solidFill>
              </a:rPr>
              <a:t>Mogelijkheden tot interactie </a:t>
            </a:r>
          </a:p>
          <a:p>
            <a:pPr marL="342900" indent="-342900">
              <a:buFont typeface="Arial" panose="020B0604020202020204" pitchFamily="34" charset="0"/>
              <a:buChar char="•"/>
            </a:pPr>
            <a:endParaRPr lang="nl-NL" sz="2200" dirty="0">
              <a:solidFill>
                <a:schemeClr val="bg1"/>
              </a:solidFill>
            </a:endParaRPr>
          </a:p>
          <a:p>
            <a:pPr marL="342900" indent="-342900">
              <a:buFont typeface="Arial" panose="020B0604020202020204" pitchFamily="34" charset="0"/>
              <a:buChar char="•"/>
            </a:pPr>
            <a:r>
              <a:rPr lang="nl-NL" sz="2200" dirty="0">
                <a:solidFill>
                  <a:schemeClr val="bg1"/>
                </a:solidFill>
              </a:rPr>
              <a:t>Ouderbetrokkenheid </a:t>
            </a:r>
          </a:p>
        </p:txBody>
      </p:sp>
      <p:pic>
        <p:nvPicPr>
          <p:cNvPr id="38" name="Afbeelding 37">
            <a:extLst>
              <a:ext uri="{FF2B5EF4-FFF2-40B4-BE49-F238E27FC236}">
                <a16:creationId xmlns:a16="http://schemas.microsoft.com/office/drawing/2014/main" id="{3276AE40-C2BF-4F40-8049-9DD12660ABA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445485" y="2037261"/>
            <a:ext cx="4015628" cy="2479208"/>
          </a:xfrm>
          <a:prstGeom prst="rect">
            <a:avLst/>
          </a:prstGeom>
        </p:spPr>
      </p:pic>
      <p:pic>
        <p:nvPicPr>
          <p:cNvPr id="39" name="Afbeelding 38">
            <a:extLst>
              <a:ext uri="{FF2B5EF4-FFF2-40B4-BE49-F238E27FC236}">
                <a16:creationId xmlns:a16="http://schemas.microsoft.com/office/drawing/2014/main" id="{77025ED8-22E4-43D1-875A-3559C4AFBF85}"/>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6645" t="5635" r="6168" b="7565"/>
          <a:stretch/>
        </p:blipFill>
        <p:spPr>
          <a:xfrm>
            <a:off x="9878003" y="2020222"/>
            <a:ext cx="1704704" cy="1697136"/>
          </a:xfrm>
          <a:prstGeom prst="rect">
            <a:avLst/>
          </a:prstGeom>
          <a:ln>
            <a:solidFill>
              <a:schemeClr val="bg1">
                <a:lumMod val="85000"/>
              </a:schemeClr>
            </a:solidFill>
          </a:ln>
        </p:spPr>
      </p:pic>
      <p:pic>
        <p:nvPicPr>
          <p:cNvPr id="40" name="Afbeelding 39">
            <a:extLst>
              <a:ext uri="{FF2B5EF4-FFF2-40B4-BE49-F238E27FC236}">
                <a16:creationId xmlns:a16="http://schemas.microsoft.com/office/drawing/2014/main" id="{62AF9AE4-8A2F-4E40-8958-1C743DD13570}"/>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7709" t="8001" r="7161" b="6600"/>
          <a:stretch/>
        </p:blipFill>
        <p:spPr>
          <a:xfrm>
            <a:off x="9890925" y="3897789"/>
            <a:ext cx="1691782" cy="1697136"/>
          </a:xfrm>
          <a:prstGeom prst="rect">
            <a:avLst/>
          </a:prstGeom>
          <a:ln>
            <a:solidFill>
              <a:schemeClr val="bg1">
                <a:lumMod val="85000"/>
              </a:schemeClr>
            </a:solidFill>
          </a:ln>
        </p:spPr>
      </p:pic>
      <p:sp>
        <p:nvSpPr>
          <p:cNvPr id="42" name="Rechthoek 12">
            <a:extLst>
              <a:ext uri="{FF2B5EF4-FFF2-40B4-BE49-F238E27FC236}">
                <a16:creationId xmlns:a16="http://schemas.microsoft.com/office/drawing/2014/main" id="{C7B2D765-F524-45F4-A33D-5CC852C45880}"/>
              </a:ext>
            </a:extLst>
          </p:cNvPr>
          <p:cNvSpPr/>
          <p:nvPr/>
        </p:nvSpPr>
        <p:spPr>
          <a:xfrm>
            <a:off x="4364073" y="4487503"/>
            <a:ext cx="3232274" cy="320071"/>
          </a:xfrm>
          <a:prstGeom prst="rect">
            <a:avLst/>
          </a:prstGeom>
        </p:spPr>
        <p:txBody>
          <a:bodyPr wrap="square" lIns="91424" tIns="45712" rIns="91424" bIns="45712">
            <a:spAutoFit/>
          </a:bodyPr>
          <a:lstStyle/>
          <a:p>
            <a:pPr algn="ctr" fontAlgn="ctr">
              <a:lnSpc>
                <a:spcPct val="90000"/>
              </a:lnSpc>
            </a:pPr>
            <a:r>
              <a:rPr lang="nl-BE" sz="1600" dirty="0" err="1">
                <a:solidFill>
                  <a:schemeClr val="bg1"/>
                </a:solidFill>
                <a:cs typeface="Arial" panose="020B0604020202020204" pitchFamily="34" charset="0"/>
              </a:rPr>
              <a:t>Preteaching</a:t>
            </a:r>
            <a:endParaRPr lang="nl-BE" sz="1600" dirty="0">
              <a:solidFill>
                <a:schemeClr val="bg1"/>
              </a:solidFill>
              <a:cs typeface="Arial" panose="020B0604020202020204" pitchFamily="34" charset="0"/>
            </a:endParaRPr>
          </a:p>
        </p:txBody>
      </p:sp>
      <p:sp>
        <p:nvSpPr>
          <p:cNvPr id="43" name="Rechthoek 12">
            <a:extLst>
              <a:ext uri="{FF2B5EF4-FFF2-40B4-BE49-F238E27FC236}">
                <a16:creationId xmlns:a16="http://schemas.microsoft.com/office/drawing/2014/main" id="{0DBEE95B-89AA-4094-B3CC-E5DB6197EF7F}"/>
              </a:ext>
            </a:extLst>
          </p:cNvPr>
          <p:cNvSpPr/>
          <p:nvPr/>
        </p:nvSpPr>
        <p:spPr>
          <a:xfrm>
            <a:off x="9971633" y="5594925"/>
            <a:ext cx="1530365" cy="320071"/>
          </a:xfrm>
          <a:prstGeom prst="rect">
            <a:avLst/>
          </a:prstGeom>
        </p:spPr>
        <p:txBody>
          <a:bodyPr wrap="square" lIns="91424" tIns="45712" rIns="91424" bIns="45712">
            <a:spAutoFit/>
          </a:bodyPr>
          <a:lstStyle/>
          <a:p>
            <a:pPr algn="ctr" fontAlgn="ctr">
              <a:lnSpc>
                <a:spcPct val="90000"/>
              </a:lnSpc>
            </a:pPr>
            <a:r>
              <a:rPr lang="nl-BE" sz="1600" dirty="0">
                <a:solidFill>
                  <a:schemeClr val="bg1"/>
                </a:solidFill>
                <a:cs typeface="Arial" panose="020B0604020202020204" pitchFamily="34" charset="0"/>
              </a:rPr>
              <a:t>woordkaarten</a:t>
            </a:r>
          </a:p>
        </p:txBody>
      </p:sp>
      <p:pic>
        <p:nvPicPr>
          <p:cNvPr id="14" name="Afbeelding 13">
            <a:extLst>
              <a:ext uri="{FF2B5EF4-FFF2-40B4-BE49-F238E27FC236}">
                <a16:creationId xmlns:a16="http://schemas.microsoft.com/office/drawing/2014/main" id="{3BC666F9-46EB-40CD-AE16-E86FEAACD8E4}"/>
              </a:ext>
            </a:extLst>
          </p:cNvPr>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11241707" y="6052930"/>
            <a:ext cx="661508" cy="556592"/>
          </a:xfrm>
          <a:prstGeom prst="rect">
            <a:avLst/>
          </a:prstGeom>
        </p:spPr>
      </p:pic>
      <p:sp>
        <p:nvSpPr>
          <p:cNvPr id="15" name="Freeform 41">
            <a:extLst>
              <a:ext uri="{FF2B5EF4-FFF2-40B4-BE49-F238E27FC236}">
                <a16:creationId xmlns:a16="http://schemas.microsoft.com/office/drawing/2014/main" id="{92AA3818-8ED3-4FAB-8300-049B47E41A65}"/>
              </a:ext>
            </a:extLst>
          </p:cNvPr>
          <p:cNvSpPr/>
          <p:nvPr/>
        </p:nvSpPr>
        <p:spPr>
          <a:xfrm rot="845560">
            <a:off x="9576400" y="404873"/>
            <a:ext cx="2794225" cy="997712"/>
          </a:xfrm>
          <a:custGeom>
            <a:avLst/>
            <a:gdLst>
              <a:gd name="connsiteX0" fmla="*/ 45720 w 1267097"/>
              <a:gd name="connsiteY0" fmla="*/ 378823 h 378823"/>
              <a:gd name="connsiteX1" fmla="*/ 1267097 w 1267097"/>
              <a:gd name="connsiteY1" fmla="*/ 182880 h 378823"/>
              <a:gd name="connsiteX2" fmla="*/ 1267097 w 1267097"/>
              <a:gd name="connsiteY2" fmla="*/ 0 h 378823"/>
              <a:gd name="connsiteX3" fmla="*/ 0 w 1267097"/>
              <a:gd name="connsiteY3" fmla="*/ 189412 h 378823"/>
              <a:gd name="connsiteX4" fmla="*/ 45720 w 1267097"/>
              <a:gd name="connsiteY4" fmla="*/ 378823 h 378823"/>
              <a:gd name="connsiteX0" fmla="*/ 71845 w 1293222"/>
              <a:gd name="connsiteY0" fmla="*/ 378823 h 378823"/>
              <a:gd name="connsiteX1" fmla="*/ 1293222 w 1293222"/>
              <a:gd name="connsiteY1" fmla="*/ 182880 h 378823"/>
              <a:gd name="connsiteX2" fmla="*/ 1293222 w 1293222"/>
              <a:gd name="connsiteY2" fmla="*/ 0 h 378823"/>
              <a:gd name="connsiteX3" fmla="*/ 0 w 1293222"/>
              <a:gd name="connsiteY3" fmla="*/ 130629 h 378823"/>
              <a:gd name="connsiteX4" fmla="*/ 71845 w 1293222"/>
              <a:gd name="connsiteY4" fmla="*/ 378823 h 378823"/>
              <a:gd name="connsiteX0" fmla="*/ 65313 w 1293222"/>
              <a:gd name="connsiteY0" fmla="*/ 398417 h 398417"/>
              <a:gd name="connsiteX1" fmla="*/ 1293222 w 1293222"/>
              <a:gd name="connsiteY1" fmla="*/ 182880 h 398417"/>
              <a:gd name="connsiteX2" fmla="*/ 1293222 w 1293222"/>
              <a:gd name="connsiteY2" fmla="*/ 0 h 398417"/>
              <a:gd name="connsiteX3" fmla="*/ 0 w 1293222"/>
              <a:gd name="connsiteY3" fmla="*/ 130629 h 398417"/>
              <a:gd name="connsiteX4" fmla="*/ 65313 w 1293222"/>
              <a:gd name="connsiteY4" fmla="*/ 398417 h 398417"/>
              <a:gd name="connsiteX0" fmla="*/ 104663 w 1332572"/>
              <a:gd name="connsiteY0" fmla="*/ 488407 h 488407"/>
              <a:gd name="connsiteX1" fmla="*/ 1332572 w 1332572"/>
              <a:gd name="connsiteY1" fmla="*/ 272870 h 488407"/>
              <a:gd name="connsiteX2" fmla="*/ 1332572 w 1332572"/>
              <a:gd name="connsiteY2" fmla="*/ 89990 h 488407"/>
              <a:gd name="connsiteX3" fmla="*/ 0 w 1332572"/>
              <a:gd name="connsiteY3" fmla="*/ 0 h 488407"/>
              <a:gd name="connsiteX4" fmla="*/ 104663 w 1332572"/>
              <a:gd name="connsiteY4" fmla="*/ 488407 h 488407"/>
              <a:gd name="connsiteX0" fmla="*/ 58754 w 1286663"/>
              <a:gd name="connsiteY0" fmla="*/ 488407 h 488407"/>
              <a:gd name="connsiteX1" fmla="*/ 1286663 w 1286663"/>
              <a:gd name="connsiteY1" fmla="*/ 272870 h 488407"/>
              <a:gd name="connsiteX2" fmla="*/ 1286663 w 1286663"/>
              <a:gd name="connsiteY2" fmla="*/ 89990 h 488407"/>
              <a:gd name="connsiteX3" fmla="*/ 0 w 1286663"/>
              <a:gd name="connsiteY3" fmla="*/ 0 h 488407"/>
              <a:gd name="connsiteX4" fmla="*/ 58754 w 1286663"/>
              <a:gd name="connsiteY4" fmla="*/ 488407 h 488407"/>
              <a:gd name="connsiteX0" fmla="*/ 58754 w 1293221"/>
              <a:gd name="connsiteY0" fmla="*/ 574912 h 574912"/>
              <a:gd name="connsiteX1" fmla="*/ 1286663 w 1293221"/>
              <a:gd name="connsiteY1" fmla="*/ 359375 h 574912"/>
              <a:gd name="connsiteX2" fmla="*/ 1293221 w 1293221"/>
              <a:gd name="connsiteY2" fmla="*/ 0 h 574912"/>
              <a:gd name="connsiteX3" fmla="*/ 0 w 1293221"/>
              <a:gd name="connsiteY3" fmla="*/ 86505 h 574912"/>
              <a:gd name="connsiteX4" fmla="*/ 58754 w 1293221"/>
              <a:gd name="connsiteY4" fmla="*/ 574912 h 574912"/>
              <a:gd name="connsiteX0" fmla="*/ 58754 w 1470298"/>
              <a:gd name="connsiteY0" fmla="*/ 574912 h 574912"/>
              <a:gd name="connsiteX1" fmla="*/ 1470298 w 1470298"/>
              <a:gd name="connsiteY1" fmla="*/ 561083 h 574912"/>
              <a:gd name="connsiteX2" fmla="*/ 1293221 w 1470298"/>
              <a:gd name="connsiteY2" fmla="*/ 0 h 574912"/>
              <a:gd name="connsiteX3" fmla="*/ 0 w 1470298"/>
              <a:gd name="connsiteY3" fmla="*/ 86505 h 574912"/>
              <a:gd name="connsiteX4" fmla="*/ 58754 w 1470298"/>
              <a:gd name="connsiteY4" fmla="*/ 574912 h 574912"/>
              <a:gd name="connsiteX0" fmla="*/ 65313 w 1470298"/>
              <a:gd name="connsiteY0" fmla="*/ 795531 h 795531"/>
              <a:gd name="connsiteX1" fmla="*/ 1470298 w 1470298"/>
              <a:gd name="connsiteY1" fmla="*/ 561083 h 795531"/>
              <a:gd name="connsiteX2" fmla="*/ 1293221 w 1470298"/>
              <a:gd name="connsiteY2" fmla="*/ 0 h 795531"/>
              <a:gd name="connsiteX3" fmla="*/ 0 w 1470298"/>
              <a:gd name="connsiteY3" fmla="*/ 86505 h 795531"/>
              <a:gd name="connsiteX4" fmla="*/ 65313 w 1470298"/>
              <a:gd name="connsiteY4" fmla="*/ 795531 h 795531"/>
              <a:gd name="connsiteX0" fmla="*/ 65313 w 1844126"/>
              <a:gd name="connsiteY0" fmla="*/ 795531 h 795531"/>
              <a:gd name="connsiteX1" fmla="*/ 1844126 w 1844126"/>
              <a:gd name="connsiteY1" fmla="*/ 504352 h 795531"/>
              <a:gd name="connsiteX2" fmla="*/ 1293221 w 1844126"/>
              <a:gd name="connsiteY2" fmla="*/ 0 h 795531"/>
              <a:gd name="connsiteX3" fmla="*/ 0 w 1844126"/>
              <a:gd name="connsiteY3" fmla="*/ 86505 h 795531"/>
              <a:gd name="connsiteX4" fmla="*/ 65313 w 1844126"/>
              <a:gd name="connsiteY4" fmla="*/ 795531 h 795531"/>
              <a:gd name="connsiteX0" fmla="*/ 65313 w 1844126"/>
              <a:gd name="connsiteY0" fmla="*/ 845958 h 845958"/>
              <a:gd name="connsiteX1" fmla="*/ 1844126 w 1844126"/>
              <a:gd name="connsiteY1" fmla="*/ 554779 h 845958"/>
              <a:gd name="connsiteX2" fmla="*/ 1621141 w 1844126"/>
              <a:gd name="connsiteY2" fmla="*/ 0 h 845958"/>
              <a:gd name="connsiteX3" fmla="*/ 0 w 1844126"/>
              <a:gd name="connsiteY3" fmla="*/ 136932 h 845958"/>
              <a:gd name="connsiteX4" fmla="*/ 65313 w 1844126"/>
              <a:gd name="connsiteY4" fmla="*/ 845958 h 845958"/>
              <a:gd name="connsiteX0" fmla="*/ 65313 w 1844126"/>
              <a:gd name="connsiteY0" fmla="*/ 864868 h 864868"/>
              <a:gd name="connsiteX1" fmla="*/ 1844126 w 1844126"/>
              <a:gd name="connsiteY1" fmla="*/ 573689 h 864868"/>
              <a:gd name="connsiteX2" fmla="*/ 1621141 w 1844126"/>
              <a:gd name="connsiteY2" fmla="*/ 0 h 864868"/>
              <a:gd name="connsiteX3" fmla="*/ 0 w 1844126"/>
              <a:gd name="connsiteY3" fmla="*/ 155842 h 864868"/>
              <a:gd name="connsiteX4" fmla="*/ 65313 w 1844126"/>
              <a:gd name="connsiteY4" fmla="*/ 864868 h 864868"/>
              <a:gd name="connsiteX0" fmla="*/ 65313 w 1686724"/>
              <a:gd name="connsiteY0" fmla="*/ 864868 h 864868"/>
              <a:gd name="connsiteX1" fmla="*/ 1686724 w 1686724"/>
              <a:gd name="connsiteY1" fmla="*/ 561082 h 864868"/>
              <a:gd name="connsiteX2" fmla="*/ 1621141 w 1686724"/>
              <a:gd name="connsiteY2" fmla="*/ 0 h 864868"/>
              <a:gd name="connsiteX3" fmla="*/ 0 w 1686724"/>
              <a:gd name="connsiteY3" fmla="*/ 155842 h 864868"/>
              <a:gd name="connsiteX4" fmla="*/ 65313 w 1686724"/>
              <a:gd name="connsiteY4" fmla="*/ 864868 h 864868"/>
              <a:gd name="connsiteX0" fmla="*/ 39079 w 1660490"/>
              <a:gd name="connsiteY0" fmla="*/ 864868 h 864868"/>
              <a:gd name="connsiteX1" fmla="*/ 1660490 w 1660490"/>
              <a:gd name="connsiteY1" fmla="*/ 561082 h 864868"/>
              <a:gd name="connsiteX2" fmla="*/ 1594907 w 1660490"/>
              <a:gd name="connsiteY2" fmla="*/ 0 h 864868"/>
              <a:gd name="connsiteX3" fmla="*/ 0 w 1660490"/>
              <a:gd name="connsiteY3" fmla="*/ 351248 h 864868"/>
              <a:gd name="connsiteX4" fmla="*/ 39079 w 1660490"/>
              <a:gd name="connsiteY4" fmla="*/ 864868 h 864868"/>
              <a:gd name="connsiteX0" fmla="*/ 39079 w 1857243"/>
              <a:gd name="connsiteY0" fmla="*/ 719889 h 719889"/>
              <a:gd name="connsiteX1" fmla="*/ 1660490 w 1857243"/>
              <a:gd name="connsiteY1" fmla="*/ 416103 h 719889"/>
              <a:gd name="connsiteX2" fmla="*/ 1857243 w 1857243"/>
              <a:gd name="connsiteY2" fmla="*/ 0 h 719889"/>
              <a:gd name="connsiteX3" fmla="*/ 0 w 1857243"/>
              <a:gd name="connsiteY3" fmla="*/ 206269 h 719889"/>
              <a:gd name="connsiteX4" fmla="*/ 39079 w 1857243"/>
              <a:gd name="connsiteY4" fmla="*/ 719889 h 719889"/>
              <a:gd name="connsiteX0" fmla="*/ 39079 w 1909709"/>
              <a:gd name="connsiteY0" fmla="*/ 719889 h 719889"/>
              <a:gd name="connsiteX1" fmla="*/ 1909709 w 1909709"/>
              <a:gd name="connsiteY1" fmla="*/ 208090 h 719889"/>
              <a:gd name="connsiteX2" fmla="*/ 1857243 w 1909709"/>
              <a:gd name="connsiteY2" fmla="*/ 0 h 719889"/>
              <a:gd name="connsiteX3" fmla="*/ 0 w 1909709"/>
              <a:gd name="connsiteY3" fmla="*/ 206269 h 719889"/>
              <a:gd name="connsiteX4" fmla="*/ 39079 w 1909709"/>
              <a:gd name="connsiteY4" fmla="*/ 719889 h 719889"/>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206269 h 511876"/>
              <a:gd name="connsiteX4" fmla="*/ 39079 w 1909709"/>
              <a:gd name="connsiteY4" fmla="*/ 511876 h 511876"/>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121173 h 511876"/>
              <a:gd name="connsiteX4" fmla="*/ 39079 w 1909709"/>
              <a:gd name="connsiteY4" fmla="*/ 511876 h 511876"/>
              <a:gd name="connsiteX0" fmla="*/ 39079 w 1857243"/>
              <a:gd name="connsiteY0" fmla="*/ 511876 h 511876"/>
              <a:gd name="connsiteX1" fmla="*/ 1748372 w 1857243"/>
              <a:gd name="connsiteY1" fmla="*/ 309201 h 511876"/>
              <a:gd name="connsiteX2" fmla="*/ 1857243 w 1857243"/>
              <a:gd name="connsiteY2" fmla="*/ 0 h 511876"/>
              <a:gd name="connsiteX3" fmla="*/ 0 w 1857243"/>
              <a:gd name="connsiteY3" fmla="*/ 121173 h 511876"/>
              <a:gd name="connsiteX4" fmla="*/ 39079 w 1857243"/>
              <a:gd name="connsiteY4" fmla="*/ 511876 h 511876"/>
              <a:gd name="connsiteX0" fmla="*/ 39079 w 1748372"/>
              <a:gd name="connsiteY0" fmla="*/ 499237 h 499237"/>
              <a:gd name="connsiteX1" fmla="*/ 1748372 w 1748372"/>
              <a:gd name="connsiteY1" fmla="*/ 296562 h 499237"/>
              <a:gd name="connsiteX2" fmla="*/ 1723965 w 1748372"/>
              <a:gd name="connsiteY2" fmla="*/ 0 h 499237"/>
              <a:gd name="connsiteX3" fmla="*/ 0 w 1748372"/>
              <a:gd name="connsiteY3" fmla="*/ 108534 h 499237"/>
              <a:gd name="connsiteX4" fmla="*/ 39079 w 1748372"/>
              <a:gd name="connsiteY4" fmla="*/ 499237 h 499237"/>
              <a:gd name="connsiteX0" fmla="*/ 95196 w 1748372"/>
              <a:gd name="connsiteY0" fmla="*/ 451841 h 451841"/>
              <a:gd name="connsiteX1" fmla="*/ 1748372 w 1748372"/>
              <a:gd name="connsiteY1" fmla="*/ 296562 h 451841"/>
              <a:gd name="connsiteX2" fmla="*/ 1723965 w 1748372"/>
              <a:gd name="connsiteY2" fmla="*/ 0 h 451841"/>
              <a:gd name="connsiteX3" fmla="*/ 0 w 1748372"/>
              <a:gd name="connsiteY3" fmla="*/ 108534 h 451841"/>
              <a:gd name="connsiteX4" fmla="*/ 95196 w 1748372"/>
              <a:gd name="connsiteY4" fmla="*/ 451841 h 451841"/>
              <a:gd name="connsiteX0" fmla="*/ 95196 w 1723965"/>
              <a:gd name="connsiteY0" fmla="*/ 451841 h 451841"/>
              <a:gd name="connsiteX1" fmla="*/ 1713299 w 1723965"/>
              <a:gd name="connsiteY1" fmla="*/ 315520 h 451841"/>
              <a:gd name="connsiteX2" fmla="*/ 1723965 w 1723965"/>
              <a:gd name="connsiteY2" fmla="*/ 0 h 451841"/>
              <a:gd name="connsiteX3" fmla="*/ 0 w 1723965"/>
              <a:gd name="connsiteY3" fmla="*/ 108534 h 451841"/>
              <a:gd name="connsiteX4" fmla="*/ 95196 w 1723965"/>
              <a:gd name="connsiteY4" fmla="*/ 451841 h 451841"/>
              <a:gd name="connsiteX0" fmla="*/ 95196 w 1713299"/>
              <a:gd name="connsiteY0" fmla="*/ 455001 h 455001"/>
              <a:gd name="connsiteX1" fmla="*/ 1713299 w 1713299"/>
              <a:gd name="connsiteY1" fmla="*/ 318680 h 455001"/>
              <a:gd name="connsiteX2" fmla="*/ 1667848 w 1713299"/>
              <a:gd name="connsiteY2" fmla="*/ 0 h 455001"/>
              <a:gd name="connsiteX3" fmla="*/ 0 w 1713299"/>
              <a:gd name="connsiteY3" fmla="*/ 111694 h 455001"/>
              <a:gd name="connsiteX4" fmla="*/ 95196 w 1713299"/>
              <a:gd name="connsiteY4" fmla="*/ 455001 h 455001"/>
              <a:gd name="connsiteX0" fmla="*/ 67137 w 1685240"/>
              <a:gd name="connsiteY0" fmla="*/ 455001 h 455001"/>
              <a:gd name="connsiteX1" fmla="*/ 1685240 w 1685240"/>
              <a:gd name="connsiteY1" fmla="*/ 318680 h 455001"/>
              <a:gd name="connsiteX2" fmla="*/ 1639789 w 1685240"/>
              <a:gd name="connsiteY2" fmla="*/ 0 h 455001"/>
              <a:gd name="connsiteX3" fmla="*/ 0 w 1685240"/>
              <a:gd name="connsiteY3" fmla="*/ 130652 h 455001"/>
              <a:gd name="connsiteX4" fmla="*/ 67137 w 1685240"/>
              <a:gd name="connsiteY4" fmla="*/ 455001 h 455001"/>
              <a:gd name="connsiteX0" fmla="*/ 67137 w 1667473"/>
              <a:gd name="connsiteY0" fmla="*/ 455001 h 455001"/>
              <a:gd name="connsiteX1" fmla="*/ 1667473 w 1667473"/>
              <a:gd name="connsiteY1" fmla="*/ 242054 h 455001"/>
              <a:gd name="connsiteX2" fmla="*/ 1639789 w 1667473"/>
              <a:gd name="connsiteY2" fmla="*/ 0 h 455001"/>
              <a:gd name="connsiteX3" fmla="*/ 0 w 1667473"/>
              <a:gd name="connsiteY3" fmla="*/ 130652 h 455001"/>
              <a:gd name="connsiteX4" fmla="*/ 67137 w 1667473"/>
              <a:gd name="connsiteY4" fmla="*/ 455001 h 455001"/>
              <a:gd name="connsiteX0" fmla="*/ 100217 w 1700553"/>
              <a:gd name="connsiteY0" fmla="*/ 455001 h 455001"/>
              <a:gd name="connsiteX1" fmla="*/ 1700553 w 1700553"/>
              <a:gd name="connsiteY1" fmla="*/ 242054 h 455001"/>
              <a:gd name="connsiteX2" fmla="*/ 1672869 w 1700553"/>
              <a:gd name="connsiteY2" fmla="*/ 0 h 455001"/>
              <a:gd name="connsiteX3" fmla="*/ 0 w 1700553"/>
              <a:gd name="connsiteY3" fmla="*/ 205540 h 455001"/>
              <a:gd name="connsiteX4" fmla="*/ 100217 w 1700553"/>
              <a:gd name="connsiteY4" fmla="*/ 455001 h 455001"/>
              <a:gd name="connsiteX0" fmla="*/ 100217 w 1700553"/>
              <a:gd name="connsiteY0" fmla="*/ 366878 h 366878"/>
              <a:gd name="connsiteX1" fmla="*/ 1700553 w 1700553"/>
              <a:gd name="connsiteY1" fmla="*/ 153931 h 366878"/>
              <a:gd name="connsiteX2" fmla="*/ 1588975 w 1700553"/>
              <a:gd name="connsiteY2" fmla="*/ 0 h 366878"/>
              <a:gd name="connsiteX3" fmla="*/ 0 w 1700553"/>
              <a:gd name="connsiteY3" fmla="*/ 117417 h 366878"/>
              <a:gd name="connsiteX4" fmla="*/ 100217 w 1700553"/>
              <a:gd name="connsiteY4" fmla="*/ 366878 h 366878"/>
              <a:gd name="connsiteX0" fmla="*/ 115726 w 1700553"/>
              <a:gd name="connsiteY0" fmla="*/ 305211 h 305211"/>
              <a:gd name="connsiteX1" fmla="*/ 1700553 w 1700553"/>
              <a:gd name="connsiteY1" fmla="*/ 153931 h 305211"/>
              <a:gd name="connsiteX2" fmla="*/ 1588975 w 1700553"/>
              <a:gd name="connsiteY2" fmla="*/ 0 h 305211"/>
              <a:gd name="connsiteX3" fmla="*/ 0 w 1700553"/>
              <a:gd name="connsiteY3" fmla="*/ 117417 h 305211"/>
              <a:gd name="connsiteX4" fmla="*/ 115726 w 1700553"/>
              <a:gd name="connsiteY4" fmla="*/ 305211 h 305211"/>
              <a:gd name="connsiteX0" fmla="*/ 115726 w 1700553"/>
              <a:gd name="connsiteY0" fmla="*/ 321895 h 321895"/>
              <a:gd name="connsiteX1" fmla="*/ 1700553 w 1700553"/>
              <a:gd name="connsiteY1" fmla="*/ 170615 h 321895"/>
              <a:gd name="connsiteX2" fmla="*/ 1471607 w 1700553"/>
              <a:gd name="connsiteY2" fmla="*/ 0 h 321895"/>
              <a:gd name="connsiteX3" fmla="*/ 0 w 1700553"/>
              <a:gd name="connsiteY3" fmla="*/ 134101 h 321895"/>
              <a:gd name="connsiteX4" fmla="*/ 115726 w 1700553"/>
              <a:gd name="connsiteY4" fmla="*/ 321895 h 321895"/>
              <a:gd name="connsiteX0" fmla="*/ 115726 w 1581352"/>
              <a:gd name="connsiteY0" fmla="*/ 321895 h 321895"/>
              <a:gd name="connsiteX1" fmla="*/ 1581352 w 1581352"/>
              <a:gd name="connsiteY1" fmla="*/ 210307 h 321895"/>
              <a:gd name="connsiteX2" fmla="*/ 1471607 w 1581352"/>
              <a:gd name="connsiteY2" fmla="*/ 0 h 321895"/>
              <a:gd name="connsiteX3" fmla="*/ 0 w 1581352"/>
              <a:gd name="connsiteY3" fmla="*/ 134101 h 321895"/>
              <a:gd name="connsiteX4" fmla="*/ 115726 w 1581352"/>
              <a:gd name="connsiteY4" fmla="*/ 321895 h 321895"/>
              <a:gd name="connsiteX0" fmla="*/ 92298 w 1557924"/>
              <a:gd name="connsiteY0" fmla="*/ 321895 h 321895"/>
              <a:gd name="connsiteX1" fmla="*/ 1557924 w 1557924"/>
              <a:gd name="connsiteY1" fmla="*/ 210307 h 321895"/>
              <a:gd name="connsiteX2" fmla="*/ 1448179 w 1557924"/>
              <a:gd name="connsiteY2" fmla="*/ 0 h 321895"/>
              <a:gd name="connsiteX3" fmla="*/ 0 w 1557924"/>
              <a:gd name="connsiteY3" fmla="*/ 116473 h 321895"/>
              <a:gd name="connsiteX4" fmla="*/ 92298 w 1557924"/>
              <a:gd name="connsiteY4" fmla="*/ 321895 h 321895"/>
              <a:gd name="connsiteX0" fmla="*/ 152961 w 1557924"/>
              <a:gd name="connsiteY0" fmla="*/ 341247 h 341247"/>
              <a:gd name="connsiteX1" fmla="*/ 1557924 w 1557924"/>
              <a:gd name="connsiteY1" fmla="*/ 210307 h 341247"/>
              <a:gd name="connsiteX2" fmla="*/ 1448179 w 1557924"/>
              <a:gd name="connsiteY2" fmla="*/ 0 h 341247"/>
              <a:gd name="connsiteX3" fmla="*/ 0 w 1557924"/>
              <a:gd name="connsiteY3" fmla="*/ 116473 h 341247"/>
              <a:gd name="connsiteX4" fmla="*/ 152961 w 1557924"/>
              <a:gd name="connsiteY4" fmla="*/ 341247 h 341247"/>
              <a:gd name="connsiteX0" fmla="*/ 135357 w 1557924"/>
              <a:gd name="connsiteY0" fmla="*/ 339493 h 339493"/>
              <a:gd name="connsiteX1" fmla="*/ 1557924 w 1557924"/>
              <a:gd name="connsiteY1" fmla="*/ 210307 h 339493"/>
              <a:gd name="connsiteX2" fmla="*/ 1448179 w 1557924"/>
              <a:gd name="connsiteY2" fmla="*/ 0 h 339493"/>
              <a:gd name="connsiteX3" fmla="*/ 0 w 1557924"/>
              <a:gd name="connsiteY3" fmla="*/ 116473 h 339493"/>
              <a:gd name="connsiteX4" fmla="*/ 135357 w 1557924"/>
              <a:gd name="connsiteY4" fmla="*/ 339493 h 339493"/>
              <a:gd name="connsiteX0" fmla="*/ 109934 w 1532501"/>
              <a:gd name="connsiteY0" fmla="*/ 339493 h 339493"/>
              <a:gd name="connsiteX1" fmla="*/ 1532501 w 1532501"/>
              <a:gd name="connsiteY1" fmla="*/ 210307 h 339493"/>
              <a:gd name="connsiteX2" fmla="*/ 1422756 w 1532501"/>
              <a:gd name="connsiteY2" fmla="*/ 0 h 339493"/>
              <a:gd name="connsiteX3" fmla="*/ 0 w 1532501"/>
              <a:gd name="connsiteY3" fmla="*/ 117343 h 339493"/>
              <a:gd name="connsiteX4" fmla="*/ 109934 w 1532501"/>
              <a:gd name="connsiteY4" fmla="*/ 339493 h 339493"/>
              <a:gd name="connsiteX0" fmla="*/ 133525 w 1556092"/>
              <a:gd name="connsiteY0" fmla="*/ 339493 h 339493"/>
              <a:gd name="connsiteX1" fmla="*/ 1556092 w 1556092"/>
              <a:gd name="connsiteY1" fmla="*/ 210307 h 339493"/>
              <a:gd name="connsiteX2" fmla="*/ 1446347 w 1556092"/>
              <a:gd name="connsiteY2" fmla="*/ 0 h 339493"/>
              <a:gd name="connsiteX3" fmla="*/ 0 w 1556092"/>
              <a:gd name="connsiteY3" fmla="*/ 60098 h 339493"/>
              <a:gd name="connsiteX4" fmla="*/ 133525 w 1556092"/>
              <a:gd name="connsiteY4" fmla="*/ 339493 h 339493"/>
              <a:gd name="connsiteX0" fmla="*/ 133525 w 2343667"/>
              <a:gd name="connsiteY0" fmla="*/ 459688 h 459688"/>
              <a:gd name="connsiteX1" fmla="*/ 1556092 w 2343667"/>
              <a:gd name="connsiteY1" fmla="*/ 330502 h 459688"/>
              <a:gd name="connsiteX2" fmla="*/ 2343667 w 2343667"/>
              <a:gd name="connsiteY2" fmla="*/ 0 h 459688"/>
              <a:gd name="connsiteX3" fmla="*/ 0 w 2343667"/>
              <a:gd name="connsiteY3" fmla="*/ 180293 h 459688"/>
              <a:gd name="connsiteX4" fmla="*/ 133525 w 2343667"/>
              <a:gd name="connsiteY4" fmla="*/ 459688 h 459688"/>
              <a:gd name="connsiteX0" fmla="*/ 133525 w 2391079"/>
              <a:gd name="connsiteY0" fmla="*/ 459688 h 459688"/>
              <a:gd name="connsiteX1" fmla="*/ 2391079 w 2391079"/>
              <a:gd name="connsiteY1" fmla="*/ 322204 h 459688"/>
              <a:gd name="connsiteX2" fmla="*/ 2343667 w 2391079"/>
              <a:gd name="connsiteY2" fmla="*/ 0 h 459688"/>
              <a:gd name="connsiteX3" fmla="*/ 0 w 2391079"/>
              <a:gd name="connsiteY3" fmla="*/ 180293 h 459688"/>
              <a:gd name="connsiteX4" fmla="*/ 133525 w 2391079"/>
              <a:gd name="connsiteY4" fmla="*/ 459688 h 459688"/>
              <a:gd name="connsiteX0" fmla="*/ 159047 w 2391079"/>
              <a:gd name="connsiteY0" fmla="*/ 505482 h 505482"/>
              <a:gd name="connsiteX1" fmla="*/ 2391079 w 2391079"/>
              <a:gd name="connsiteY1" fmla="*/ 322204 h 505482"/>
              <a:gd name="connsiteX2" fmla="*/ 2343667 w 2391079"/>
              <a:gd name="connsiteY2" fmla="*/ 0 h 505482"/>
              <a:gd name="connsiteX3" fmla="*/ 0 w 2391079"/>
              <a:gd name="connsiteY3" fmla="*/ 180293 h 505482"/>
              <a:gd name="connsiteX4" fmla="*/ 159047 w 2391079"/>
              <a:gd name="connsiteY4" fmla="*/ 505482 h 505482"/>
              <a:gd name="connsiteX0" fmla="*/ 159047 w 2391079"/>
              <a:gd name="connsiteY0" fmla="*/ 518659 h 518659"/>
              <a:gd name="connsiteX1" fmla="*/ 2391079 w 2391079"/>
              <a:gd name="connsiteY1" fmla="*/ 335381 h 518659"/>
              <a:gd name="connsiteX2" fmla="*/ 2261507 w 2391079"/>
              <a:gd name="connsiteY2" fmla="*/ 0 h 518659"/>
              <a:gd name="connsiteX3" fmla="*/ 0 w 2391079"/>
              <a:gd name="connsiteY3" fmla="*/ 193470 h 518659"/>
              <a:gd name="connsiteX4" fmla="*/ 159047 w 2391079"/>
              <a:gd name="connsiteY4" fmla="*/ 518659 h 518659"/>
              <a:gd name="connsiteX0" fmla="*/ 159047 w 2513813"/>
              <a:gd name="connsiteY0" fmla="*/ 498511 h 498511"/>
              <a:gd name="connsiteX1" fmla="*/ 2391079 w 2513813"/>
              <a:gd name="connsiteY1" fmla="*/ 315233 h 498511"/>
              <a:gd name="connsiteX2" fmla="*/ 2513813 w 2513813"/>
              <a:gd name="connsiteY2" fmla="*/ 0 h 498511"/>
              <a:gd name="connsiteX3" fmla="*/ 0 w 2513813"/>
              <a:gd name="connsiteY3" fmla="*/ 173322 h 498511"/>
              <a:gd name="connsiteX4" fmla="*/ 159047 w 2513813"/>
              <a:gd name="connsiteY4" fmla="*/ 498511 h 498511"/>
              <a:gd name="connsiteX0" fmla="*/ 159047 w 2547383"/>
              <a:gd name="connsiteY0" fmla="*/ 498511 h 498511"/>
              <a:gd name="connsiteX1" fmla="*/ 2547383 w 2547383"/>
              <a:gd name="connsiteY1" fmla="*/ 252623 h 498511"/>
              <a:gd name="connsiteX2" fmla="*/ 2513813 w 2547383"/>
              <a:gd name="connsiteY2" fmla="*/ 0 h 498511"/>
              <a:gd name="connsiteX3" fmla="*/ 0 w 2547383"/>
              <a:gd name="connsiteY3" fmla="*/ 173322 h 498511"/>
              <a:gd name="connsiteX4" fmla="*/ 159047 w 2547383"/>
              <a:gd name="connsiteY4" fmla="*/ 498511 h 498511"/>
              <a:gd name="connsiteX0" fmla="*/ 164772 w 2553108"/>
              <a:gd name="connsiteY0" fmla="*/ 498511 h 498511"/>
              <a:gd name="connsiteX1" fmla="*/ 2553108 w 2553108"/>
              <a:gd name="connsiteY1" fmla="*/ 252623 h 498511"/>
              <a:gd name="connsiteX2" fmla="*/ 2519538 w 2553108"/>
              <a:gd name="connsiteY2" fmla="*/ 0 h 498511"/>
              <a:gd name="connsiteX3" fmla="*/ 0 w 2553108"/>
              <a:gd name="connsiteY3" fmla="*/ 237627 h 498511"/>
              <a:gd name="connsiteX4" fmla="*/ 164772 w 2553108"/>
              <a:gd name="connsiteY4" fmla="*/ 498511 h 498511"/>
              <a:gd name="connsiteX0" fmla="*/ 102113 w 2553108"/>
              <a:gd name="connsiteY0" fmla="*/ 460662 h 460662"/>
              <a:gd name="connsiteX1" fmla="*/ 2553108 w 2553108"/>
              <a:gd name="connsiteY1" fmla="*/ 252623 h 460662"/>
              <a:gd name="connsiteX2" fmla="*/ 2519538 w 2553108"/>
              <a:gd name="connsiteY2" fmla="*/ 0 h 460662"/>
              <a:gd name="connsiteX3" fmla="*/ 0 w 2553108"/>
              <a:gd name="connsiteY3" fmla="*/ 237627 h 460662"/>
              <a:gd name="connsiteX4" fmla="*/ 102113 w 2553108"/>
              <a:gd name="connsiteY4" fmla="*/ 460662 h 460662"/>
              <a:gd name="connsiteX0" fmla="*/ 102113 w 2553108"/>
              <a:gd name="connsiteY0" fmla="*/ 424537 h 424537"/>
              <a:gd name="connsiteX1" fmla="*/ 2553108 w 2553108"/>
              <a:gd name="connsiteY1" fmla="*/ 216498 h 424537"/>
              <a:gd name="connsiteX2" fmla="*/ 2498106 w 2553108"/>
              <a:gd name="connsiteY2" fmla="*/ 0 h 424537"/>
              <a:gd name="connsiteX3" fmla="*/ 0 w 2553108"/>
              <a:gd name="connsiteY3" fmla="*/ 201502 h 424537"/>
              <a:gd name="connsiteX4" fmla="*/ 102113 w 2553108"/>
              <a:gd name="connsiteY4" fmla="*/ 424537 h 424537"/>
              <a:gd name="connsiteX0" fmla="*/ 90333 w 2553108"/>
              <a:gd name="connsiteY0" fmla="*/ 403402 h 403402"/>
              <a:gd name="connsiteX1" fmla="*/ 2553108 w 2553108"/>
              <a:gd name="connsiteY1" fmla="*/ 216498 h 403402"/>
              <a:gd name="connsiteX2" fmla="*/ 2498106 w 2553108"/>
              <a:gd name="connsiteY2" fmla="*/ 0 h 403402"/>
              <a:gd name="connsiteX3" fmla="*/ 0 w 2553108"/>
              <a:gd name="connsiteY3" fmla="*/ 201502 h 403402"/>
              <a:gd name="connsiteX4" fmla="*/ 90333 w 2553108"/>
              <a:gd name="connsiteY4" fmla="*/ 403402 h 403402"/>
              <a:gd name="connsiteX0" fmla="*/ 60951 w 2523726"/>
              <a:gd name="connsiteY0" fmla="*/ 403402 h 403402"/>
              <a:gd name="connsiteX1" fmla="*/ 2523726 w 2523726"/>
              <a:gd name="connsiteY1" fmla="*/ 216498 h 403402"/>
              <a:gd name="connsiteX2" fmla="*/ 2468724 w 2523726"/>
              <a:gd name="connsiteY2" fmla="*/ 0 h 403402"/>
              <a:gd name="connsiteX3" fmla="*/ 0 w 2523726"/>
              <a:gd name="connsiteY3" fmla="*/ 224392 h 403402"/>
              <a:gd name="connsiteX4" fmla="*/ 60951 w 2523726"/>
              <a:gd name="connsiteY4" fmla="*/ 403402 h 40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3726" h="403402">
                <a:moveTo>
                  <a:pt x="60951" y="403402"/>
                </a:moveTo>
                <a:lnTo>
                  <a:pt x="2523726" y="216498"/>
                </a:lnTo>
                <a:lnTo>
                  <a:pt x="2468724" y="0"/>
                </a:lnTo>
                <a:lnTo>
                  <a:pt x="0" y="224392"/>
                </a:lnTo>
                <a:lnTo>
                  <a:pt x="60951" y="403402"/>
                </a:lnTo>
                <a:close/>
              </a:path>
            </a:pathLst>
          </a:custGeom>
          <a:solidFill>
            <a:srgbClr val="5C2483"/>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ysClr val="window" lastClr="FFFFFF"/>
              </a:solidFill>
              <a:effectLst/>
              <a:uLnTx/>
              <a:uFillTx/>
              <a:latin typeface="Amaranth" panose="02000503000000020004" pitchFamily="50" charset="0"/>
              <a:ea typeface="+mn-ea"/>
              <a:cs typeface="+mn-cs"/>
            </a:endParaRPr>
          </a:p>
        </p:txBody>
      </p:sp>
      <p:sp>
        <p:nvSpPr>
          <p:cNvPr id="16" name="TextBox 9">
            <a:extLst>
              <a:ext uri="{FF2B5EF4-FFF2-40B4-BE49-F238E27FC236}">
                <a16:creationId xmlns:a16="http://schemas.microsoft.com/office/drawing/2014/main" id="{222D999A-85F8-495E-8691-8C6CA4E914D8}"/>
              </a:ext>
            </a:extLst>
          </p:cNvPr>
          <p:cNvSpPr txBox="1">
            <a:spLocks noChangeArrowheads="1"/>
          </p:cNvSpPr>
          <p:nvPr/>
        </p:nvSpPr>
        <p:spPr bwMode="auto">
          <a:xfrm>
            <a:off x="9705021" y="720366"/>
            <a:ext cx="2550786" cy="369332"/>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nl-NL"/>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prstClr val="white"/>
                </a:solidFill>
                <a:effectLst/>
                <a:uLnTx/>
                <a:uFillTx/>
                <a:latin typeface="Calibri" panose="020F050202020403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nl-BE" dirty="0">
                <a:latin typeface="Amaranth" panose="02000503000000020004" pitchFamily="50" charset="0"/>
              </a:rPr>
              <a:t>Opbouw &amp; differentiatie</a:t>
            </a:r>
          </a:p>
        </p:txBody>
      </p:sp>
    </p:spTree>
    <p:extLst>
      <p:ext uri="{BB962C8B-B14F-4D97-AF65-F5344CB8AC3E}">
        <p14:creationId xmlns:p14="http://schemas.microsoft.com/office/powerpoint/2010/main" val="1034105012"/>
      </p:ext>
    </p:extLst>
  </p:cSld>
  <p:clrMapOvr>
    <a:overrideClrMapping bg1="lt1" tx1="dk1" bg2="lt2" tx2="dk2" accent1="accent1" accent2="accent2" accent3="accent3" accent4="accent4" accent5="accent5" accent6="accent6" hlink="hlink" folHlink="folHlink"/>
  </p:clrMapOvr>
</p:sld>
</file>

<file path=ppt/slides/slide1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5" name="Rechthoek 24">
            <a:extLst>
              <a:ext uri="{FF2B5EF4-FFF2-40B4-BE49-F238E27FC236}">
                <a16:creationId xmlns:a16="http://schemas.microsoft.com/office/drawing/2014/main" id="{E71006F1-4611-48F5-B20E-110F620629EC}"/>
              </a:ext>
            </a:extLst>
          </p:cNvPr>
          <p:cNvSpPr/>
          <p:nvPr/>
        </p:nvSpPr>
        <p:spPr>
          <a:xfrm>
            <a:off x="0" y="1598971"/>
            <a:ext cx="12192000" cy="4453959"/>
          </a:xfrm>
          <a:prstGeom prst="rect">
            <a:avLst/>
          </a:prstGeom>
          <a:solidFill>
            <a:srgbClr val="5C2483"/>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5" name="Object 4"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33" name="think-cell Slide" r:id="rId6" imgW="353" imgH="353" progId="TCLayout.ActiveDocument.1">
                  <p:embed/>
                </p:oleObj>
              </mc:Choice>
              <mc:Fallback>
                <p:oleObj name="think-cell Slide" r:id="rId6" imgW="353" imgH="353"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8" name="Afbeelding 17" descr="Lijnpijl: curve rechtsom">
            <a:extLst>
              <a:ext uri="{FF2B5EF4-FFF2-40B4-BE49-F238E27FC236}">
                <a16:creationId xmlns:a16="http://schemas.microsoft.com/office/drawing/2014/main" id="{BC55572A-13F3-4B6E-836F-19580DC01255}"/>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13337721">
            <a:off x="4814312" y="2675538"/>
            <a:ext cx="827975" cy="827975"/>
          </a:xfrm>
          <a:prstGeom prst="rect">
            <a:avLst/>
          </a:prstGeom>
        </p:spPr>
      </p:pic>
      <p:pic>
        <p:nvPicPr>
          <p:cNvPr id="8" name="Afbeelding 7">
            <a:extLst>
              <a:ext uri="{FF2B5EF4-FFF2-40B4-BE49-F238E27FC236}">
                <a16:creationId xmlns:a16="http://schemas.microsoft.com/office/drawing/2014/main" id="{015B80D5-3550-49AF-B11B-D61CB1672D82}"/>
              </a:ext>
            </a:extLst>
          </p:cNvPr>
          <p:cNvPicPr>
            <a:picLocks noChangeAspect="1"/>
          </p:cNvPicPr>
          <p:nvPr/>
        </p:nvPicPr>
        <p:blipFill>
          <a:blip r:embed="rId10"/>
          <a:stretch>
            <a:fillRect/>
          </a:stretch>
        </p:blipFill>
        <p:spPr>
          <a:xfrm>
            <a:off x="671746" y="1898706"/>
            <a:ext cx="2811028" cy="3989844"/>
          </a:xfrm>
          <a:prstGeom prst="rect">
            <a:avLst/>
          </a:prstGeom>
        </p:spPr>
      </p:pic>
      <p:pic>
        <p:nvPicPr>
          <p:cNvPr id="13" name="Afbeelding 12">
            <a:extLst>
              <a:ext uri="{FF2B5EF4-FFF2-40B4-BE49-F238E27FC236}">
                <a16:creationId xmlns:a16="http://schemas.microsoft.com/office/drawing/2014/main" id="{DFB00726-4DA9-4EB8-8E4D-D240E6E8DEB2}"/>
              </a:ext>
            </a:extLst>
          </p:cNvPr>
          <p:cNvPicPr>
            <a:picLocks noChangeAspect="1"/>
          </p:cNvPicPr>
          <p:nvPr/>
        </p:nvPicPr>
        <p:blipFill>
          <a:blip r:embed="rId11"/>
          <a:stretch>
            <a:fillRect/>
          </a:stretch>
        </p:blipFill>
        <p:spPr>
          <a:xfrm>
            <a:off x="3482774" y="1898706"/>
            <a:ext cx="2828751" cy="3989844"/>
          </a:xfrm>
          <a:prstGeom prst="rect">
            <a:avLst/>
          </a:prstGeom>
        </p:spPr>
      </p:pic>
      <p:pic>
        <p:nvPicPr>
          <p:cNvPr id="14" name="Afbeelding 13">
            <a:extLst>
              <a:ext uri="{FF2B5EF4-FFF2-40B4-BE49-F238E27FC236}">
                <a16:creationId xmlns:a16="http://schemas.microsoft.com/office/drawing/2014/main" id="{BE0CD08B-1E36-437A-B921-8D9E5E63A54A}"/>
              </a:ext>
            </a:extLst>
          </p:cNvPr>
          <p:cNvPicPr>
            <a:picLocks noChangeAspect="1"/>
          </p:cNvPicPr>
          <p:nvPr/>
        </p:nvPicPr>
        <p:blipFill>
          <a:blip r:embed="rId12"/>
          <a:stretch>
            <a:fillRect/>
          </a:stretch>
        </p:blipFill>
        <p:spPr>
          <a:xfrm>
            <a:off x="7405482" y="1898706"/>
            <a:ext cx="2667000" cy="1771650"/>
          </a:xfrm>
          <a:prstGeom prst="rect">
            <a:avLst/>
          </a:prstGeom>
        </p:spPr>
      </p:pic>
      <p:sp>
        <p:nvSpPr>
          <p:cNvPr id="29" name="TextBox 11">
            <a:extLst>
              <a:ext uri="{FF2B5EF4-FFF2-40B4-BE49-F238E27FC236}">
                <a16:creationId xmlns:a16="http://schemas.microsoft.com/office/drawing/2014/main" id="{5E26A374-3A6C-4A2A-BF33-A83E7B76D642}"/>
              </a:ext>
            </a:extLst>
          </p:cNvPr>
          <p:cNvSpPr txBox="1"/>
          <p:nvPr/>
        </p:nvSpPr>
        <p:spPr>
          <a:xfrm>
            <a:off x="530629" y="591778"/>
            <a:ext cx="9231432" cy="646331"/>
          </a:xfrm>
          <a:prstGeom prst="rect">
            <a:avLst/>
          </a:prstGeom>
          <a:noFill/>
        </p:spPr>
        <p:txBody>
          <a:bodyPr wrap="square" rtlCol="0" anchor="b" anchorCtr="0">
            <a:spAutoFit/>
          </a:bodyPr>
          <a:lstStyle/>
          <a:p>
            <a:pPr>
              <a:lnSpc>
                <a:spcPct val="90000"/>
              </a:lnSpc>
              <a:tabLst>
                <a:tab pos="1971675" algn="l"/>
              </a:tabLst>
            </a:pPr>
            <a:r>
              <a:rPr lang="nl-BE" sz="4000" dirty="0">
                <a:solidFill>
                  <a:srgbClr val="5C2483"/>
                </a:solidFill>
                <a:latin typeface="Amaranth" panose="02000503000000020004" pitchFamily="50" charset="0"/>
                <a:cs typeface="Arial" panose="020B0604020202020204" pitchFamily="34" charset="0"/>
              </a:rPr>
              <a:t>21</a:t>
            </a:r>
            <a:r>
              <a:rPr lang="nl-BE" sz="4000" baseline="30000" dirty="0">
                <a:solidFill>
                  <a:srgbClr val="5C2483"/>
                </a:solidFill>
                <a:latin typeface="Amaranth" panose="02000503000000020004" pitchFamily="50" charset="0"/>
                <a:cs typeface="Arial" panose="020B0604020202020204" pitchFamily="34" charset="0"/>
              </a:rPr>
              <a:t>e</a:t>
            </a:r>
            <a:r>
              <a:rPr lang="nl-BE" sz="4000" dirty="0">
                <a:solidFill>
                  <a:srgbClr val="5C2483"/>
                </a:solidFill>
                <a:latin typeface="Amaranth" panose="02000503000000020004" pitchFamily="50" charset="0"/>
                <a:cs typeface="Arial" panose="020B0604020202020204" pitchFamily="34" charset="0"/>
              </a:rPr>
              <a:t> </a:t>
            </a:r>
            <a:r>
              <a:rPr lang="nl-BE" sz="4000" dirty="0" err="1">
                <a:solidFill>
                  <a:srgbClr val="5C2483"/>
                </a:solidFill>
                <a:latin typeface="Amaranth" panose="02000503000000020004" pitchFamily="50" charset="0"/>
                <a:cs typeface="Arial" panose="020B0604020202020204" pitchFamily="34" charset="0"/>
              </a:rPr>
              <a:t>eeuwse</a:t>
            </a:r>
            <a:r>
              <a:rPr lang="nl-BE" sz="4000" dirty="0">
                <a:solidFill>
                  <a:srgbClr val="5C2483"/>
                </a:solidFill>
                <a:latin typeface="Amaranth" panose="02000503000000020004" pitchFamily="50" charset="0"/>
                <a:cs typeface="Arial" panose="020B0604020202020204" pitchFamily="34" charset="0"/>
              </a:rPr>
              <a:t> vaardigheden </a:t>
            </a:r>
          </a:p>
        </p:txBody>
      </p:sp>
      <p:pic>
        <p:nvPicPr>
          <p:cNvPr id="30" name="Afbeelding 29" descr="Lijnpijl: curve rechtsom">
            <a:extLst>
              <a:ext uri="{FF2B5EF4-FFF2-40B4-BE49-F238E27FC236}">
                <a16:creationId xmlns:a16="http://schemas.microsoft.com/office/drawing/2014/main" id="{74D28A73-1C09-4685-B340-64B80ABB2492}"/>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5575214">
            <a:off x="6493085" y="2550849"/>
            <a:ext cx="827975" cy="827975"/>
          </a:xfrm>
          <a:prstGeom prst="rect">
            <a:avLst/>
          </a:prstGeom>
        </p:spPr>
      </p:pic>
      <p:pic>
        <p:nvPicPr>
          <p:cNvPr id="32" name="Afbeelding 31">
            <a:extLst>
              <a:ext uri="{FF2B5EF4-FFF2-40B4-BE49-F238E27FC236}">
                <a16:creationId xmlns:a16="http://schemas.microsoft.com/office/drawing/2014/main" id="{468DF4C1-432A-4A56-937B-11769132A26F}"/>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888182" y="5067371"/>
            <a:ext cx="1250796" cy="1667729"/>
          </a:xfrm>
          <a:prstGeom prst="rect">
            <a:avLst/>
          </a:prstGeom>
        </p:spPr>
      </p:pic>
      <p:pic>
        <p:nvPicPr>
          <p:cNvPr id="33" name="Afbeelding 32">
            <a:extLst>
              <a:ext uri="{FF2B5EF4-FFF2-40B4-BE49-F238E27FC236}">
                <a16:creationId xmlns:a16="http://schemas.microsoft.com/office/drawing/2014/main" id="{4BB13EBB-E43D-41EF-BCEC-E1A987623C0C}"/>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437460" y="4027434"/>
            <a:ext cx="2687204" cy="1771650"/>
          </a:xfrm>
          <a:prstGeom prst="rect">
            <a:avLst/>
          </a:prstGeom>
        </p:spPr>
      </p:pic>
      <p:pic>
        <p:nvPicPr>
          <p:cNvPr id="15" name="Afbeelding 14">
            <a:extLst>
              <a:ext uri="{FF2B5EF4-FFF2-40B4-BE49-F238E27FC236}">
                <a16:creationId xmlns:a16="http://schemas.microsoft.com/office/drawing/2014/main" id="{925DACE9-4A88-4679-9FA2-286FCC1F6DF1}"/>
              </a:ext>
            </a:extLst>
          </p:cNvPr>
          <p:cNvPicPr>
            <a:picLocks noChangeAspect="1"/>
          </p:cNvPicPr>
          <p:nvPr/>
        </p:nvPicPr>
        <p:blipFill>
          <a:blip r:embed="rId15" cstate="hqprint">
            <a:extLst>
              <a:ext uri="{28A0092B-C50C-407E-A947-70E740481C1C}">
                <a14:useLocalDpi xmlns:a14="http://schemas.microsoft.com/office/drawing/2010/main" val="0"/>
              </a:ext>
            </a:extLst>
          </a:blip>
          <a:stretch>
            <a:fillRect/>
          </a:stretch>
        </p:blipFill>
        <p:spPr>
          <a:xfrm>
            <a:off x="11241707" y="6052930"/>
            <a:ext cx="661508" cy="556592"/>
          </a:xfrm>
          <a:prstGeom prst="rect">
            <a:avLst/>
          </a:prstGeom>
        </p:spPr>
      </p:pic>
      <p:sp>
        <p:nvSpPr>
          <p:cNvPr id="16" name="Freeform 41">
            <a:extLst>
              <a:ext uri="{FF2B5EF4-FFF2-40B4-BE49-F238E27FC236}">
                <a16:creationId xmlns:a16="http://schemas.microsoft.com/office/drawing/2014/main" id="{0376EA81-7E0F-444F-8F6B-790C1A5C9B3E}"/>
              </a:ext>
            </a:extLst>
          </p:cNvPr>
          <p:cNvSpPr/>
          <p:nvPr/>
        </p:nvSpPr>
        <p:spPr>
          <a:xfrm rot="845560">
            <a:off x="9576400" y="404873"/>
            <a:ext cx="2794225" cy="997712"/>
          </a:xfrm>
          <a:custGeom>
            <a:avLst/>
            <a:gdLst>
              <a:gd name="connsiteX0" fmla="*/ 45720 w 1267097"/>
              <a:gd name="connsiteY0" fmla="*/ 378823 h 378823"/>
              <a:gd name="connsiteX1" fmla="*/ 1267097 w 1267097"/>
              <a:gd name="connsiteY1" fmla="*/ 182880 h 378823"/>
              <a:gd name="connsiteX2" fmla="*/ 1267097 w 1267097"/>
              <a:gd name="connsiteY2" fmla="*/ 0 h 378823"/>
              <a:gd name="connsiteX3" fmla="*/ 0 w 1267097"/>
              <a:gd name="connsiteY3" fmla="*/ 189412 h 378823"/>
              <a:gd name="connsiteX4" fmla="*/ 45720 w 1267097"/>
              <a:gd name="connsiteY4" fmla="*/ 378823 h 378823"/>
              <a:gd name="connsiteX0" fmla="*/ 71845 w 1293222"/>
              <a:gd name="connsiteY0" fmla="*/ 378823 h 378823"/>
              <a:gd name="connsiteX1" fmla="*/ 1293222 w 1293222"/>
              <a:gd name="connsiteY1" fmla="*/ 182880 h 378823"/>
              <a:gd name="connsiteX2" fmla="*/ 1293222 w 1293222"/>
              <a:gd name="connsiteY2" fmla="*/ 0 h 378823"/>
              <a:gd name="connsiteX3" fmla="*/ 0 w 1293222"/>
              <a:gd name="connsiteY3" fmla="*/ 130629 h 378823"/>
              <a:gd name="connsiteX4" fmla="*/ 71845 w 1293222"/>
              <a:gd name="connsiteY4" fmla="*/ 378823 h 378823"/>
              <a:gd name="connsiteX0" fmla="*/ 65313 w 1293222"/>
              <a:gd name="connsiteY0" fmla="*/ 398417 h 398417"/>
              <a:gd name="connsiteX1" fmla="*/ 1293222 w 1293222"/>
              <a:gd name="connsiteY1" fmla="*/ 182880 h 398417"/>
              <a:gd name="connsiteX2" fmla="*/ 1293222 w 1293222"/>
              <a:gd name="connsiteY2" fmla="*/ 0 h 398417"/>
              <a:gd name="connsiteX3" fmla="*/ 0 w 1293222"/>
              <a:gd name="connsiteY3" fmla="*/ 130629 h 398417"/>
              <a:gd name="connsiteX4" fmla="*/ 65313 w 1293222"/>
              <a:gd name="connsiteY4" fmla="*/ 398417 h 398417"/>
              <a:gd name="connsiteX0" fmla="*/ 104663 w 1332572"/>
              <a:gd name="connsiteY0" fmla="*/ 488407 h 488407"/>
              <a:gd name="connsiteX1" fmla="*/ 1332572 w 1332572"/>
              <a:gd name="connsiteY1" fmla="*/ 272870 h 488407"/>
              <a:gd name="connsiteX2" fmla="*/ 1332572 w 1332572"/>
              <a:gd name="connsiteY2" fmla="*/ 89990 h 488407"/>
              <a:gd name="connsiteX3" fmla="*/ 0 w 1332572"/>
              <a:gd name="connsiteY3" fmla="*/ 0 h 488407"/>
              <a:gd name="connsiteX4" fmla="*/ 104663 w 1332572"/>
              <a:gd name="connsiteY4" fmla="*/ 488407 h 488407"/>
              <a:gd name="connsiteX0" fmla="*/ 58754 w 1286663"/>
              <a:gd name="connsiteY0" fmla="*/ 488407 h 488407"/>
              <a:gd name="connsiteX1" fmla="*/ 1286663 w 1286663"/>
              <a:gd name="connsiteY1" fmla="*/ 272870 h 488407"/>
              <a:gd name="connsiteX2" fmla="*/ 1286663 w 1286663"/>
              <a:gd name="connsiteY2" fmla="*/ 89990 h 488407"/>
              <a:gd name="connsiteX3" fmla="*/ 0 w 1286663"/>
              <a:gd name="connsiteY3" fmla="*/ 0 h 488407"/>
              <a:gd name="connsiteX4" fmla="*/ 58754 w 1286663"/>
              <a:gd name="connsiteY4" fmla="*/ 488407 h 488407"/>
              <a:gd name="connsiteX0" fmla="*/ 58754 w 1293221"/>
              <a:gd name="connsiteY0" fmla="*/ 574912 h 574912"/>
              <a:gd name="connsiteX1" fmla="*/ 1286663 w 1293221"/>
              <a:gd name="connsiteY1" fmla="*/ 359375 h 574912"/>
              <a:gd name="connsiteX2" fmla="*/ 1293221 w 1293221"/>
              <a:gd name="connsiteY2" fmla="*/ 0 h 574912"/>
              <a:gd name="connsiteX3" fmla="*/ 0 w 1293221"/>
              <a:gd name="connsiteY3" fmla="*/ 86505 h 574912"/>
              <a:gd name="connsiteX4" fmla="*/ 58754 w 1293221"/>
              <a:gd name="connsiteY4" fmla="*/ 574912 h 574912"/>
              <a:gd name="connsiteX0" fmla="*/ 58754 w 1470298"/>
              <a:gd name="connsiteY0" fmla="*/ 574912 h 574912"/>
              <a:gd name="connsiteX1" fmla="*/ 1470298 w 1470298"/>
              <a:gd name="connsiteY1" fmla="*/ 561083 h 574912"/>
              <a:gd name="connsiteX2" fmla="*/ 1293221 w 1470298"/>
              <a:gd name="connsiteY2" fmla="*/ 0 h 574912"/>
              <a:gd name="connsiteX3" fmla="*/ 0 w 1470298"/>
              <a:gd name="connsiteY3" fmla="*/ 86505 h 574912"/>
              <a:gd name="connsiteX4" fmla="*/ 58754 w 1470298"/>
              <a:gd name="connsiteY4" fmla="*/ 574912 h 574912"/>
              <a:gd name="connsiteX0" fmla="*/ 65313 w 1470298"/>
              <a:gd name="connsiteY0" fmla="*/ 795531 h 795531"/>
              <a:gd name="connsiteX1" fmla="*/ 1470298 w 1470298"/>
              <a:gd name="connsiteY1" fmla="*/ 561083 h 795531"/>
              <a:gd name="connsiteX2" fmla="*/ 1293221 w 1470298"/>
              <a:gd name="connsiteY2" fmla="*/ 0 h 795531"/>
              <a:gd name="connsiteX3" fmla="*/ 0 w 1470298"/>
              <a:gd name="connsiteY3" fmla="*/ 86505 h 795531"/>
              <a:gd name="connsiteX4" fmla="*/ 65313 w 1470298"/>
              <a:gd name="connsiteY4" fmla="*/ 795531 h 795531"/>
              <a:gd name="connsiteX0" fmla="*/ 65313 w 1844126"/>
              <a:gd name="connsiteY0" fmla="*/ 795531 h 795531"/>
              <a:gd name="connsiteX1" fmla="*/ 1844126 w 1844126"/>
              <a:gd name="connsiteY1" fmla="*/ 504352 h 795531"/>
              <a:gd name="connsiteX2" fmla="*/ 1293221 w 1844126"/>
              <a:gd name="connsiteY2" fmla="*/ 0 h 795531"/>
              <a:gd name="connsiteX3" fmla="*/ 0 w 1844126"/>
              <a:gd name="connsiteY3" fmla="*/ 86505 h 795531"/>
              <a:gd name="connsiteX4" fmla="*/ 65313 w 1844126"/>
              <a:gd name="connsiteY4" fmla="*/ 795531 h 795531"/>
              <a:gd name="connsiteX0" fmla="*/ 65313 w 1844126"/>
              <a:gd name="connsiteY0" fmla="*/ 845958 h 845958"/>
              <a:gd name="connsiteX1" fmla="*/ 1844126 w 1844126"/>
              <a:gd name="connsiteY1" fmla="*/ 554779 h 845958"/>
              <a:gd name="connsiteX2" fmla="*/ 1621141 w 1844126"/>
              <a:gd name="connsiteY2" fmla="*/ 0 h 845958"/>
              <a:gd name="connsiteX3" fmla="*/ 0 w 1844126"/>
              <a:gd name="connsiteY3" fmla="*/ 136932 h 845958"/>
              <a:gd name="connsiteX4" fmla="*/ 65313 w 1844126"/>
              <a:gd name="connsiteY4" fmla="*/ 845958 h 845958"/>
              <a:gd name="connsiteX0" fmla="*/ 65313 w 1844126"/>
              <a:gd name="connsiteY0" fmla="*/ 864868 h 864868"/>
              <a:gd name="connsiteX1" fmla="*/ 1844126 w 1844126"/>
              <a:gd name="connsiteY1" fmla="*/ 573689 h 864868"/>
              <a:gd name="connsiteX2" fmla="*/ 1621141 w 1844126"/>
              <a:gd name="connsiteY2" fmla="*/ 0 h 864868"/>
              <a:gd name="connsiteX3" fmla="*/ 0 w 1844126"/>
              <a:gd name="connsiteY3" fmla="*/ 155842 h 864868"/>
              <a:gd name="connsiteX4" fmla="*/ 65313 w 1844126"/>
              <a:gd name="connsiteY4" fmla="*/ 864868 h 864868"/>
              <a:gd name="connsiteX0" fmla="*/ 65313 w 1686724"/>
              <a:gd name="connsiteY0" fmla="*/ 864868 h 864868"/>
              <a:gd name="connsiteX1" fmla="*/ 1686724 w 1686724"/>
              <a:gd name="connsiteY1" fmla="*/ 561082 h 864868"/>
              <a:gd name="connsiteX2" fmla="*/ 1621141 w 1686724"/>
              <a:gd name="connsiteY2" fmla="*/ 0 h 864868"/>
              <a:gd name="connsiteX3" fmla="*/ 0 w 1686724"/>
              <a:gd name="connsiteY3" fmla="*/ 155842 h 864868"/>
              <a:gd name="connsiteX4" fmla="*/ 65313 w 1686724"/>
              <a:gd name="connsiteY4" fmla="*/ 864868 h 864868"/>
              <a:gd name="connsiteX0" fmla="*/ 39079 w 1660490"/>
              <a:gd name="connsiteY0" fmla="*/ 864868 h 864868"/>
              <a:gd name="connsiteX1" fmla="*/ 1660490 w 1660490"/>
              <a:gd name="connsiteY1" fmla="*/ 561082 h 864868"/>
              <a:gd name="connsiteX2" fmla="*/ 1594907 w 1660490"/>
              <a:gd name="connsiteY2" fmla="*/ 0 h 864868"/>
              <a:gd name="connsiteX3" fmla="*/ 0 w 1660490"/>
              <a:gd name="connsiteY3" fmla="*/ 351248 h 864868"/>
              <a:gd name="connsiteX4" fmla="*/ 39079 w 1660490"/>
              <a:gd name="connsiteY4" fmla="*/ 864868 h 864868"/>
              <a:gd name="connsiteX0" fmla="*/ 39079 w 1857243"/>
              <a:gd name="connsiteY0" fmla="*/ 719889 h 719889"/>
              <a:gd name="connsiteX1" fmla="*/ 1660490 w 1857243"/>
              <a:gd name="connsiteY1" fmla="*/ 416103 h 719889"/>
              <a:gd name="connsiteX2" fmla="*/ 1857243 w 1857243"/>
              <a:gd name="connsiteY2" fmla="*/ 0 h 719889"/>
              <a:gd name="connsiteX3" fmla="*/ 0 w 1857243"/>
              <a:gd name="connsiteY3" fmla="*/ 206269 h 719889"/>
              <a:gd name="connsiteX4" fmla="*/ 39079 w 1857243"/>
              <a:gd name="connsiteY4" fmla="*/ 719889 h 719889"/>
              <a:gd name="connsiteX0" fmla="*/ 39079 w 1909709"/>
              <a:gd name="connsiteY0" fmla="*/ 719889 h 719889"/>
              <a:gd name="connsiteX1" fmla="*/ 1909709 w 1909709"/>
              <a:gd name="connsiteY1" fmla="*/ 208090 h 719889"/>
              <a:gd name="connsiteX2" fmla="*/ 1857243 w 1909709"/>
              <a:gd name="connsiteY2" fmla="*/ 0 h 719889"/>
              <a:gd name="connsiteX3" fmla="*/ 0 w 1909709"/>
              <a:gd name="connsiteY3" fmla="*/ 206269 h 719889"/>
              <a:gd name="connsiteX4" fmla="*/ 39079 w 1909709"/>
              <a:gd name="connsiteY4" fmla="*/ 719889 h 719889"/>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206269 h 511876"/>
              <a:gd name="connsiteX4" fmla="*/ 39079 w 1909709"/>
              <a:gd name="connsiteY4" fmla="*/ 511876 h 511876"/>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121173 h 511876"/>
              <a:gd name="connsiteX4" fmla="*/ 39079 w 1909709"/>
              <a:gd name="connsiteY4" fmla="*/ 511876 h 511876"/>
              <a:gd name="connsiteX0" fmla="*/ 39079 w 1857243"/>
              <a:gd name="connsiteY0" fmla="*/ 511876 h 511876"/>
              <a:gd name="connsiteX1" fmla="*/ 1748372 w 1857243"/>
              <a:gd name="connsiteY1" fmla="*/ 309201 h 511876"/>
              <a:gd name="connsiteX2" fmla="*/ 1857243 w 1857243"/>
              <a:gd name="connsiteY2" fmla="*/ 0 h 511876"/>
              <a:gd name="connsiteX3" fmla="*/ 0 w 1857243"/>
              <a:gd name="connsiteY3" fmla="*/ 121173 h 511876"/>
              <a:gd name="connsiteX4" fmla="*/ 39079 w 1857243"/>
              <a:gd name="connsiteY4" fmla="*/ 511876 h 511876"/>
              <a:gd name="connsiteX0" fmla="*/ 39079 w 1748372"/>
              <a:gd name="connsiteY0" fmla="*/ 499237 h 499237"/>
              <a:gd name="connsiteX1" fmla="*/ 1748372 w 1748372"/>
              <a:gd name="connsiteY1" fmla="*/ 296562 h 499237"/>
              <a:gd name="connsiteX2" fmla="*/ 1723965 w 1748372"/>
              <a:gd name="connsiteY2" fmla="*/ 0 h 499237"/>
              <a:gd name="connsiteX3" fmla="*/ 0 w 1748372"/>
              <a:gd name="connsiteY3" fmla="*/ 108534 h 499237"/>
              <a:gd name="connsiteX4" fmla="*/ 39079 w 1748372"/>
              <a:gd name="connsiteY4" fmla="*/ 499237 h 499237"/>
              <a:gd name="connsiteX0" fmla="*/ 95196 w 1748372"/>
              <a:gd name="connsiteY0" fmla="*/ 451841 h 451841"/>
              <a:gd name="connsiteX1" fmla="*/ 1748372 w 1748372"/>
              <a:gd name="connsiteY1" fmla="*/ 296562 h 451841"/>
              <a:gd name="connsiteX2" fmla="*/ 1723965 w 1748372"/>
              <a:gd name="connsiteY2" fmla="*/ 0 h 451841"/>
              <a:gd name="connsiteX3" fmla="*/ 0 w 1748372"/>
              <a:gd name="connsiteY3" fmla="*/ 108534 h 451841"/>
              <a:gd name="connsiteX4" fmla="*/ 95196 w 1748372"/>
              <a:gd name="connsiteY4" fmla="*/ 451841 h 451841"/>
              <a:gd name="connsiteX0" fmla="*/ 95196 w 1723965"/>
              <a:gd name="connsiteY0" fmla="*/ 451841 h 451841"/>
              <a:gd name="connsiteX1" fmla="*/ 1713299 w 1723965"/>
              <a:gd name="connsiteY1" fmla="*/ 315520 h 451841"/>
              <a:gd name="connsiteX2" fmla="*/ 1723965 w 1723965"/>
              <a:gd name="connsiteY2" fmla="*/ 0 h 451841"/>
              <a:gd name="connsiteX3" fmla="*/ 0 w 1723965"/>
              <a:gd name="connsiteY3" fmla="*/ 108534 h 451841"/>
              <a:gd name="connsiteX4" fmla="*/ 95196 w 1723965"/>
              <a:gd name="connsiteY4" fmla="*/ 451841 h 451841"/>
              <a:gd name="connsiteX0" fmla="*/ 95196 w 1713299"/>
              <a:gd name="connsiteY0" fmla="*/ 455001 h 455001"/>
              <a:gd name="connsiteX1" fmla="*/ 1713299 w 1713299"/>
              <a:gd name="connsiteY1" fmla="*/ 318680 h 455001"/>
              <a:gd name="connsiteX2" fmla="*/ 1667848 w 1713299"/>
              <a:gd name="connsiteY2" fmla="*/ 0 h 455001"/>
              <a:gd name="connsiteX3" fmla="*/ 0 w 1713299"/>
              <a:gd name="connsiteY3" fmla="*/ 111694 h 455001"/>
              <a:gd name="connsiteX4" fmla="*/ 95196 w 1713299"/>
              <a:gd name="connsiteY4" fmla="*/ 455001 h 455001"/>
              <a:gd name="connsiteX0" fmla="*/ 67137 w 1685240"/>
              <a:gd name="connsiteY0" fmla="*/ 455001 h 455001"/>
              <a:gd name="connsiteX1" fmla="*/ 1685240 w 1685240"/>
              <a:gd name="connsiteY1" fmla="*/ 318680 h 455001"/>
              <a:gd name="connsiteX2" fmla="*/ 1639789 w 1685240"/>
              <a:gd name="connsiteY2" fmla="*/ 0 h 455001"/>
              <a:gd name="connsiteX3" fmla="*/ 0 w 1685240"/>
              <a:gd name="connsiteY3" fmla="*/ 130652 h 455001"/>
              <a:gd name="connsiteX4" fmla="*/ 67137 w 1685240"/>
              <a:gd name="connsiteY4" fmla="*/ 455001 h 455001"/>
              <a:gd name="connsiteX0" fmla="*/ 67137 w 1667473"/>
              <a:gd name="connsiteY0" fmla="*/ 455001 h 455001"/>
              <a:gd name="connsiteX1" fmla="*/ 1667473 w 1667473"/>
              <a:gd name="connsiteY1" fmla="*/ 242054 h 455001"/>
              <a:gd name="connsiteX2" fmla="*/ 1639789 w 1667473"/>
              <a:gd name="connsiteY2" fmla="*/ 0 h 455001"/>
              <a:gd name="connsiteX3" fmla="*/ 0 w 1667473"/>
              <a:gd name="connsiteY3" fmla="*/ 130652 h 455001"/>
              <a:gd name="connsiteX4" fmla="*/ 67137 w 1667473"/>
              <a:gd name="connsiteY4" fmla="*/ 455001 h 455001"/>
              <a:gd name="connsiteX0" fmla="*/ 100217 w 1700553"/>
              <a:gd name="connsiteY0" fmla="*/ 455001 h 455001"/>
              <a:gd name="connsiteX1" fmla="*/ 1700553 w 1700553"/>
              <a:gd name="connsiteY1" fmla="*/ 242054 h 455001"/>
              <a:gd name="connsiteX2" fmla="*/ 1672869 w 1700553"/>
              <a:gd name="connsiteY2" fmla="*/ 0 h 455001"/>
              <a:gd name="connsiteX3" fmla="*/ 0 w 1700553"/>
              <a:gd name="connsiteY3" fmla="*/ 205540 h 455001"/>
              <a:gd name="connsiteX4" fmla="*/ 100217 w 1700553"/>
              <a:gd name="connsiteY4" fmla="*/ 455001 h 455001"/>
              <a:gd name="connsiteX0" fmla="*/ 100217 w 1700553"/>
              <a:gd name="connsiteY0" fmla="*/ 366878 h 366878"/>
              <a:gd name="connsiteX1" fmla="*/ 1700553 w 1700553"/>
              <a:gd name="connsiteY1" fmla="*/ 153931 h 366878"/>
              <a:gd name="connsiteX2" fmla="*/ 1588975 w 1700553"/>
              <a:gd name="connsiteY2" fmla="*/ 0 h 366878"/>
              <a:gd name="connsiteX3" fmla="*/ 0 w 1700553"/>
              <a:gd name="connsiteY3" fmla="*/ 117417 h 366878"/>
              <a:gd name="connsiteX4" fmla="*/ 100217 w 1700553"/>
              <a:gd name="connsiteY4" fmla="*/ 366878 h 366878"/>
              <a:gd name="connsiteX0" fmla="*/ 115726 w 1700553"/>
              <a:gd name="connsiteY0" fmla="*/ 305211 h 305211"/>
              <a:gd name="connsiteX1" fmla="*/ 1700553 w 1700553"/>
              <a:gd name="connsiteY1" fmla="*/ 153931 h 305211"/>
              <a:gd name="connsiteX2" fmla="*/ 1588975 w 1700553"/>
              <a:gd name="connsiteY2" fmla="*/ 0 h 305211"/>
              <a:gd name="connsiteX3" fmla="*/ 0 w 1700553"/>
              <a:gd name="connsiteY3" fmla="*/ 117417 h 305211"/>
              <a:gd name="connsiteX4" fmla="*/ 115726 w 1700553"/>
              <a:gd name="connsiteY4" fmla="*/ 305211 h 305211"/>
              <a:gd name="connsiteX0" fmla="*/ 115726 w 1700553"/>
              <a:gd name="connsiteY0" fmla="*/ 321895 h 321895"/>
              <a:gd name="connsiteX1" fmla="*/ 1700553 w 1700553"/>
              <a:gd name="connsiteY1" fmla="*/ 170615 h 321895"/>
              <a:gd name="connsiteX2" fmla="*/ 1471607 w 1700553"/>
              <a:gd name="connsiteY2" fmla="*/ 0 h 321895"/>
              <a:gd name="connsiteX3" fmla="*/ 0 w 1700553"/>
              <a:gd name="connsiteY3" fmla="*/ 134101 h 321895"/>
              <a:gd name="connsiteX4" fmla="*/ 115726 w 1700553"/>
              <a:gd name="connsiteY4" fmla="*/ 321895 h 321895"/>
              <a:gd name="connsiteX0" fmla="*/ 115726 w 1581352"/>
              <a:gd name="connsiteY0" fmla="*/ 321895 h 321895"/>
              <a:gd name="connsiteX1" fmla="*/ 1581352 w 1581352"/>
              <a:gd name="connsiteY1" fmla="*/ 210307 h 321895"/>
              <a:gd name="connsiteX2" fmla="*/ 1471607 w 1581352"/>
              <a:gd name="connsiteY2" fmla="*/ 0 h 321895"/>
              <a:gd name="connsiteX3" fmla="*/ 0 w 1581352"/>
              <a:gd name="connsiteY3" fmla="*/ 134101 h 321895"/>
              <a:gd name="connsiteX4" fmla="*/ 115726 w 1581352"/>
              <a:gd name="connsiteY4" fmla="*/ 321895 h 321895"/>
              <a:gd name="connsiteX0" fmla="*/ 92298 w 1557924"/>
              <a:gd name="connsiteY0" fmla="*/ 321895 h 321895"/>
              <a:gd name="connsiteX1" fmla="*/ 1557924 w 1557924"/>
              <a:gd name="connsiteY1" fmla="*/ 210307 h 321895"/>
              <a:gd name="connsiteX2" fmla="*/ 1448179 w 1557924"/>
              <a:gd name="connsiteY2" fmla="*/ 0 h 321895"/>
              <a:gd name="connsiteX3" fmla="*/ 0 w 1557924"/>
              <a:gd name="connsiteY3" fmla="*/ 116473 h 321895"/>
              <a:gd name="connsiteX4" fmla="*/ 92298 w 1557924"/>
              <a:gd name="connsiteY4" fmla="*/ 321895 h 321895"/>
              <a:gd name="connsiteX0" fmla="*/ 152961 w 1557924"/>
              <a:gd name="connsiteY0" fmla="*/ 341247 h 341247"/>
              <a:gd name="connsiteX1" fmla="*/ 1557924 w 1557924"/>
              <a:gd name="connsiteY1" fmla="*/ 210307 h 341247"/>
              <a:gd name="connsiteX2" fmla="*/ 1448179 w 1557924"/>
              <a:gd name="connsiteY2" fmla="*/ 0 h 341247"/>
              <a:gd name="connsiteX3" fmla="*/ 0 w 1557924"/>
              <a:gd name="connsiteY3" fmla="*/ 116473 h 341247"/>
              <a:gd name="connsiteX4" fmla="*/ 152961 w 1557924"/>
              <a:gd name="connsiteY4" fmla="*/ 341247 h 341247"/>
              <a:gd name="connsiteX0" fmla="*/ 135357 w 1557924"/>
              <a:gd name="connsiteY0" fmla="*/ 339493 h 339493"/>
              <a:gd name="connsiteX1" fmla="*/ 1557924 w 1557924"/>
              <a:gd name="connsiteY1" fmla="*/ 210307 h 339493"/>
              <a:gd name="connsiteX2" fmla="*/ 1448179 w 1557924"/>
              <a:gd name="connsiteY2" fmla="*/ 0 h 339493"/>
              <a:gd name="connsiteX3" fmla="*/ 0 w 1557924"/>
              <a:gd name="connsiteY3" fmla="*/ 116473 h 339493"/>
              <a:gd name="connsiteX4" fmla="*/ 135357 w 1557924"/>
              <a:gd name="connsiteY4" fmla="*/ 339493 h 339493"/>
              <a:gd name="connsiteX0" fmla="*/ 109934 w 1532501"/>
              <a:gd name="connsiteY0" fmla="*/ 339493 h 339493"/>
              <a:gd name="connsiteX1" fmla="*/ 1532501 w 1532501"/>
              <a:gd name="connsiteY1" fmla="*/ 210307 h 339493"/>
              <a:gd name="connsiteX2" fmla="*/ 1422756 w 1532501"/>
              <a:gd name="connsiteY2" fmla="*/ 0 h 339493"/>
              <a:gd name="connsiteX3" fmla="*/ 0 w 1532501"/>
              <a:gd name="connsiteY3" fmla="*/ 117343 h 339493"/>
              <a:gd name="connsiteX4" fmla="*/ 109934 w 1532501"/>
              <a:gd name="connsiteY4" fmla="*/ 339493 h 339493"/>
              <a:gd name="connsiteX0" fmla="*/ 133525 w 1556092"/>
              <a:gd name="connsiteY0" fmla="*/ 339493 h 339493"/>
              <a:gd name="connsiteX1" fmla="*/ 1556092 w 1556092"/>
              <a:gd name="connsiteY1" fmla="*/ 210307 h 339493"/>
              <a:gd name="connsiteX2" fmla="*/ 1446347 w 1556092"/>
              <a:gd name="connsiteY2" fmla="*/ 0 h 339493"/>
              <a:gd name="connsiteX3" fmla="*/ 0 w 1556092"/>
              <a:gd name="connsiteY3" fmla="*/ 60098 h 339493"/>
              <a:gd name="connsiteX4" fmla="*/ 133525 w 1556092"/>
              <a:gd name="connsiteY4" fmla="*/ 339493 h 339493"/>
              <a:gd name="connsiteX0" fmla="*/ 133525 w 2343667"/>
              <a:gd name="connsiteY0" fmla="*/ 459688 h 459688"/>
              <a:gd name="connsiteX1" fmla="*/ 1556092 w 2343667"/>
              <a:gd name="connsiteY1" fmla="*/ 330502 h 459688"/>
              <a:gd name="connsiteX2" fmla="*/ 2343667 w 2343667"/>
              <a:gd name="connsiteY2" fmla="*/ 0 h 459688"/>
              <a:gd name="connsiteX3" fmla="*/ 0 w 2343667"/>
              <a:gd name="connsiteY3" fmla="*/ 180293 h 459688"/>
              <a:gd name="connsiteX4" fmla="*/ 133525 w 2343667"/>
              <a:gd name="connsiteY4" fmla="*/ 459688 h 459688"/>
              <a:gd name="connsiteX0" fmla="*/ 133525 w 2391079"/>
              <a:gd name="connsiteY0" fmla="*/ 459688 h 459688"/>
              <a:gd name="connsiteX1" fmla="*/ 2391079 w 2391079"/>
              <a:gd name="connsiteY1" fmla="*/ 322204 h 459688"/>
              <a:gd name="connsiteX2" fmla="*/ 2343667 w 2391079"/>
              <a:gd name="connsiteY2" fmla="*/ 0 h 459688"/>
              <a:gd name="connsiteX3" fmla="*/ 0 w 2391079"/>
              <a:gd name="connsiteY3" fmla="*/ 180293 h 459688"/>
              <a:gd name="connsiteX4" fmla="*/ 133525 w 2391079"/>
              <a:gd name="connsiteY4" fmla="*/ 459688 h 459688"/>
              <a:gd name="connsiteX0" fmla="*/ 159047 w 2391079"/>
              <a:gd name="connsiteY0" fmla="*/ 505482 h 505482"/>
              <a:gd name="connsiteX1" fmla="*/ 2391079 w 2391079"/>
              <a:gd name="connsiteY1" fmla="*/ 322204 h 505482"/>
              <a:gd name="connsiteX2" fmla="*/ 2343667 w 2391079"/>
              <a:gd name="connsiteY2" fmla="*/ 0 h 505482"/>
              <a:gd name="connsiteX3" fmla="*/ 0 w 2391079"/>
              <a:gd name="connsiteY3" fmla="*/ 180293 h 505482"/>
              <a:gd name="connsiteX4" fmla="*/ 159047 w 2391079"/>
              <a:gd name="connsiteY4" fmla="*/ 505482 h 505482"/>
              <a:gd name="connsiteX0" fmla="*/ 159047 w 2391079"/>
              <a:gd name="connsiteY0" fmla="*/ 518659 h 518659"/>
              <a:gd name="connsiteX1" fmla="*/ 2391079 w 2391079"/>
              <a:gd name="connsiteY1" fmla="*/ 335381 h 518659"/>
              <a:gd name="connsiteX2" fmla="*/ 2261507 w 2391079"/>
              <a:gd name="connsiteY2" fmla="*/ 0 h 518659"/>
              <a:gd name="connsiteX3" fmla="*/ 0 w 2391079"/>
              <a:gd name="connsiteY3" fmla="*/ 193470 h 518659"/>
              <a:gd name="connsiteX4" fmla="*/ 159047 w 2391079"/>
              <a:gd name="connsiteY4" fmla="*/ 518659 h 518659"/>
              <a:gd name="connsiteX0" fmla="*/ 159047 w 2513813"/>
              <a:gd name="connsiteY0" fmla="*/ 498511 h 498511"/>
              <a:gd name="connsiteX1" fmla="*/ 2391079 w 2513813"/>
              <a:gd name="connsiteY1" fmla="*/ 315233 h 498511"/>
              <a:gd name="connsiteX2" fmla="*/ 2513813 w 2513813"/>
              <a:gd name="connsiteY2" fmla="*/ 0 h 498511"/>
              <a:gd name="connsiteX3" fmla="*/ 0 w 2513813"/>
              <a:gd name="connsiteY3" fmla="*/ 173322 h 498511"/>
              <a:gd name="connsiteX4" fmla="*/ 159047 w 2513813"/>
              <a:gd name="connsiteY4" fmla="*/ 498511 h 498511"/>
              <a:gd name="connsiteX0" fmla="*/ 159047 w 2547383"/>
              <a:gd name="connsiteY0" fmla="*/ 498511 h 498511"/>
              <a:gd name="connsiteX1" fmla="*/ 2547383 w 2547383"/>
              <a:gd name="connsiteY1" fmla="*/ 252623 h 498511"/>
              <a:gd name="connsiteX2" fmla="*/ 2513813 w 2547383"/>
              <a:gd name="connsiteY2" fmla="*/ 0 h 498511"/>
              <a:gd name="connsiteX3" fmla="*/ 0 w 2547383"/>
              <a:gd name="connsiteY3" fmla="*/ 173322 h 498511"/>
              <a:gd name="connsiteX4" fmla="*/ 159047 w 2547383"/>
              <a:gd name="connsiteY4" fmla="*/ 498511 h 498511"/>
              <a:gd name="connsiteX0" fmla="*/ 164772 w 2553108"/>
              <a:gd name="connsiteY0" fmla="*/ 498511 h 498511"/>
              <a:gd name="connsiteX1" fmla="*/ 2553108 w 2553108"/>
              <a:gd name="connsiteY1" fmla="*/ 252623 h 498511"/>
              <a:gd name="connsiteX2" fmla="*/ 2519538 w 2553108"/>
              <a:gd name="connsiteY2" fmla="*/ 0 h 498511"/>
              <a:gd name="connsiteX3" fmla="*/ 0 w 2553108"/>
              <a:gd name="connsiteY3" fmla="*/ 237627 h 498511"/>
              <a:gd name="connsiteX4" fmla="*/ 164772 w 2553108"/>
              <a:gd name="connsiteY4" fmla="*/ 498511 h 498511"/>
              <a:gd name="connsiteX0" fmla="*/ 102113 w 2553108"/>
              <a:gd name="connsiteY0" fmla="*/ 460662 h 460662"/>
              <a:gd name="connsiteX1" fmla="*/ 2553108 w 2553108"/>
              <a:gd name="connsiteY1" fmla="*/ 252623 h 460662"/>
              <a:gd name="connsiteX2" fmla="*/ 2519538 w 2553108"/>
              <a:gd name="connsiteY2" fmla="*/ 0 h 460662"/>
              <a:gd name="connsiteX3" fmla="*/ 0 w 2553108"/>
              <a:gd name="connsiteY3" fmla="*/ 237627 h 460662"/>
              <a:gd name="connsiteX4" fmla="*/ 102113 w 2553108"/>
              <a:gd name="connsiteY4" fmla="*/ 460662 h 460662"/>
              <a:gd name="connsiteX0" fmla="*/ 102113 w 2553108"/>
              <a:gd name="connsiteY0" fmla="*/ 424537 h 424537"/>
              <a:gd name="connsiteX1" fmla="*/ 2553108 w 2553108"/>
              <a:gd name="connsiteY1" fmla="*/ 216498 h 424537"/>
              <a:gd name="connsiteX2" fmla="*/ 2498106 w 2553108"/>
              <a:gd name="connsiteY2" fmla="*/ 0 h 424537"/>
              <a:gd name="connsiteX3" fmla="*/ 0 w 2553108"/>
              <a:gd name="connsiteY3" fmla="*/ 201502 h 424537"/>
              <a:gd name="connsiteX4" fmla="*/ 102113 w 2553108"/>
              <a:gd name="connsiteY4" fmla="*/ 424537 h 424537"/>
              <a:gd name="connsiteX0" fmla="*/ 90333 w 2553108"/>
              <a:gd name="connsiteY0" fmla="*/ 403402 h 403402"/>
              <a:gd name="connsiteX1" fmla="*/ 2553108 w 2553108"/>
              <a:gd name="connsiteY1" fmla="*/ 216498 h 403402"/>
              <a:gd name="connsiteX2" fmla="*/ 2498106 w 2553108"/>
              <a:gd name="connsiteY2" fmla="*/ 0 h 403402"/>
              <a:gd name="connsiteX3" fmla="*/ 0 w 2553108"/>
              <a:gd name="connsiteY3" fmla="*/ 201502 h 403402"/>
              <a:gd name="connsiteX4" fmla="*/ 90333 w 2553108"/>
              <a:gd name="connsiteY4" fmla="*/ 403402 h 403402"/>
              <a:gd name="connsiteX0" fmla="*/ 60951 w 2523726"/>
              <a:gd name="connsiteY0" fmla="*/ 403402 h 403402"/>
              <a:gd name="connsiteX1" fmla="*/ 2523726 w 2523726"/>
              <a:gd name="connsiteY1" fmla="*/ 216498 h 403402"/>
              <a:gd name="connsiteX2" fmla="*/ 2468724 w 2523726"/>
              <a:gd name="connsiteY2" fmla="*/ 0 h 403402"/>
              <a:gd name="connsiteX3" fmla="*/ 0 w 2523726"/>
              <a:gd name="connsiteY3" fmla="*/ 224392 h 403402"/>
              <a:gd name="connsiteX4" fmla="*/ 60951 w 2523726"/>
              <a:gd name="connsiteY4" fmla="*/ 403402 h 40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3726" h="403402">
                <a:moveTo>
                  <a:pt x="60951" y="403402"/>
                </a:moveTo>
                <a:lnTo>
                  <a:pt x="2523726" y="216498"/>
                </a:lnTo>
                <a:lnTo>
                  <a:pt x="2468724" y="0"/>
                </a:lnTo>
                <a:lnTo>
                  <a:pt x="0" y="224392"/>
                </a:lnTo>
                <a:lnTo>
                  <a:pt x="60951" y="403402"/>
                </a:lnTo>
                <a:close/>
              </a:path>
            </a:pathLst>
          </a:custGeom>
          <a:solidFill>
            <a:srgbClr val="5C2483"/>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ysClr val="window" lastClr="FFFFFF"/>
              </a:solidFill>
              <a:effectLst/>
              <a:uLnTx/>
              <a:uFillTx/>
              <a:latin typeface="Amaranth" panose="02000503000000020004" pitchFamily="50" charset="0"/>
              <a:ea typeface="+mn-ea"/>
              <a:cs typeface="+mn-cs"/>
            </a:endParaRPr>
          </a:p>
        </p:txBody>
      </p:sp>
      <p:sp>
        <p:nvSpPr>
          <p:cNvPr id="17" name="TextBox 9">
            <a:extLst>
              <a:ext uri="{FF2B5EF4-FFF2-40B4-BE49-F238E27FC236}">
                <a16:creationId xmlns:a16="http://schemas.microsoft.com/office/drawing/2014/main" id="{FB999320-9E71-44BC-ADD8-6483E0C6394D}"/>
              </a:ext>
            </a:extLst>
          </p:cNvPr>
          <p:cNvSpPr txBox="1">
            <a:spLocks noChangeArrowheads="1"/>
          </p:cNvSpPr>
          <p:nvPr/>
        </p:nvSpPr>
        <p:spPr bwMode="auto">
          <a:xfrm>
            <a:off x="9705021" y="720366"/>
            <a:ext cx="2550786" cy="369332"/>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nl-NL"/>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prstClr val="white"/>
                </a:solidFill>
                <a:effectLst/>
                <a:uLnTx/>
                <a:uFillTx/>
                <a:latin typeface="Calibri" panose="020F050202020403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nl-BE" dirty="0">
                <a:latin typeface="Amaranth" panose="02000503000000020004" pitchFamily="50" charset="0"/>
              </a:rPr>
              <a:t>Opbouw &amp; differentiatie</a:t>
            </a:r>
          </a:p>
        </p:txBody>
      </p:sp>
    </p:spTree>
    <p:extLst>
      <p:ext uri="{BB962C8B-B14F-4D97-AF65-F5344CB8AC3E}">
        <p14:creationId xmlns:p14="http://schemas.microsoft.com/office/powerpoint/2010/main" val="1763180564"/>
      </p:ext>
    </p:extLst>
  </p:cSld>
  <p:clrMapOvr>
    <a:overrideClrMapping bg1="lt1" tx1="dk1" bg2="lt2" tx2="dk2" accent1="accent1" accent2="accent2" accent3="accent3" accent4="accent4" accent5="accent5" accent6="accent6" hlink="hlink" folHlink="folHlink"/>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hthoek 24">
            <a:extLst>
              <a:ext uri="{FF2B5EF4-FFF2-40B4-BE49-F238E27FC236}">
                <a16:creationId xmlns:a16="http://schemas.microsoft.com/office/drawing/2014/main" id="{E71006F1-4611-48F5-B20E-110F620629EC}"/>
              </a:ext>
            </a:extLst>
          </p:cNvPr>
          <p:cNvSpPr/>
          <p:nvPr/>
        </p:nvSpPr>
        <p:spPr>
          <a:xfrm>
            <a:off x="0" y="1598971"/>
            <a:ext cx="12192000" cy="4453959"/>
          </a:xfrm>
          <a:prstGeom prst="rect">
            <a:avLst/>
          </a:prstGeom>
          <a:solidFill>
            <a:srgbClr val="5C2483"/>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05" name="think-cell Slide" r:id="rId5" imgW="353" imgH="353" progId="TCLayout.ActiveDocument.1">
                  <p:embed/>
                </p:oleObj>
              </mc:Choice>
              <mc:Fallback>
                <p:oleObj name="think-cell Slide" r:id="rId5" imgW="353" imgH="353"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9" name="TextBox 11">
            <a:extLst>
              <a:ext uri="{FF2B5EF4-FFF2-40B4-BE49-F238E27FC236}">
                <a16:creationId xmlns:a16="http://schemas.microsoft.com/office/drawing/2014/main" id="{5E26A374-3A6C-4A2A-BF33-A83E7B76D642}"/>
              </a:ext>
            </a:extLst>
          </p:cNvPr>
          <p:cNvSpPr txBox="1"/>
          <p:nvPr/>
        </p:nvSpPr>
        <p:spPr>
          <a:xfrm>
            <a:off x="530629" y="314779"/>
            <a:ext cx="9231432" cy="923330"/>
          </a:xfrm>
          <a:prstGeom prst="rect">
            <a:avLst/>
          </a:prstGeom>
          <a:noFill/>
        </p:spPr>
        <p:txBody>
          <a:bodyPr wrap="square" rtlCol="0" anchor="b" anchorCtr="0">
            <a:spAutoFit/>
          </a:bodyPr>
          <a:lstStyle/>
          <a:p>
            <a:pPr>
              <a:lnSpc>
                <a:spcPct val="90000"/>
              </a:lnSpc>
              <a:tabLst>
                <a:tab pos="1971675" algn="l"/>
              </a:tabLst>
            </a:pPr>
            <a:r>
              <a:rPr lang="nl-BE" sz="4000" dirty="0">
                <a:solidFill>
                  <a:srgbClr val="5C2483"/>
                </a:solidFill>
                <a:latin typeface="Amaranth" panose="02000503000000020004" pitchFamily="50" charset="0"/>
                <a:cs typeface="Arial" panose="020B0604020202020204" pitchFamily="34" charset="0"/>
              </a:rPr>
              <a:t>Wetenschap &amp; Technologie (W&amp;T)</a:t>
            </a:r>
          </a:p>
          <a:p>
            <a:pPr>
              <a:lnSpc>
                <a:spcPct val="90000"/>
              </a:lnSpc>
              <a:tabLst>
                <a:tab pos="1971675" algn="l"/>
              </a:tabLst>
            </a:pPr>
            <a:r>
              <a:rPr lang="nl-BE" sz="2000" dirty="0">
                <a:solidFill>
                  <a:srgbClr val="5C2483"/>
                </a:solidFill>
                <a:latin typeface="Amaranth" panose="02000503000000020004" pitchFamily="50" charset="0"/>
                <a:cs typeface="Arial" panose="020B0604020202020204" pitchFamily="34" charset="0"/>
              </a:rPr>
              <a:t>=&gt; Verplicht vanaf 2020</a:t>
            </a:r>
          </a:p>
        </p:txBody>
      </p:sp>
      <p:pic>
        <p:nvPicPr>
          <p:cNvPr id="15" name="Afbeelding 14">
            <a:extLst>
              <a:ext uri="{FF2B5EF4-FFF2-40B4-BE49-F238E27FC236}">
                <a16:creationId xmlns:a16="http://schemas.microsoft.com/office/drawing/2014/main" id="{925DACE9-4A88-4679-9FA2-286FCC1F6DF1}"/>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1241707" y="6052930"/>
            <a:ext cx="661508" cy="556592"/>
          </a:xfrm>
          <a:prstGeom prst="rect">
            <a:avLst/>
          </a:prstGeom>
        </p:spPr>
      </p:pic>
      <p:sp>
        <p:nvSpPr>
          <p:cNvPr id="16" name="Freeform 41">
            <a:extLst>
              <a:ext uri="{FF2B5EF4-FFF2-40B4-BE49-F238E27FC236}">
                <a16:creationId xmlns:a16="http://schemas.microsoft.com/office/drawing/2014/main" id="{0376EA81-7E0F-444F-8F6B-790C1A5C9B3E}"/>
              </a:ext>
            </a:extLst>
          </p:cNvPr>
          <p:cNvSpPr/>
          <p:nvPr/>
        </p:nvSpPr>
        <p:spPr>
          <a:xfrm rot="845560">
            <a:off x="9576400" y="404873"/>
            <a:ext cx="2794225" cy="997712"/>
          </a:xfrm>
          <a:custGeom>
            <a:avLst/>
            <a:gdLst>
              <a:gd name="connsiteX0" fmla="*/ 45720 w 1267097"/>
              <a:gd name="connsiteY0" fmla="*/ 378823 h 378823"/>
              <a:gd name="connsiteX1" fmla="*/ 1267097 w 1267097"/>
              <a:gd name="connsiteY1" fmla="*/ 182880 h 378823"/>
              <a:gd name="connsiteX2" fmla="*/ 1267097 w 1267097"/>
              <a:gd name="connsiteY2" fmla="*/ 0 h 378823"/>
              <a:gd name="connsiteX3" fmla="*/ 0 w 1267097"/>
              <a:gd name="connsiteY3" fmla="*/ 189412 h 378823"/>
              <a:gd name="connsiteX4" fmla="*/ 45720 w 1267097"/>
              <a:gd name="connsiteY4" fmla="*/ 378823 h 378823"/>
              <a:gd name="connsiteX0" fmla="*/ 71845 w 1293222"/>
              <a:gd name="connsiteY0" fmla="*/ 378823 h 378823"/>
              <a:gd name="connsiteX1" fmla="*/ 1293222 w 1293222"/>
              <a:gd name="connsiteY1" fmla="*/ 182880 h 378823"/>
              <a:gd name="connsiteX2" fmla="*/ 1293222 w 1293222"/>
              <a:gd name="connsiteY2" fmla="*/ 0 h 378823"/>
              <a:gd name="connsiteX3" fmla="*/ 0 w 1293222"/>
              <a:gd name="connsiteY3" fmla="*/ 130629 h 378823"/>
              <a:gd name="connsiteX4" fmla="*/ 71845 w 1293222"/>
              <a:gd name="connsiteY4" fmla="*/ 378823 h 378823"/>
              <a:gd name="connsiteX0" fmla="*/ 65313 w 1293222"/>
              <a:gd name="connsiteY0" fmla="*/ 398417 h 398417"/>
              <a:gd name="connsiteX1" fmla="*/ 1293222 w 1293222"/>
              <a:gd name="connsiteY1" fmla="*/ 182880 h 398417"/>
              <a:gd name="connsiteX2" fmla="*/ 1293222 w 1293222"/>
              <a:gd name="connsiteY2" fmla="*/ 0 h 398417"/>
              <a:gd name="connsiteX3" fmla="*/ 0 w 1293222"/>
              <a:gd name="connsiteY3" fmla="*/ 130629 h 398417"/>
              <a:gd name="connsiteX4" fmla="*/ 65313 w 1293222"/>
              <a:gd name="connsiteY4" fmla="*/ 398417 h 398417"/>
              <a:gd name="connsiteX0" fmla="*/ 104663 w 1332572"/>
              <a:gd name="connsiteY0" fmla="*/ 488407 h 488407"/>
              <a:gd name="connsiteX1" fmla="*/ 1332572 w 1332572"/>
              <a:gd name="connsiteY1" fmla="*/ 272870 h 488407"/>
              <a:gd name="connsiteX2" fmla="*/ 1332572 w 1332572"/>
              <a:gd name="connsiteY2" fmla="*/ 89990 h 488407"/>
              <a:gd name="connsiteX3" fmla="*/ 0 w 1332572"/>
              <a:gd name="connsiteY3" fmla="*/ 0 h 488407"/>
              <a:gd name="connsiteX4" fmla="*/ 104663 w 1332572"/>
              <a:gd name="connsiteY4" fmla="*/ 488407 h 488407"/>
              <a:gd name="connsiteX0" fmla="*/ 58754 w 1286663"/>
              <a:gd name="connsiteY0" fmla="*/ 488407 h 488407"/>
              <a:gd name="connsiteX1" fmla="*/ 1286663 w 1286663"/>
              <a:gd name="connsiteY1" fmla="*/ 272870 h 488407"/>
              <a:gd name="connsiteX2" fmla="*/ 1286663 w 1286663"/>
              <a:gd name="connsiteY2" fmla="*/ 89990 h 488407"/>
              <a:gd name="connsiteX3" fmla="*/ 0 w 1286663"/>
              <a:gd name="connsiteY3" fmla="*/ 0 h 488407"/>
              <a:gd name="connsiteX4" fmla="*/ 58754 w 1286663"/>
              <a:gd name="connsiteY4" fmla="*/ 488407 h 488407"/>
              <a:gd name="connsiteX0" fmla="*/ 58754 w 1293221"/>
              <a:gd name="connsiteY0" fmla="*/ 574912 h 574912"/>
              <a:gd name="connsiteX1" fmla="*/ 1286663 w 1293221"/>
              <a:gd name="connsiteY1" fmla="*/ 359375 h 574912"/>
              <a:gd name="connsiteX2" fmla="*/ 1293221 w 1293221"/>
              <a:gd name="connsiteY2" fmla="*/ 0 h 574912"/>
              <a:gd name="connsiteX3" fmla="*/ 0 w 1293221"/>
              <a:gd name="connsiteY3" fmla="*/ 86505 h 574912"/>
              <a:gd name="connsiteX4" fmla="*/ 58754 w 1293221"/>
              <a:gd name="connsiteY4" fmla="*/ 574912 h 574912"/>
              <a:gd name="connsiteX0" fmla="*/ 58754 w 1470298"/>
              <a:gd name="connsiteY0" fmla="*/ 574912 h 574912"/>
              <a:gd name="connsiteX1" fmla="*/ 1470298 w 1470298"/>
              <a:gd name="connsiteY1" fmla="*/ 561083 h 574912"/>
              <a:gd name="connsiteX2" fmla="*/ 1293221 w 1470298"/>
              <a:gd name="connsiteY2" fmla="*/ 0 h 574912"/>
              <a:gd name="connsiteX3" fmla="*/ 0 w 1470298"/>
              <a:gd name="connsiteY3" fmla="*/ 86505 h 574912"/>
              <a:gd name="connsiteX4" fmla="*/ 58754 w 1470298"/>
              <a:gd name="connsiteY4" fmla="*/ 574912 h 574912"/>
              <a:gd name="connsiteX0" fmla="*/ 65313 w 1470298"/>
              <a:gd name="connsiteY0" fmla="*/ 795531 h 795531"/>
              <a:gd name="connsiteX1" fmla="*/ 1470298 w 1470298"/>
              <a:gd name="connsiteY1" fmla="*/ 561083 h 795531"/>
              <a:gd name="connsiteX2" fmla="*/ 1293221 w 1470298"/>
              <a:gd name="connsiteY2" fmla="*/ 0 h 795531"/>
              <a:gd name="connsiteX3" fmla="*/ 0 w 1470298"/>
              <a:gd name="connsiteY3" fmla="*/ 86505 h 795531"/>
              <a:gd name="connsiteX4" fmla="*/ 65313 w 1470298"/>
              <a:gd name="connsiteY4" fmla="*/ 795531 h 795531"/>
              <a:gd name="connsiteX0" fmla="*/ 65313 w 1844126"/>
              <a:gd name="connsiteY0" fmla="*/ 795531 h 795531"/>
              <a:gd name="connsiteX1" fmla="*/ 1844126 w 1844126"/>
              <a:gd name="connsiteY1" fmla="*/ 504352 h 795531"/>
              <a:gd name="connsiteX2" fmla="*/ 1293221 w 1844126"/>
              <a:gd name="connsiteY2" fmla="*/ 0 h 795531"/>
              <a:gd name="connsiteX3" fmla="*/ 0 w 1844126"/>
              <a:gd name="connsiteY3" fmla="*/ 86505 h 795531"/>
              <a:gd name="connsiteX4" fmla="*/ 65313 w 1844126"/>
              <a:gd name="connsiteY4" fmla="*/ 795531 h 795531"/>
              <a:gd name="connsiteX0" fmla="*/ 65313 w 1844126"/>
              <a:gd name="connsiteY0" fmla="*/ 845958 h 845958"/>
              <a:gd name="connsiteX1" fmla="*/ 1844126 w 1844126"/>
              <a:gd name="connsiteY1" fmla="*/ 554779 h 845958"/>
              <a:gd name="connsiteX2" fmla="*/ 1621141 w 1844126"/>
              <a:gd name="connsiteY2" fmla="*/ 0 h 845958"/>
              <a:gd name="connsiteX3" fmla="*/ 0 w 1844126"/>
              <a:gd name="connsiteY3" fmla="*/ 136932 h 845958"/>
              <a:gd name="connsiteX4" fmla="*/ 65313 w 1844126"/>
              <a:gd name="connsiteY4" fmla="*/ 845958 h 845958"/>
              <a:gd name="connsiteX0" fmla="*/ 65313 w 1844126"/>
              <a:gd name="connsiteY0" fmla="*/ 864868 h 864868"/>
              <a:gd name="connsiteX1" fmla="*/ 1844126 w 1844126"/>
              <a:gd name="connsiteY1" fmla="*/ 573689 h 864868"/>
              <a:gd name="connsiteX2" fmla="*/ 1621141 w 1844126"/>
              <a:gd name="connsiteY2" fmla="*/ 0 h 864868"/>
              <a:gd name="connsiteX3" fmla="*/ 0 w 1844126"/>
              <a:gd name="connsiteY3" fmla="*/ 155842 h 864868"/>
              <a:gd name="connsiteX4" fmla="*/ 65313 w 1844126"/>
              <a:gd name="connsiteY4" fmla="*/ 864868 h 864868"/>
              <a:gd name="connsiteX0" fmla="*/ 65313 w 1686724"/>
              <a:gd name="connsiteY0" fmla="*/ 864868 h 864868"/>
              <a:gd name="connsiteX1" fmla="*/ 1686724 w 1686724"/>
              <a:gd name="connsiteY1" fmla="*/ 561082 h 864868"/>
              <a:gd name="connsiteX2" fmla="*/ 1621141 w 1686724"/>
              <a:gd name="connsiteY2" fmla="*/ 0 h 864868"/>
              <a:gd name="connsiteX3" fmla="*/ 0 w 1686724"/>
              <a:gd name="connsiteY3" fmla="*/ 155842 h 864868"/>
              <a:gd name="connsiteX4" fmla="*/ 65313 w 1686724"/>
              <a:gd name="connsiteY4" fmla="*/ 864868 h 864868"/>
              <a:gd name="connsiteX0" fmla="*/ 39079 w 1660490"/>
              <a:gd name="connsiteY0" fmla="*/ 864868 h 864868"/>
              <a:gd name="connsiteX1" fmla="*/ 1660490 w 1660490"/>
              <a:gd name="connsiteY1" fmla="*/ 561082 h 864868"/>
              <a:gd name="connsiteX2" fmla="*/ 1594907 w 1660490"/>
              <a:gd name="connsiteY2" fmla="*/ 0 h 864868"/>
              <a:gd name="connsiteX3" fmla="*/ 0 w 1660490"/>
              <a:gd name="connsiteY3" fmla="*/ 351248 h 864868"/>
              <a:gd name="connsiteX4" fmla="*/ 39079 w 1660490"/>
              <a:gd name="connsiteY4" fmla="*/ 864868 h 864868"/>
              <a:gd name="connsiteX0" fmla="*/ 39079 w 1857243"/>
              <a:gd name="connsiteY0" fmla="*/ 719889 h 719889"/>
              <a:gd name="connsiteX1" fmla="*/ 1660490 w 1857243"/>
              <a:gd name="connsiteY1" fmla="*/ 416103 h 719889"/>
              <a:gd name="connsiteX2" fmla="*/ 1857243 w 1857243"/>
              <a:gd name="connsiteY2" fmla="*/ 0 h 719889"/>
              <a:gd name="connsiteX3" fmla="*/ 0 w 1857243"/>
              <a:gd name="connsiteY3" fmla="*/ 206269 h 719889"/>
              <a:gd name="connsiteX4" fmla="*/ 39079 w 1857243"/>
              <a:gd name="connsiteY4" fmla="*/ 719889 h 719889"/>
              <a:gd name="connsiteX0" fmla="*/ 39079 w 1909709"/>
              <a:gd name="connsiteY0" fmla="*/ 719889 h 719889"/>
              <a:gd name="connsiteX1" fmla="*/ 1909709 w 1909709"/>
              <a:gd name="connsiteY1" fmla="*/ 208090 h 719889"/>
              <a:gd name="connsiteX2" fmla="*/ 1857243 w 1909709"/>
              <a:gd name="connsiteY2" fmla="*/ 0 h 719889"/>
              <a:gd name="connsiteX3" fmla="*/ 0 w 1909709"/>
              <a:gd name="connsiteY3" fmla="*/ 206269 h 719889"/>
              <a:gd name="connsiteX4" fmla="*/ 39079 w 1909709"/>
              <a:gd name="connsiteY4" fmla="*/ 719889 h 719889"/>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206269 h 511876"/>
              <a:gd name="connsiteX4" fmla="*/ 39079 w 1909709"/>
              <a:gd name="connsiteY4" fmla="*/ 511876 h 511876"/>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121173 h 511876"/>
              <a:gd name="connsiteX4" fmla="*/ 39079 w 1909709"/>
              <a:gd name="connsiteY4" fmla="*/ 511876 h 511876"/>
              <a:gd name="connsiteX0" fmla="*/ 39079 w 1857243"/>
              <a:gd name="connsiteY0" fmla="*/ 511876 h 511876"/>
              <a:gd name="connsiteX1" fmla="*/ 1748372 w 1857243"/>
              <a:gd name="connsiteY1" fmla="*/ 309201 h 511876"/>
              <a:gd name="connsiteX2" fmla="*/ 1857243 w 1857243"/>
              <a:gd name="connsiteY2" fmla="*/ 0 h 511876"/>
              <a:gd name="connsiteX3" fmla="*/ 0 w 1857243"/>
              <a:gd name="connsiteY3" fmla="*/ 121173 h 511876"/>
              <a:gd name="connsiteX4" fmla="*/ 39079 w 1857243"/>
              <a:gd name="connsiteY4" fmla="*/ 511876 h 511876"/>
              <a:gd name="connsiteX0" fmla="*/ 39079 w 1748372"/>
              <a:gd name="connsiteY0" fmla="*/ 499237 h 499237"/>
              <a:gd name="connsiteX1" fmla="*/ 1748372 w 1748372"/>
              <a:gd name="connsiteY1" fmla="*/ 296562 h 499237"/>
              <a:gd name="connsiteX2" fmla="*/ 1723965 w 1748372"/>
              <a:gd name="connsiteY2" fmla="*/ 0 h 499237"/>
              <a:gd name="connsiteX3" fmla="*/ 0 w 1748372"/>
              <a:gd name="connsiteY3" fmla="*/ 108534 h 499237"/>
              <a:gd name="connsiteX4" fmla="*/ 39079 w 1748372"/>
              <a:gd name="connsiteY4" fmla="*/ 499237 h 499237"/>
              <a:gd name="connsiteX0" fmla="*/ 95196 w 1748372"/>
              <a:gd name="connsiteY0" fmla="*/ 451841 h 451841"/>
              <a:gd name="connsiteX1" fmla="*/ 1748372 w 1748372"/>
              <a:gd name="connsiteY1" fmla="*/ 296562 h 451841"/>
              <a:gd name="connsiteX2" fmla="*/ 1723965 w 1748372"/>
              <a:gd name="connsiteY2" fmla="*/ 0 h 451841"/>
              <a:gd name="connsiteX3" fmla="*/ 0 w 1748372"/>
              <a:gd name="connsiteY3" fmla="*/ 108534 h 451841"/>
              <a:gd name="connsiteX4" fmla="*/ 95196 w 1748372"/>
              <a:gd name="connsiteY4" fmla="*/ 451841 h 451841"/>
              <a:gd name="connsiteX0" fmla="*/ 95196 w 1723965"/>
              <a:gd name="connsiteY0" fmla="*/ 451841 h 451841"/>
              <a:gd name="connsiteX1" fmla="*/ 1713299 w 1723965"/>
              <a:gd name="connsiteY1" fmla="*/ 315520 h 451841"/>
              <a:gd name="connsiteX2" fmla="*/ 1723965 w 1723965"/>
              <a:gd name="connsiteY2" fmla="*/ 0 h 451841"/>
              <a:gd name="connsiteX3" fmla="*/ 0 w 1723965"/>
              <a:gd name="connsiteY3" fmla="*/ 108534 h 451841"/>
              <a:gd name="connsiteX4" fmla="*/ 95196 w 1723965"/>
              <a:gd name="connsiteY4" fmla="*/ 451841 h 451841"/>
              <a:gd name="connsiteX0" fmla="*/ 95196 w 1713299"/>
              <a:gd name="connsiteY0" fmla="*/ 455001 h 455001"/>
              <a:gd name="connsiteX1" fmla="*/ 1713299 w 1713299"/>
              <a:gd name="connsiteY1" fmla="*/ 318680 h 455001"/>
              <a:gd name="connsiteX2" fmla="*/ 1667848 w 1713299"/>
              <a:gd name="connsiteY2" fmla="*/ 0 h 455001"/>
              <a:gd name="connsiteX3" fmla="*/ 0 w 1713299"/>
              <a:gd name="connsiteY3" fmla="*/ 111694 h 455001"/>
              <a:gd name="connsiteX4" fmla="*/ 95196 w 1713299"/>
              <a:gd name="connsiteY4" fmla="*/ 455001 h 455001"/>
              <a:gd name="connsiteX0" fmla="*/ 67137 w 1685240"/>
              <a:gd name="connsiteY0" fmla="*/ 455001 h 455001"/>
              <a:gd name="connsiteX1" fmla="*/ 1685240 w 1685240"/>
              <a:gd name="connsiteY1" fmla="*/ 318680 h 455001"/>
              <a:gd name="connsiteX2" fmla="*/ 1639789 w 1685240"/>
              <a:gd name="connsiteY2" fmla="*/ 0 h 455001"/>
              <a:gd name="connsiteX3" fmla="*/ 0 w 1685240"/>
              <a:gd name="connsiteY3" fmla="*/ 130652 h 455001"/>
              <a:gd name="connsiteX4" fmla="*/ 67137 w 1685240"/>
              <a:gd name="connsiteY4" fmla="*/ 455001 h 455001"/>
              <a:gd name="connsiteX0" fmla="*/ 67137 w 1667473"/>
              <a:gd name="connsiteY0" fmla="*/ 455001 h 455001"/>
              <a:gd name="connsiteX1" fmla="*/ 1667473 w 1667473"/>
              <a:gd name="connsiteY1" fmla="*/ 242054 h 455001"/>
              <a:gd name="connsiteX2" fmla="*/ 1639789 w 1667473"/>
              <a:gd name="connsiteY2" fmla="*/ 0 h 455001"/>
              <a:gd name="connsiteX3" fmla="*/ 0 w 1667473"/>
              <a:gd name="connsiteY3" fmla="*/ 130652 h 455001"/>
              <a:gd name="connsiteX4" fmla="*/ 67137 w 1667473"/>
              <a:gd name="connsiteY4" fmla="*/ 455001 h 455001"/>
              <a:gd name="connsiteX0" fmla="*/ 100217 w 1700553"/>
              <a:gd name="connsiteY0" fmla="*/ 455001 h 455001"/>
              <a:gd name="connsiteX1" fmla="*/ 1700553 w 1700553"/>
              <a:gd name="connsiteY1" fmla="*/ 242054 h 455001"/>
              <a:gd name="connsiteX2" fmla="*/ 1672869 w 1700553"/>
              <a:gd name="connsiteY2" fmla="*/ 0 h 455001"/>
              <a:gd name="connsiteX3" fmla="*/ 0 w 1700553"/>
              <a:gd name="connsiteY3" fmla="*/ 205540 h 455001"/>
              <a:gd name="connsiteX4" fmla="*/ 100217 w 1700553"/>
              <a:gd name="connsiteY4" fmla="*/ 455001 h 455001"/>
              <a:gd name="connsiteX0" fmla="*/ 100217 w 1700553"/>
              <a:gd name="connsiteY0" fmla="*/ 366878 h 366878"/>
              <a:gd name="connsiteX1" fmla="*/ 1700553 w 1700553"/>
              <a:gd name="connsiteY1" fmla="*/ 153931 h 366878"/>
              <a:gd name="connsiteX2" fmla="*/ 1588975 w 1700553"/>
              <a:gd name="connsiteY2" fmla="*/ 0 h 366878"/>
              <a:gd name="connsiteX3" fmla="*/ 0 w 1700553"/>
              <a:gd name="connsiteY3" fmla="*/ 117417 h 366878"/>
              <a:gd name="connsiteX4" fmla="*/ 100217 w 1700553"/>
              <a:gd name="connsiteY4" fmla="*/ 366878 h 366878"/>
              <a:gd name="connsiteX0" fmla="*/ 115726 w 1700553"/>
              <a:gd name="connsiteY0" fmla="*/ 305211 h 305211"/>
              <a:gd name="connsiteX1" fmla="*/ 1700553 w 1700553"/>
              <a:gd name="connsiteY1" fmla="*/ 153931 h 305211"/>
              <a:gd name="connsiteX2" fmla="*/ 1588975 w 1700553"/>
              <a:gd name="connsiteY2" fmla="*/ 0 h 305211"/>
              <a:gd name="connsiteX3" fmla="*/ 0 w 1700553"/>
              <a:gd name="connsiteY3" fmla="*/ 117417 h 305211"/>
              <a:gd name="connsiteX4" fmla="*/ 115726 w 1700553"/>
              <a:gd name="connsiteY4" fmla="*/ 305211 h 305211"/>
              <a:gd name="connsiteX0" fmla="*/ 115726 w 1700553"/>
              <a:gd name="connsiteY0" fmla="*/ 321895 h 321895"/>
              <a:gd name="connsiteX1" fmla="*/ 1700553 w 1700553"/>
              <a:gd name="connsiteY1" fmla="*/ 170615 h 321895"/>
              <a:gd name="connsiteX2" fmla="*/ 1471607 w 1700553"/>
              <a:gd name="connsiteY2" fmla="*/ 0 h 321895"/>
              <a:gd name="connsiteX3" fmla="*/ 0 w 1700553"/>
              <a:gd name="connsiteY3" fmla="*/ 134101 h 321895"/>
              <a:gd name="connsiteX4" fmla="*/ 115726 w 1700553"/>
              <a:gd name="connsiteY4" fmla="*/ 321895 h 321895"/>
              <a:gd name="connsiteX0" fmla="*/ 115726 w 1581352"/>
              <a:gd name="connsiteY0" fmla="*/ 321895 h 321895"/>
              <a:gd name="connsiteX1" fmla="*/ 1581352 w 1581352"/>
              <a:gd name="connsiteY1" fmla="*/ 210307 h 321895"/>
              <a:gd name="connsiteX2" fmla="*/ 1471607 w 1581352"/>
              <a:gd name="connsiteY2" fmla="*/ 0 h 321895"/>
              <a:gd name="connsiteX3" fmla="*/ 0 w 1581352"/>
              <a:gd name="connsiteY3" fmla="*/ 134101 h 321895"/>
              <a:gd name="connsiteX4" fmla="*/ 115726 w 1581352"/>
              <a:gd name="connsiteY4" fmla="*/ 321895 h 321895"/>
              <a:gd name="connsiteX0" fmla="*/ 92298 w 1557924"/>
              <a:gd name="connsiteY0" fmla="*/ 321895 h 321895"/>
              <a:gd name="connsiteX1" fmla="*/ 1557924 w 1557924"/>
              <a:gd name="connsiteY1" fmla="*/ 210307 h 321895"/>
              <a:gd name="connsiteX2" fmla="*/ 1448179 w 1557924"/>
              <a:gd name="connsiteY2" fmla="*/ 0 h 321895"/>
              <a:gd name="connsiteX3" fmla="*/ 0 w 1557924"/>
              <a:gd name="connsiteY3" fmla="*/ 116473 h 321895"/>
              <a:gd name="connsiteX4" fmla="*/ 92298 w 1557924"/>
              <a:gd name="connsiteY4" fmla="*/ 321895 h 321895"/>
              <a:gd name="connsiteX0" fmla="*/ 152961 w 1557924"/>
              <a:gd name="connsiteY0" fmla="*/ 341247 h 341247"/>
              <a:gd name="connsiteX1" fmla="*/ 1557924 w 1557924"/>
              <a:gd name="connsiteY1" fmla="*/ 210307 h 341247"/>
              <a:gd name="connsiteX2" fmla="*/ 1448179 w 1557924"/>
              <a:gd name="connsiteY2" fmla="*/ 0 h 341247"/>
              <a:gd name="connsiteX3" fmla="*/ 0 w 1557924"/>
              <a:gd name="connsiteY3" fmla="*/ 116473 h 341247"/>
              <a:gd name="connsiteX4" fmla="*/ 152961 w 1557924"/>
              <a:gd name="connsiteY4" fmla="*/ 341247 h 341247"/>
              <a:gd name="connsiteX0" fmla="*/ 135357 w 1557924"/>
              <a:gd name="connsiteY0" fmla="*/ 339493 h 339493"/>
              <a:gd name="connsiteX1" fmla="*/ 1557924 w 1557924"/>
              <a:gd name="connsiteY1" fmla="*/ 210307 h 339493"/>
              <a:gd name="connsiteX2" fmla="*/ 1448179 w 1557924"/>
              <a:gd name="connsiteY2" fmla="*/ 0 h 339493"/>
              <a:gd name="connsiteX3" fmla="*/ 0 w 1557924"/>
              <a:gd name="connsiteY3" fmla="*/ 116473 h 339493"/>
              <a:gd name="connsiteX4" fmla="*/ 135357 w 1557924"/>
              <a:gd name="connsiteY4" fmla="*/ 339493 h 339493"/>
              <a:gd name="connsiteX0" fmla="*/ 109934 w 1532501"/>
              <a:gd name="connsiteY0" fmla="*/ 339493 h 339493"/>
              <a:gd name="connsiteX1" fmla="*/ 1532501 w 1532501"/>
              <a:gd name="connsiteY1" fmla="*/ 210307 h 339493"/>
              <a:gd name="connsiteX2" fmla="*/ 1422756 w 1532501"/>
              <a:gd name="connsiteY2" fmla="*/ 0 h 339493"/>
              <a:gd name="connsiteX3" fmla="*/ 0 w 1532501"/>
              <a:gd name="connsiteY3" fmla="*/ 117343 h 339493"/>
              <a:gd name="connsiteX4" fmla="*/ 109934 w 1532501"/>
              <a:gd name="connsiteY4" fmla="*/ 339493 h 339493"/>
              <a:gd name="connsiteX0" fmla="*/ 133525 w 1556092"/>
              <a:gd name="connsiteY0" fmla="*/ 339493 h 339493"/>
              <a:gd name="connsiteX1" fmla="*/ 1556092 w 1556092"/>
              <a:gd name="connsiteY1" fmla="*/ 210307 h 339493"/>
              <a:gd name="connsiteX2" fmla="*/ 1446347 w 1556092"/>
              <a:gd name="connsiteY2" fmla="*/ 0 h 339493"/>
              <a:gd name="connsiteX3" fmla="*/ 0 w 1556092"/>
              <a:gd name="connsiteY3" fmla="*/ 60098 h 339493"/>
              <a:gd name="connsiteX4" fmla="*/ 133525 w 1556092"/>
              <a:gd name="connsiteY4" fmla="*/ 339493 h 339493"/>
              <a:gd name="connsiteX0" fmla="*/ 133525 w 2343667"/>
              <a:gd name="connsiteY0" fmla="*/ 459688 h 459688"/>
              <a:gd name="connsiteX1" fmla="*/ 1556092 w 2343667"/>
              <a:gd name="connsiteY1" fmla="*/ 330502 h 459688"/>
              <a:gd name="connsiteX2" fmla="*/ 2343667 w 2343667"/>
              <a:gd name="connsiteY2" fmla="*/ 0 h 459688"/>
              <a:gd name="connsiteX3" fmla="*/ 0 w 2343667"/>
              <a:gd name="connsiteY3" fmla="*/ 180293 h 459688"/>
              <a:gd name="connsiteX4" fmla="*/ 133525 w 2343667"/>
              <a:gd name="connsiteY4" fmla="*/ 459688 h 459688"/>
              <a:gd name="connsiteX0" fmla="*/ 133525 w 2391079"/>
              <a:gd name="connsiteY0" fmla="*/ 459688 h 459688"/>
              <a:gd name="connsiteX1" fmla="*/ 2391079 w 2391079"/>
              <a:gd name="connsiteY1" fmla="*/ 322204 h 459688"/>
              <a:gd name="connsiteX2" fmla="*/ 2343667 w 2391079"/>
              <a:gd name="connsiteY2" fmla="*/ 0 h 459688"/>
              <a:gd name="connsiteX3" fmla="*/ 0 w 2391079"/>
              <a:gd name="connsiteY3" fmla="*/ 180293 h 459688"/>
              <a:gd name="connsiteX4" fmla="*/ 133525 w 2391079"/>
              <a:gd name="connsiteY4" fmla="*/ 459688 h 459688"/>
              <a:gd name="connsiteX0" fmla="*/ 159047 w 2391079"/>
              <a:gd name="connsiteY0" fmla="*/ 505482 h 505482"/>
              <a:gd name="connsiteX1" fmla="*/ 2391079 w 2391079"/>
              <a:gd name="connsiteY1" fmla="*/ 322204 h 505482"/>
              <a:gd name="connsiteX2" fmla="*/ 2343667 w 2391079"/>
              <a:gd name="connsiteY2" fmla="*/ 0 h 505482"/>
              <a:gd name="connsiteX3" fmla="*/ 0 w 2391079"/>
              <a:gd name="connsiteY3" fmla="*/ 180293 h 505482"/>
              <a:gd name="connsiteX4" fmla="*/ 159047 w 2391079"/>
              <a:gd name="connsiteY4" fmla="*/ 505482 h 505482"/>
              <a:gd name="connsiteX0" fmla="*/ 159047 w 2391079"/>
              <a:gd name="connsiteY0" fmla="*/ 518659 h 518659"/>
              <a:gd name="connsiteX1" fmla="*/ 2391079 w 2391079"/>
              <a:gd name="connsiteY1" fmla="*/ 335381 h 518659"/>
              <a:gd name="connsiteX2" fmla="*/ 2261507 w 2391079"/>
              <a:gd name="connsiteY2" fmla="*/ 0 h 518659"/>
              <a:gd name="connsiteX3" fmla="*/ 0 w 2391079"/>
              <a:gd name="connsiteY3" fmla="*/ 193470 h 518659"/>
              <a:gd name="connsiteX4" fmla="*/ 159047 w 2391079"/>
              <a:gd name="connsiteY4" fmla="*/ 518659 h 518659"/>
              <a:gd name="connsiteX0" fmla="*/ 159047 w 2513813"/>
              <a:gd name="connsiteY0" fmla="*/ 498511 h 498511"/>
              <a:gd name="connsiteX1" fmla="*/ 2391079 w 2513813"/>
              <a:gd name="connsiteY1" fmla="*/ 315233 h 498511"/>
              <a:gd name="connsiteX2" fmla="*/ 2513813 w 2513813"/>
              <a:gd name="connsiteY2" fmla="*/ 0 h 498511"/>
              <a:gd name="connsiteX3" fmla="*/ 0 w 2513813"/>
              <a:gd name="connsiteY3" fmla="*/ 173322 h 498511"/>
              <a:gd name="connsiteX4" fmla="*/ 159047 w 2513813"/>
              <a:gd name="connsiteY4" fmla="*/ 498511 h 498511"/>
              <a:gd name="connsiteX0" fmla="*/ 159047 w 2547383"/>
              <a:gd name="connsiteY0" fmla="*/ 498511 h 498511"/>
              <a:gd name="connsiteX1" fmla="*/ 2547383 w 2547383"/>
              <a:gd name="connsiteY1" fmla="*/ 252623 h 498511"/>
              <a:gd name="connsiteX2" fmla="*/ 2513813 w 2547383"/>
              <a:gd name="connsiteY2" fmla="*/ 0 h 498511"/>
              <a:gd name="connsiteX3" fmla="*/ 0 w 2547383"/>
              <a:gd name="connsiteY3" fmla="*/ 173322 h 498511"/>
              <a:gd name="connsiteX4" fmla="*/ 159047 w 2547383"/>
              <a:gd name="connsiteY4" fmla="*/ 498511 h 498511"/>
              <a:gd name="connsiteX0" fmla="*/ 164772 w 2553108"/>
              <a:gd name="connsiteY0" fmla="*/ 498511 h 498511"/>
              <a:gd name="connsiteX1" fmla="*/ 2553108 w 2553108"/>
              <a:gd name="connsiteY1" fmla="*/ 252623 h 498511"/>
              <a:gd name="connsiteX2" fmla="*/ 2519538 w 2553108"/>
              <a:gd name="connsiteY2" fmla="*/ 0 h 498511"/>
              <a:gd name="connsiteX3" fmla="*/ 0 w 2553108"/>
              <a:gd name="connsiteY3" fmla="*/ 237627 h 498511"/>
              <a:gd name="connsiteX4" fmla="*/ 164772 w 2553108"/>
              <a:gd name="connsiteY4" fmla="*/ 498511 h 498511"/>
              <a:gd name="connsiteX0" fmla="*/ 102113 w 2553108"/>
              <a:gd name="connsiteY0" fmla="*/ 460662 h 460662"/>
              <a:gd name="connsiteX1" fmla="*/ 2553108 w 2553108"/>
              <a:gd name="connsiteY1" fmla="*/ 252623 h 460662"/>
              <a:gd name="connsiteX2" fmla="*/ 2519538 w 2553108"/>
              <a:gd name="connsiteY2" fmla="*/ 0 h 460662"/>
              <a:gd name="connsiteX3" fmla="*/ 0 w 2553108"/>
              <a:gd name="connsiteY3" fmla="*/ 237627 h 460662"/>
              <a:gd name="connsiteX4" fmla="*/ 102113 w 2553108"/>
              <a:gd name="connsiteY4" fmla="*/ 460662 h 460662"/>
              <a:gd name="connsiteX0" fmla="*/ 102113 w 2553108"/>
              <a:gd name="connsiteY0" fmla="*/ 424537 h 424537"/>
              <a:gd name="connsiteX1" fmla="*/ 2553108 w 2553108"/>
              <a:gd name="connsiteY1" fmla="*/ 216498 h 424537"/>
              <a:gd name="connsiteX2" fmla="*/ 2498106 w 2553108"/>
              <a:gd name="connsiteY2" fmla="*/ 0 h 424537"/>
              <a:gd name="connsiteX3" fmla="*/ 0 w 2553108"/>
              <a:gd name="connsiteY3" fmla="*/ 201502 h 424537"/>
              <a:gd name="connsiteX4" fmla="*/ 102113 w 2553108"/>
              <a:gd name="connsiteY4" fmla="*/ 424537 h 424537"/>
              <a:gd name="connsiteX0" fmla="*/ 90333 w 2553108"/>
              <a:gd name="connsiteY0" fmla="*/ 403402 h 403402"/>
              <a:gd name="connsiteX1" fmla="*/ 2553108 w 2553108"/>
              <a:gd name="connsiteY1" fmla="*/ 216498 h 403402"/>
              <a:gd name="connsiteX2" fmla="*/ 2498106 w 2553108"/>
              <a:gd name="connsiteY2" fmla="*/ 0 h 403402"/>
              <a:gd name="connsiteX3" fmla="*/ 0 w 2553108"/>
              <a:gd name="connsiteY3" fmla="*/ 201502 h 403402"/>
              <a:gd name="connsiteX4" fmla="*/ 90333 w 2553108"/>
              <a:gd name="connsiteY4" fmla="*/ 403402 h 403402"/>
              <a:gd name="connsiteX0" fmla="*/ 60951 w 2523726"/>
              <a:gd name="connsiteY0" fmla="*/ 403402 h 403402"/>
              <a:gd name="connsiteX1" fmla="*/ 2523726 w 2523726"/>
              <a:gd name="connsiteY1" fmla="*/ 216498 h 403402"/>
              <a:gd name="connsiteX2" fmla="*/ 2468724 w 2523726"/>
              <a:gd name="connsiteY2" fmla="*/ 0 h 403402"/>
              <a:gd name="connsiteX3" fmla="*/ 0 w 2523726"/>
              <a:gd name="connsiteY3" fmla="*/ 224392 h 403402"/>
              <a:gd name="connsiteX4" fmla="*/ 60951 w 2523726"/>
              <a:gd name="connsiteY4" fmla="*/ 403402 h 40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3726" h="403402">
                <a:moveTo>
                  <a:pt x="60951" y="403402"/>
                </a:moveTo>
                <a:lnTo>
                  <a:pt x="2523726" y="216498"/>
                </a:lnTo>
                <a:lnTo>
                  <a:pt x="2468724" y="0"/>
                </a:lnTo>
                <a:lnTo>
                  <a:pt x="0" y="224392"/>
                </a:lnTo>
                <a:lnTo>
                  <a:pt x="60951" y="403402"/>
                </a:lnTo>
                <a:close/>
              </a:path>
            </a:pathLst>
          </a:custGeom>
          <a:solidFill>
            <a:srgbClr val="5C2483"/>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ysClr val="window" lastClr="FFFFFF"/>
              </a:solidFill>
              <a:effectLst/>
              <a:uLnTx/>
              <a:uFillTx/>
              <a:latin typeface="Amaranth" panose="02000503000000020004" pitchFamily="50" charset="0"/>
              <a:ea typeface="+mn-ea"/>
              <a:cs typeface="+mn-cs"/>
            </a:endParaRPr>
          </a:p>
        </p:txBody>
      </p:sp>
      <p:sp>
        <p:nvSpPr>
          <p:cNvPr id="17" name="TextBox 9">
            <a:extLst>
              <a:ext uri="{FF2B5EF4-FFF2-40B4-BE49-F238E27FC236}">
                <a16:creationId xmlns:a16="http://schemas.microsoft.com/office/drawing/2014/main" id="{FB999320-9E71-44BC-ADD8-6483E0C6394D}"/>
              </a:ext>
            </a:extLst>
          </p:cNvPr>
          <p:cNvSpPr txBox="1">
            <a:spLocks noChangeArrowheads="1"/>
          </p:cNvSpPr>
          <p:nvPr/>
        </p:nvSpPr>
        <p:spPr bwMode="auto">
          <a:xfrm>
            <a:off x="9705021" y="720366"/>
            <a:ext cx="2550786" cy="369332"/>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nl-NL"/>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prstClr val="white"/>
                </a:solidFill>
                <a:effectLst/>
                <a:uLnTx/>
                <a:uFillTx/>
                <a:latin typeface="Calibri" panose="020F050202020403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nl-BE" dirty="0">
                <a:latin typeface="Amaranth" panose="02000503000000020004" pitchFamily="50" charset="0"/>
              </a:rPr>
              <a:t>Opbouw &amp; differentiatie</a:t>
            </a:r>
          </a:p>
        </p:txBody>
      </p:sp>
      <p:sp>
        <p:nvSpPr>
          <p:cNvPr id="2" name="Tekstvak 1">
            <a:extLst>
              <a:ext uri="{FF2B5EF4-FFF2-40B4-BE49-F238E27FC236}">
                <a16:creationId xmlns:a16="http://schemas.microsoft.com/office/drawing/2014/main" id="{B1CE844D-B8F6-417B-ACCD-AF7F92E4C13E}"/>
              </a:ext>
            </a:extLst>
          </p:cNvPr>
          <p:cNvSpPr txBox="1"/>
          <p:nvPr/>
        </p:nvSpPr>
        <p:spPr>
          <a:xfrm>
            <a:off x="6658415" y="1779236"/>
            <a:ext cx="5569144" cy="4093428"/>
          </a:xfrm>
          <a:prstGeom prst="rect">
            <a:avLst/>
          </a:prstGeom>
          <a:noFill/>
        </p:spPr>
        <p:txBody>
          <a:bodyPr wrap="square" rtlCol="0">
            <a:spAutoFit/>
          </a:bodyPr>
          <a:lstStyle/>
          <a:p>
            <a:r>
              <a:rPr lang="nl-NL" sz="2000" b="1" dirty="0">
                <a:solidFill>
                  <a:schemeClr val="bg1"/>
                </a:solidFill>
              </a:rPr>
              <a:t>Wetenschap &amp; technologie volop in Schatkist:</a:t>
            </a:r>
          </a:p>
          <a:p>
            <a:endParaRPr lang="nl-NL" sz="2000" dirty="0">
              <a:solidFill>
                <a:schemeClr val="bg1"/>
              </a:solidFill>
            </a:endParaRPr>
          </a:p>
          <a:p>
            <a:pPr marL="285750" indent="-285750">
              <a:buFont typeface="Arial" panose="020B0604020202020204" pitchFamily="34" charset="0"/>
              <a:buChar char="•"/>
            </a:pPr>
            <a:r>
              <a:rPr lang="nl-NL" sz="2000" dirty="0">
                <a:solidFill>
                  <a:schemeClr val="bg1"/>
                </a:solidFill>
              </a:rPr>
              <a:t>De kinderen onderzoeken een probleem en ontwerpen een oplossing</a:t>
            </a:r>
          </a:p>
          <a:p>
            <a:pPr marL="285750" indent="-285750">
              <a:buFont typeface="Arial" panose="020B0604020202020204" pitchFamily="34" charset="0"/>
              <a:buChar char="•"/>
            </a:pPr>
            <a:endParaRPr lang="nl-NL" sz="2000" dirty="0">
              <a:solidFill>
                <a:schemeClr val="bg1"/>
              </a:solidFill>
            </a:endParaRPr>
          </a:p>
          <a:p>
            <a:pPr marL="285750" indent="-285750">
              <a:buFont typeface="Arial" panose="020B0604020202020204" pitchFamily="34" charset="0"/>
              <a:buChar char="•"/>
            </a:pPr>
            <a:r>
              <a:rPr lang="nl-NL" sz="2000" dirty="0">
                <a:solidFill>
                  <a:schemeClr val="bg1"/>
                </a:solidFill>
              </a:rPr>
              <a:t>Ontwikkelen van een nieuwsgierige houding en bijpassende  vaardigheden</a:t>
            </a:r>
          </a:p>
          <a:p>
            <a:endParaRPr lang="nl-NL" sz="2000" dirty="0">
              <a:solidFill>
                <a:schemeClr val="bg1"/>
              </a:solidFill>
            </a:endParaRPr>
          </a:p>
          <a:p>
            <a:pPr marL="285750" indent="-285750">
              <a:buFont typeface="Arial" panose="020B0604020202020204" pitchFamily="34" charset="0"/>
              <a:buChar char="•"/>
            </a:pPr>
            <a:r>
              <a:rPr lang="nl-NL" sz="2000" dirty="0">
                <a:solidFill>
                  <a:schemeClr val="bg1"/>
                </a:solidFill>
              </a:rPr>
              <a:t>W&amp;T vind je in alle ontwikkelingsgebieden</a:t>
            </a:r>
          </a:p>
          <a:p>
            <a:pPr marL="285750" indent="-285750">
              <a:buFont typeface="Arial" panose="020B0604020202020204" pitchFamily="34" charset="0"/>
              <a:buChar char="•"/>
            </a:pPr>
            <a:endParaRPr lang="nl-NL" sz="2000" dirty="0">
              <a:solidFill>
                <a:schemeClr val="bg1"/>
              </a:solidFill>
            </a:endParaRPr>
          </a:p>
          <a:p>
            <a:pPr marL="285750" indent="-285750">
              <a:buFont typeface="Arial" panose="020B0604020202020204" pitchFamily="34" charset="0"/>
              <a:buChar char="•"/>
            </a:pPr>
            <a:r>
              <a:rPr lang="nl-NL" sz="2000" dirty="0">
                <a:solidFill>
                  <a:schemeClr val="bg1"/>
                </a:solidFill>
              </a:rPr>
              <a:t>W&amp;T als basis voor elk anker</a:t>
            </a:r>
          </a:p>
          <a:p>
            <a:pPr marL="285750" indent="-285750">
              <a:buFont typeface="Arial" panose="020B0604020202020204" pitchFamily="34" charset="0"/>
              <a:buChar char="•"/>
            </a:pPr>
            <a:endParaRPr lang="nl-NL" sz="2000" dirty="0">
              <a:solidFill>
                <a:schemeClr val="bg1"/>
              </a:solidFill>
            </a:endParaRPr>
          </a:p>
          <a:p>
            <a:pPr marL="285750" indent="-285750">
              <a:buFont typeface="Arial" panose="020B0604020202020204" pitchFamily="34" charset="0"/>
              <a:buChar char="•"/>
            </a:pPr>
            <a:r>
              <a:rPr lang="nl-NL" sz="2000" dirty="0">
                <a:solidFill>
                  <a:schemeClr val="bg1"/>
                </a:solidFill>
              </a:rPr>
              <a:t>W&amp;T in de ontdekhoeken</a:t>
            </a:r>
          </a:p>
        </p:txBody>
      </p:sp>
      <p:pic>
        <p:nvPicPr>
          <p:cNvPr id="6" name="Afbeelding 5">
            <a:extLst>
              <a:ext uri="{FF2B5EF4-FFF2-40B4-BE49-F238E27FC236}">
                <a16:creationId xmlns:a16="http://schemas.microsoft.com/office/drawing/2014/main" id="{07267A79-FA62-4CDE-9A9C-CB96D8D7A3E9}"/>
              </a:ext>
            </a:extLst>
          </p:cNvPr>
          <p:cNvPicPr>
            <a:picLocks noChangeAspect="1"/>
          </p:cNvPicPr>
          <p:nvPr/>
        </p:nvPicPr>
        <p:blipFill>
          <a:blip r:embed="rId8"/>
          <a:stretch>
            <a:fillRect/>
          </a:stretch>
        </p:blipFill>
        <p:spPr>
          <a:xfrm>
            <a:off x="0" y="1925232"/>
            <a:ext cx="6551737" cy="3801436"/>
          </a:xfrm>
          <a:prstGeom prst="rect">
            <a:avLst/>
          </a:prstGeom>
        </p:spPr>
      </p:pic>
      <p:pic>
        <p:nvPicPr>
          <p:cNvPr id="19" name="Picture 4" descr="https://citylifepro.be/images/playbutton.png">
            <a:hlinkClick r:id="rId9"/>
            <a:extLst>
              <a:ext uri="{FF2B5EF4-FFF2-40B4-BE49-F238E27FC236}">
                <a16:creationId xmlns:a16="http://schemas.microsoft.com/office/drawing/2014/main" id="{1534DD9B-32F5-4B8F-B639-D803FA27F71C}"/>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648819" y="3510393"/>
            <a:ext cx="1437238" cy="1437238"/>
          </a:xfrm>
          <a:prstGeom prst="rect">
            <a:avLst/>
          </a:prstGeom>
          <a:noFill/>
          <a:effectLst/>
          <a:extLst>
            <a:ext uri="{909E8E84-426E-40DD-AFC4-6F175D3DCCD1}">
              <a14:hiddenFill xmlns:a14="http://schemas.microsoft.com/office/drawing/2010/main">
                <a:solidFill>
                  <a:srgbClr val="FFFFFF"/>
                </a:solidFill>
              </a14:hiddenFill>
            </a:ext>
          </a:extLst>
        </p:spPr>
      </p:pic>
      <p:sp>
        <p:nvSpPr>
          <p:cNvPr id="7" name="Rechthoek 6">
            <a:extLst>
              <a:ext uri="{FF2B5EF4-FFF2-40B4-BE49-F238E27FC236}">
                <a16:creationId xmlns:a16="http://schemas.microsoft.com/office/drawing/2014/main" id="{1C70EC9D-B45A-4743-B936-69D71C48262F}"/>
              </a:ext>
            </a:extLst>
          </p:cNvPr>
          <p:cNvSpPr/>
          <p:nvPr/>
        </p:nvSpPr>
        <p:spPr>
          <a:xfrm>
            <a:off x="126470" y="5523784"/>
            <a:ext cx="4911922" cy="69227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3" name="Tekstvak 2">
            <a:extLst>
              <a:ext uri="{FF2B5EF4-FFF2-40B4-BE49-F238E27FC236}">
                <a16:creationId xmlns:a16="http://schemas.microsoft.com/office/drawing/2014/main" id="{E004B149-24D3-49EE-8603-BBD2FB932FC7}"/>
              </a:ext>
            </a:extLst>
          </p:cNvPr>
          <p:cNvSpPr txBox="1"/>
          <p:nvPr/>
        </p:nvSpPr>
        <p:spPr>
          <a:xfrm>
            <a:off x="126470" y="5669867"/>
            <a:ext cx="4911922" cy="461665"/>
          </a:xfrm>
          <a:prstGeom prst="rect">
            <a:avLst/>
          </a:prstGeom>
          <a:noFill/>
        </p:spPr>
        <p:txBody>
          <a:bodyPr wrap="none" rtlCol="0">
            <a:spAutoFit/>
          </a:bodyPr>
          <a:lstStyle/>
          <a:p>
            <a:r>
              <a:rPr lang="nl-NL" sz="2400" b="1" dirty="0">
                <a:solidFill>
                  <a:schemeClr val="bg1"/>
                </a:solidFill>
              </a:rPr>
              <a:t>Onderzoekend en ontwerpend leren!</a:t>
            </a:r>
          </a:p>
        </p:txBody>
      </p:sp>
    </p:spTree>
    <p:extLst>
      <p:ext uri="{BB962C8B-B14F-4D97-AF65-F5344CB8AC3E}">
        <p14:creationId xmlns:p14="http://schemas.microsoft.com/office/powerpoint/2010/main" val="36307630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Afbeelding 6"/>
          <p:cNvPicPr>
            <a:picLocks noChangeAspect="1"/>
          </p:cNvPicPr>
          <p:nvPr/>
        </p:nvPicPr>
        <p:blipFill>
          <a:blip r:embed="rId2"/>
          <a:stretch>
            <a:fillRect/>
          </a:stretch>
        </p:blipFill>
        <p:spPr>
          <a:xfrm>
            <a:off x="3082655" y="1146133"/>
            <a:ext cx="6147443" cy="4107071"/>
          </a:xfrm>
          <a:prstGeom prst="roundRect">
            <a:avLst>
              <a:gd name="adj" fmla="val 4167"/>
            </a:avLst>
          </a:prstGeom>
          <a:solidFill>
            <a:srgbClr val="FFFFFF"/>
          </a:solidFill>
          <a:ln w="76200" cap="sq">
            <a:noFill/>
            <a:miter lim="800000"/>
          </a:ln>
          <a:effectLst/>
        </p:spPr>
      </p:pic>
      <p:pic>
        <p:nvPicPr>
          <p:cNvPr id="11" name="Afbeelding 10"/>
          <p:cNvPicPr>
            <a:picLocks noChangeAspect="1"/>
          </p:cNvPicPr>
          <p:nvPr/>
        </p:nvPicPr>
        <p:blipFill rotWithShape="1">
          <a:blip r:embed="rId3" cstate="print">
            <a:extLst>
              <a:ext uri="{28A0092B-C50C-407E-A947-70E740481C1C}">
                <a14:useLocalDpi xmlns:a14="http://schemas.microsoft.com/office/drawing/2010/main" val="0"/>
              </a:ext>
            </a:extLst>
          </a:blip>
          <a:srcRect t="24800" r="27079" b="62601"/>
          <a:stretch/>
        </p:blipFill>
        <p:spPr>
          <a:xfrm>
            <a:off x="3045890" y="4869160"/>
            <a:ext cx="6174884" cy="953480"/>
          </a:xfrm>
          <a:prstGeom prst="rect">
            <a:avLst/>
          </a:prstGeom>
        </p:spPr>
      </p:pic>
      <p:sp>
        <p:nvSpPr>
          <p:cNvPr id="12" name="Tekstvak 11"/>
          <p:cNvSpPr txBox="1"/>
          <p:nvPr/>
        </p:nvSpPr>
        <p:spPr>
          <a:xfrm>
            <a:off x="3110097" y="4997087"/>
            <a:ext cx="6120000" cy="666786"/>
          </a:xfrm>
          <a:prstGeom prst="rect">
            <a:avLst/>
          </a:prstGeom>
          <a:noFill/>
        </p:spPr>
        <p:txBody>
          <a:bodyPr wrap="square" rtlCol="0">
            <a:spAutoFit/>
          </a:bodyPr>
          <a:lstStyle/>
          <a:p>
            <a:pPr algn="ctr"/>
            <a:r>
              <a:rPr lang="nl-NL" sz="3733" dirty="0">
                <a:solidFill>
                  <a:schemeClr val="bg1"/>
                </a:solidFill>
                <a:latin typeface="Amaranth" panose="02000503050000020004" pitchFamily="2" charset="0"/>
              </a:rPr>
              <a:t>Routines</a:t>
            </a:r>
          </a:p>
        </p:txBody>
      </p:sp>
      <p:pic>
        <p:nvPicPr>
          <p:cNvPr id="8" name="Afbeelding 7">
            <a:extLst>
              <a:ext uri="{FF2B5EF4-FFF2-40B4-BE49-F238E27FC236}">
                <a16:creationId xmlns:a16="http://schemas.microsoft.com/office/drawing/2014/main" id="{F238804E-87E8-4765-A54D-C588E8F6C94C}"/>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1241707" y="6062869"/>
            <a:ext cx="661508" cy="556592"/>
          </a:xfrm>
          <a:prstGeom prst="rect">
            <a:avLst/>
          </a:prstGeom>
        </p:spPr>
      </p:pic>
    </p:spTree>
    <p:extLst>
      <p:ext uri="{BB962C8B-B14F-4D97-AF65-F5344CB8AC3E}">
        <p14:creationId xmlns:p14="http://schemas.microsoft.com/office/powerpoint/2010/main" val="1760895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Afbeelding 7">
            <a:extLst>
              <a:ext uri="{FF2B5EF4-FFF2-40B4-BE49-F238E27FC236}">
                <a16:creationId xmlns:a16="http://schemas.microsoft.com/office/drawing/2014/main" id="{70A51628-D520-414A-A566-64C3E8ECF577}"/>
              </a:ext>
            </a:extLst>
          </p:cNvPr>
          <p:cNvPicPr>
            <a:picLocks noChangeAspect="1"/>
          </p:cNvPicPr>
          <p:nvPr/>
        </p:nvPicPr>
        <p:blipFill rotWithShape="1">
          <a:blip r:embed="rId3"/>
          <a:srcRect t="1316" r="21705"/>
          <a:stretch/>
        </p:blipFill>
        <p:spPr>
          <a:xfrm>
            <a:off x="3855363" y="0"/>
            <a:ext cx="8336638" cy="6858000"/>
          </a:xfrm>
          <a:prstGeom prst="rect">
            <a:avLst/>
          </a:prstGeom>
        </p:spPr>
      </p:pic>
      <p:sp>
        <p:nvSpPr>
          <p:cNvPr id="2" name="Rechthoekige driehoek 1">
            <a:extLst>
              <a:ext uri="{FF2B5EF4-FFF2-40B4-BE49-F238E27FC236}">
                <a16:creationId xmlns:a16="http://schemas.microsoft.com/office/drawing/2014/main" id="{F9327B08-8EF4-46A2-9860-EEF2E13528B9}"/>
              </a:ext>
            </a:extLst>
          </p:cNvPr>
          <p:cNvSpPr/>
          <p:nvPr/>
        </p:nvSpPr>
        <p:spPr>
          <a:xfrm flipV="1">
            <a:off x="6350977" y="10"/>
            <a:ext cx="1500251" cy="6857990"/>
          </a:xfrm>
          <a:prstGeom prst="rtTriangle">
            <a:avLst/>
          </a:prstGeom>
          <a:solidFill>
            <a:srgbClr val="96C1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Amaranth" panose="02000503000000020004" pitchFamily="50" charset="0"/>
            </a:endParaRPr>
          </a:p>
        </p:txBody>
      </p:sp>
      <p:sp>
        <p:nvSpPr>
          <p:cNvPr id="3" name="Rechthoek 2">
            <a:extLst>
              <a:ext uri="{FF2B5EF4-FFF2-40B4-BE49-F238E27FC236}">
                <a16:creationId xmlns:a16="http://schemas.microsoft.com/office/drawing/2014/main" id="{A2D8D86A-900D-43EF-8FE0-E29C92BC35FA}"/>
              </a:ext>
            </a:extLst>
          </p:cNvPr>
          <p:cNvSpPr/>
          <p:nvPr/>
        </p:nvSpPr>
        <p:spPr>
          <a:xfrm>
            <a:off x="0" y="0"/>
            <a:ext cx="6350977" cy="6858000"/>
          </a:xfrm>
          <a:prstGeom prst="rect">
            <a:avLst/>
          </a:prstGeom>
          <a:solidFill>
            <a:srgbClr val="96C1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Amaranth" panose="02000503000000020004" pitchFamily="50" charset="0"/>
            </a:endParaRPr>
          </a:p>
        </p:txBody>
      </p:sp>
      <p:sp>
        <p:nvSpPr>
          <p:cNvPr id="5" name="Freeform 41">
            <a:extLst>
              <a:ext uri="{FF2B5EF4-FFF2-40B4-BE49-F238E27FC236}">
                <a16:creationId xmlns:a16="http://schemas.microsoft.com/office/drawing/2014/main" id="{20FB9955-D084-4D6A-9E57-6E984302D75E}"/>
              </a:ext>
            </a:extLst>
          </p:cNvPr>
          <p:cNvSpPr/>
          <p:nvPr/>
        </p:nvSpPr>
        <p:spPr>
          <a:xfrm rot="845560">
            <a:off x="9808864" y="330351"/>
            <a:ext cx="2496921" cy="979369"/>
          </a:xfrm>
          <a:custGeom>
            <a:avLst/>
            <a:gdLst>
              <a:gd name="connsiteX0" fmla="*/ 45720 w 1267097"/>
              <a:gd name="connsiteY0" fmla="*/ 378823 h 378823"/>
              <a:gd name="connsiteX1" fmla="*/ 1267097 w 1267097"/>
              <a:gd name="connsiteY1" fmla="*/ 182880 h 378823"/>
              <a:gd name="connsiteX2" fmla="*/ 1267097 w 1267097"/>
              <a:gd name="connsiteY2" fmla="*/ 0 h 378823"/>
              <a:gd name="connsiteX3" fmla="*/ 0 w 1267097"/>
              <a:gd name="connsiteY3" fmla="*/ 189412 h 378823"/>
              <a:gd name="connsiteX4" fmla="*/ 45720 w 1267097"/>
              <a:gd name="connsiteY4" fmla="*/ 378823 h 378823"/>
              <a:gd name="connsiteX0" fmla="*/ 71845 w 1293222"/>
              <a:gd name="connsiteY0" fmla="*/ 378823 h 378823"/>
              <a:gd name="connsiteX1" fmla="*/ 1293222 w 1293222"/>
              <a:gd name="connsiteY1" fmla="*/ 182880 h 378823"/>
              <a:gd name="connsiteX2" fmla="*/ 1293222 w 1293222"/>
              <a:gd name="connsiteY2" fmla="*/ 0 h 378823"/>
              <a:gd name="connsiteX3" fmla="*/ 0 w 1293222"/>
              <a:gd name="connsiteY3" fmla="*/ 130629 h 378823"/>
              <a:gd name="connsiteX4" fmla="*/ 71845 w 1293222"/>
              <a:gd name="connsiteY4" fmla="*/ 378823 h 378823"/>
              <a:gd name="connsiteX0" fmla="*/ 65313 w 1293222"/>
              <a:gd name="connsiteY0" fmla="*/ 398417 h 398417"/>
              <a:gd name="connsiteX1" fmla="*/ 1293222 w 1293222"/>
              <a:gd name="connsiteY1" fmla="*/ 182880 h 398417"/>
              <a:gd name="connsiteX2" fmla="*/ 1293222 w 1293222"/>
              <a:gd name="connsiteY2" fmla="*/ 0 h 398417"/>
              <a:gd name="connsiteX3" fmla="*/ 0 w 1293222"/>
              <a:gd name="connsiteY3" fmla="*/ 130629 h 398417"/>
              <a:gd name="connsiteX4" fmla="*/ 65313 w 1293222"/>
              <a:gd name="connsiteY4" fmla="*/ 398417 h 398417"/>
              <a:gd name="connsiteX0" fmla="*/ 104663 w 1332572"/>
              <a:gd name="connsiteY0" fmla="*/ 488407 h 488407"/>
              <a:gd name="connsiteX1" fmla="*/ 1332572 w 1332572"/>
              <a:gd name="connsiteY1" fmla="*/ 272870 h 488407"/>
              <a:gd name="connsiteX2" fmla="*/ 1332572 w 1332572"/>
              <a:gd name="connsiteY2" fmla="*/ 89990 h 488407"/>
              <a:gd name="connsiteX3" fmla="*/ 0 w 1332572"/>
              <a:gd name="connsiteY3" fmla="*/ 0 h 488407"/>
              <a:gd name="connsiteX4" fmla="*/ 104663 w 1332572"/>
              <a:gd name="connsiteY4" fmla="*/ 488407 h 488407"/>
              <a:gd name="connsiteX0" fmla="*/ 58754 w 1286663"/>
              <a:gd name="connsiteY0" fmla="*/ 488407 h 488407"/>
              <a:gd name="connsiteX1" fmla="*/ 1286663 w 1286663"/>
              <a:gd name="connsiteY1" fmla="*/ 272870 h 488407"/>
              <a:gd name="connsiteX2" fmla="*/ 1286663 w 1286663"/>
              <a:gd name="connsiteY2" fmla="*/ 89990 h 488407"/>
              <a:gd name="connsiteX3" fmla="*/ 0 w 1286663"/>
              <a:gd name="connsiteY3" fmla="*/ 0 h 488407"/>
              <a:gd name="connsiteX4" fmla="*/ 58754 w 1286663"/>
              <a:gd name="connsiteY4" fmla="*/ 488407 h 488407"/>
              <a:gd name="connsiteX0" fmla="*/ 58754 w 1293221"/>
              <a:gd name="connsiteY0" fmla="*/ 574912 h 574912"/>
              <a:gd name="connsiteX1" fmla="*/ 1286663 w 1293221"/>
              <a:gd name="connsiteY1" fmla="*/ 359375 h 574912"/>
              <a:gd name="connsiteX2" fmla="*/ 1293221 w 1293221"/>
              <a:gd name="connsiteY2" fmla="*/ 0 h 574912"/>
              <a:gd name="connsiteX3" fmla="*/ 0 w 1293221"/>
              <a:gd name="connsiteY3" fmla="*/ 86505 h 574912"/>
              <a:gd name="connsiteX4" fmla="*/ 58754 w 1293221"/>
              <a:gd name="connsiteY4" fmla="*/ 574912 h 574912"/>
              <a:gd name="connsiteX0" fmla="*/ 58754 w 1470298"/>
              <a:gd name="connsiteY0" fmla="*/ 574912 h 574912"/>
              <a:gd name="connsiteX1" fmla="*/ 1470298 w 1470298"/>
              <a:gd name="connsiteY1" fmla="*/ 561083 h 574912"/>
              <a:gd name="connsiteX2" fmla="*/ 1293221 w 1470298"/>
              <a:gd name="connsiteY2" fmla="*/ 0 h 574912"/>
              <a:gd name="connsiteX3" fmla="*/ 0 w 1470298"/>
              <a:gd name="connsiteY3" fmla="*/ 86505 h 574912"/>
              <a:gd name="connsiteX4" fmla="*/ 58754 w 1470298"/>
              <a:gd name="connsiteY4" fmla="*/ 574912 h 574912"/>
              <a:gd name="connsiteX0" fmla="*/ 65313 w 1470298"/>
              <a:gd name="connsiteY0" fmla="*/ 795531 h 795531"/>
              <a:gd name="connsiteX1" fmla="*/ 1470298 w 1470298"/>
              <a:gd name="connsiteY1" fmla="*/ 561083 h 795531"/>
              <a:gd name="connsiteX2" fmla="*/ 1293221 w 1470298"/>
              <a:gd name="connsiteY2" fmla="*/ 0 h 795531"/>
              <a:gd name="connsiteX3" fmla="*/ 0 w 1470298"/>
              <a:gd name="connsiteY3" fmla="*/ 86505 h 795531"/>
              <a:gd name="connsiteX4" fmla="*/ 65313 w 1470298"/>
              <a:gd name="connsiteY4" fmla="*/ 795531 h 795531"/>
              <a:gd name="connsiteX0" fmla="*/ 65313 w 1844126"/>
              <a:gd name="connsiteY0" fmla="*/ 795531 h 795531"/>
              <a:gd name="connsiteX1" fmla="*/ 1844126 w 1844126"/>
              <a:gd name="connsiteY1" fmla="*/ 504352 h 795531"/>
              <a:gd name="connsiteX2" fmla="*/ 1293221 w 1844126"/>
              <a:gd name="connsiteY2" fmla="*/ 0 h 795531"/>
              <a:gd name="connsiteX3" fmla="*/ 0 w 1844126"/>
              <a:gd name="connsiteY3" fmla="*/ 86505 h 795531"/>
              <a:gd name="connsiteX4" fmla="*/ 65313 w 1844126"/>
              <a:gd name="connsiteY4" fmla="*/ 795531 h 795531"/>
              <a:gd name="connsiteX0" fmla="*/ 65313 w 1844126"/>
              <a:gd name="connsiteY0" fmla="*/ 845958 h 845958"/>
              <a:gd name="connsiteX1" fmla="*/ 1844126 w 1844126"/>
              <a:gd name="connsiteY1" fmla="*/ 554779 h 845958"/>
              <a:gd name="connsiteX2" fmla="*/ 1621141 w 1844126"/>
              <a:gd name="connsiteY2" fmla="*/ 0 h 845958"/>
              <a:gd name="connsiteX3" fmla="*/ 0 w 1844126"/>
              <a:gd name="connsiteY3" fmla="*/ 136932 h 845958"/>
              <a:gd name="connsiteX4" fmla="*/ 65313 w 1844126"/>
              <a:gd name="connsiteY4" fmla="*/ 845958 h 845958"/>
              <a:gd name="connsiteX0" fmla="*/ 65313 w 1844126"/>
              <a:gd name="connsiteY0" fmla="*/ 864868 h 864868"/>
              <a:gd name="connsiteX1" fmla="*/ 1844126 w 1844126"/>
              <a:gd name="connsiteY1" fmla="*/ 573689 h 864868"/>
              <a:gd name="connsiteX2" fmla="*/ 1621141 w 1844126"/>
              <a:gd name="connsiteY2" fmla="*/ 0 h 864868"/>
              <a:gd name="connsiteX3" fmla="*/ 0 w 1844126"/>
              <a:gd name="connsiteY3" fmla="*/ 155842 h 864868"/>
              <a:gd name="connsiteX4" fmla="*/ 65313 w 1844126"/>
              <a:gd name="connsiteY4" fmla="*/ 864868 h 864868"/>
              <a:gd name="connsiteX0" fmla="*/ 65313 w 1686724"/>
              <a:gd name="connsiteY0" fmla="*/ 864868 h 864868"/>
              <a:gd name="connsiteX1" fmla="*/ 1686724 w 1686724"/>
              <a:gd name="connsiteY1" fmla="*/ 561082 h 864868"/>
              <a:gd name="connsiteX2" fmla="*/ 1621141 w 1686724"/>
              <a:gd name="connsiteY2" fmla="*/ 0 h 864868"/>
              <a:gd name="connsiteX3" fmla="*/ 0 w 1686724"/>
              <a:gd name="connsiteY3" fmla="*/ 155842 h 864868"/>
              <a:gd name="connsiteX4" fmla="*/ 65313 w 1686724"/>
              <a:gd name="connsiteY4" fmla="*/ 864868 h 864868"/>
              <a:gd name="connsiteX0" fmla="*/ 39079 w 1660490"/>
              <a:gd name="connsiteY0" fmla="*/ 864868 h 864868"/>
              <a:gd name="connsiteX1" fmla="*/ 1660490 w 1660490"/>
              <a:gd name="connsiteY1" fmla="*/ 561082 h 864868"/>
              <a:gd name="connsiteX2" fmla="*/ 1594907 w 1660490"/>
              <a:gd name="connsiteY2" fmla="*/ 0 h 864868"/>
              <a:gd name="connsiteX3" fmla="*/ 0 w 1660490"/>
              <a:gd name="connsiteY3" fmla="*/ 351248 h 864868"/>
              <a:gd name="connsiteX4" fmla="*/ 39079 w 1660490"/>
              <a:gd name="connsiteY4" fmla="*/ 864868 h 864868"/>
              <a:gd name="connsiteX0" fmla="*/ 39079 w 1857243"/>
              <a:gd name="connsiteY0" fmla="*/ 719889 h 719889"/>
              <a:gd name="connsiteX1" fmla="*/ 1660490 w 1857243"/>
              <a:gd name="connsiteY1" fmla="*/ 416103 h 719889"/>
              <a:gd name="connsiteX2" fmla="*/ 1857243 w 1857243"/>
              <a:gd name="connsiteY2" fmla="*/ 0 h 719889"/>
              <a:gd name="connsiteX3" fmla="*/ 0 w 1857243"/>
              <a:gd name="connsiteY3" fmla="*/ 206269 h 719889"/>
              <a:gd name="connsiteX4" fmla="*/ 39079 w 1857243"/>
              <a:gd name="connsiteY4" fmla="*/ 719889 h 719889"/>
              <a:gd name="connsiteX0" fmla="*/ 39079 w 1909709"/>
              <a:gd name="connsiteY0" fmla="*/ 719889 h 719889"/>
              <a:gd name="connsiteX1" fmla="*/ 1909709 w 1909709"/>
              <a:gd name="connsiteY1" fmla="*/ 208090 h 719889"/>
              <a:gd name="connsiteX2" fmla="*/ 1857243 w 1909709"/>
              <a:gd name="connsiteY2" fmla="*/ 0 h 719889"/>
              <a:gd name="connsiteX3" fmla="*/ 0 w 1909709"/>
              <a:gd name="connsiteY3" fmla="*/ 206269 h 719889"/>
              <a:gd name="connsiteX4" fmla="*/ 39079 w 1909709"/>
              <a:gd name="connsiteY4" fmla="*/ 719889 h 719889"/>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206269 h 511876"/>
              <a:gd name="connsiteX4" fmla="*/ 39079 w 1909709"/>
              <a:gd name="connsiteY4" fmla="*/ 511876 h 511876"/>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121173 h 511876"/>
              <a:gd name="connsiteX4" fmla="*/ 39079 w 1909709"/>
              <a:gd name="connsiteY4" fmla="*/ 511876 h 511876"/>
              <a:gd name="connsiteX0" fmla="*/ 39079 w 1857243"/>
              <a:gd name="connsiteY0" fmla="*/ 511876 h 511876"/>
              <a:gd name="connsiteX1" fmla="*/ 1748372 w 1857243"/>
              <a:gd name="connsiteY1" fmla="*/ 309201 h 511876"/>
              <a:gd name="connsiteX2" fmla="*/ 1857243 w 1857243"/>
              <a:gd name="connsiteY2" fmla="*/ 0 h 511876"/>
              <a:gd name="connsiteX3" fmla="*/ 0 w 1857243"/>
              <a:gd name="connsiteY3" fmla="*/ 121173 h 511876"/>
              <a:gd name="connsiteX4" fmla="*/ 39079 w 1857243"/>
              <a:gd name="connsiteY4" fmla="*/ 511876 h 511876"/>
              <a:gd name="connsiteX0" fmla="*/ 39079 w 1748372"/>
              <a:gd name="connsiteY0" fmla="*/ 499237 h 499237"/>
              <a:gd name="connsiteX1" fmla="*/ 1748372 w 1748372"/>
              <a:gd name="connsiteY1" fmla="*/ 296562 h 499237"/>
              <a:gd name="connsiteX2" fmla="*/ 1723965 w 1748372"/>
              <a:gd name="connsiteY2" fmla="*/ 0 h 499237"/>
              <a:gd name="connsiteX3" fmla="*/ 0 w 1748372"/>
              <a:gd name="connsiteY3" fmla="*/ 108534 h 499237"/>
              <a:gd name="connsiteX4" fmla="*/ 39079 w 1748372"/>
              <a:gd name="connsiteY4" fmla="*/ 499237 h 499237"/>
              <a:gd name="connsiteX0" fmla="*/ 95196 w 1748372"/>
              <a:gd name="connsiteY0" fmla="*/ 451841 h 451841"/>
              <a:gd name="connsiteX1" fmla="*/ 1748372 w 1748372"/>
              <a:gd name="connsiteY1" fmla="*/ 296562 h 451841"/>
              <a:gd name="connsiteX2" fmla="*/ 1723965 w 1748372"/>
              <a:gd name="connsiteY2" fmla="*/ 0 h 451841"/>
              <a:gd name="connsiteX3" fmla="*/ 0 w 1748372"/>
              <a:gd name="connsiteY3" fmla="*/ 108534 h 451841"/>
              <a:gd name="connsiteX4" fmla="*/ 95196 w 1748372"/>
              <a:gd name="connsiteY4" fmla="*/ 451841 h 451841"/>
              <a:gd name="connsiteX0" fmla="*/ 95196 w 1723965"/>
              <a:gd name="connsiteY0" fmla="*/ 451841 h 451841"/>
              <a:gd name="connsiteX1" fmla="*/ 1713299 w 1723965"/>
              <a:gd name="connsiteY1" fmla="*/ 315520 h 451841"/>
              <a:gd name="connsiteX2" fmla="*/ 1723965 w 1723965"/>
              <a:gd name="connsiteY2" fmla="*/ 0 h 451841"/>
              <a:gd name="connsiteX3" fmla="*/ 0 w 1723965"/>
              <a:gd name="connsiteY3" fmla="*/ 108534 h 451841"/>
              <a:gd name="connsiteX4" fmla="*/ 95196 w 1723965"/>
              <a:gd name="connsiteY4" fmla="*/ 451841 h 451841"/>
              <a:gd name="connsiteX0" fmla="*/ 95196 w 1713299"/>
              <a:gd name="connsiteY0" fmla="*/ 455001 h 455001"/>
              <a:gd name="connsiteX1" fmla="*/ 1713299 w 1713299"/>
              <a:gd name="connsiteY1" fmla="*/ 318680 h 455001"/>
              <a:gd name="connsiteX2" fmla="*/ 1667848 w 1713299"/>
              <a:gd name="connsiteY2" fmla="*/ 0 h 455001"/>
              <a:gd name="connsiteX3" fmla="*/ 0 w 1713299"/>
              <a:gd name="connsiteY3" fmla="*/ 111694 h 455001"/>
              <a:gd name="connsiteX4" fmla="*/ 95196 w 1713299"/>
              <a:gd name="connsiteY4" fmla="*/ 455001 h 455001"/>
              <a:gd name="connsiteX0" fmla="*/ 67137 w 1685240"/>
              <a:gd name="connsiteY0" fmla="*/ 455001 h 455001"/>
              <a:gd name="connsiteX1" fmla="*/ 1685240 w 1685240"/>
              <a:gd name="connsiteY1" fmla="*/ 318680 h 455001"/>
              <a:gd name="connsiteX2" fmla="*/ 1639789 w 1685240"/>
              <a:gd name="connsiteY2" fmla="*/ 0 h 455001"/>
              <a:gd name="connsiteX3" fmla="*/ 0 w 1685240"/>
              <a:gd name="connsiteY3" fmla="*/ 130652 h 455001"/>
              <a:gd name="connsiteX4" fmla="*/ 67137 w 1685240"/>
              <a:gd name="connsiteY4" fmla="*/ 455001 h 455001"/>
              <a:gd name="connsiteX0" fmla="*/ 67137 w 1667473"/>
              <a:gd name="connsiteY0" fmla="*/ 455001 h 455001"/>
              <a:gd name="connsiteX1" fmla="*/ 1667473 w 1667473"/>
              <a:gd name="connsiteY1" fmla="*/ 242054 h 455001"/>
              <a:gd name="connsiteX2" fmla="*/ 1639789 w 1667473"/>
              <a:gd name="connsiteY2" fmla="*/ 0 h 455001"/>
              <a:gd name="connsiteX3" fmla="*/ 0 w 1667473"/>
              <a:gd name="connsiteY3" fmla="*/ 130652 h 455001"/>
              <a:gd name="connsiteX4" fmla="*/ 67137 w 1667473"/>
              <a:gd name="connsiteY4" fmla="*/ 455001 h 455001"/>
              <a:gd name="connsiteX0" fmla="*/ 100217 w 1700553"/>
              <a:gd name="connsiteY0" fmla="*/ 455001 h 455001"/>
              <a:gd name="connsiteX1" fmla="*/ 1700553 w 1700553"/>
              <a:gd name="connsiteY1" fmla="*/ 242054 h 455001"/>
              <a:gd name="connsiteX2" fmla="*/ 1672869 w 1700553"/>
              <a:gd name="connsiteY2" fmla="*/ 0 h 455001"/>
              <a:gd name="connsiteX3" fmla="*/ 0 w 1700553"/>
              <a:gd name="connsiteY3" fmla="*/ 205540 h 455001"/>
              <a:gd name="connsiteX4" fmla="*/ 100217 w 1700553"/>
              <a:gd name="connsiteY4" fmla="*/ 455001 h 455001"/>
              <a:gd name="connsiteX0" fmla="*/ 100217 w 1700553"/>
              <a:gd name="connsiteY0" fmla="*/ 366878 h 366878"/>
              <a:gd name="connsiteX1" fmla="*/ 1700553 w 1700553"/>
              <a:gd name="connsiteY1" fmla="*/ 153931 h 366878"/>
              <a:gd name="connsiteX2" fmla="*/ 1588975 w 1700553"/>
              <a:gd name="connsiteY2" fmla="*/ 0 h 366878"/>
              <a:gd name="connsiteX3" fmla="*/ 0 w 1700553"/>
              <a:gd name="connsiteY3" fmla="*/ 117417 h 366878"/>
              <a:gd name="connsiteX4" fmla="*/ 100217 w 1700553"/>
              <a:gd name="connsiteY4" fmla="*/ 366878 h 366878"/>
              <a:gd name="connsiteX0" fmla="*/ 115726 w 1700553"/>
              <a:gd name="connsiteY0" fmla="*/ 305211 h 305211"/>
              <a:gd name="connsiteX1" fmla="*/ 1700553 w 1700553"/>
              <a:gd name="connsiteY1" fmla="*/ 153931 h 305211"/>
              <a:gd name="connsiteX2" fmla="*/ 1588975 w 1700553"/>
              <a:gd name="connsiteY2" fmla="*/ 0 h 305211"/>
              <a:gd name="connsiteX3" fmla="*/ 0 w 1700553"/>
              <a:gd name="connsiteY3" fmla="*/ 117417 h 305211"/>
              <a:gd name="connsiteX4" fmla="*/ 115726 w 1700553"/>
              <a:gd name="connsiteY4" fmla="*/ 305211 h 305211"/>
              <a:gd name="connsiteX0" fmla="*/ 115726 w 1700553"/>
              <a:gd name="connsiteY0" fmla="*/ 321895 h 321895"/>
              <a:gd name="connsiteX1" fmla="*/ 1700553 w 1700553"/>
              <a:gd name="connsiteY1" fmla="*/ 170615 h 321895"/>
              <a:gd name="connsiteX2" fmla="*/ 1471607 w 1700553"/>
              <a:gd name="connsiteY2" fmla="*/ 0 h 321895"/>
              <a:gd name="connsiteX3" fmla="*/ 0 w 1700553"/>
              <a:gd name="connsiteY3" fmla="*/ 134101 h 321895"/>
              <a:gd name="connsiteX4" fmla="*/ 115726 w 1700553"/>
              <a:gd name="connsiteY4" fmla="*/ 321895 h 321895"/>
              <a:gd name="connsiteX0" fmla="*/ 115726 w 1581352"/>
              <a:gd name="connsiteY0" fmla="*/ 321895 h 321895"/>
              <a:gd name="connsiteX1" fmla="*/ 1581352 w 1581352"/>
              <a:gd name="connsiteY1" fmla="*/ 210307 h 321895"/>
              <a:gd name="connsiteX2" fmla="*/ 1471607 w 1581352"/>
              <a:gd name="connsiteY2" fmla="*/ 0 h 321895"/>
              <a:gd name="connsiteX3" fmla="*/ 0 w 1581352"/>
              <a:gd name="connsiteY3" fmla="*/ 134101 h 321895"/>
              <a:gd name="connsiteX4" fmla="*/ 115726 w 1581352"/>
              <a:gd name="connsiteY4" fmla="*/ 321895 h 321895"/>
              <a:gd name="connsiteX0" fmla="*/ 92298 w 1557924"/>
              <a:gd name="connsiteY0" fmla="*/ 321895 h 321895"/>
              <a:gd name="connsiteX1" fmla="*/ 1557924 w 1557924"/>
              <a:gd name="connsiteY1" fmla="*/ 210307 h 321895"/>
              <a:gd name="connsiteX2" fmla="*/ 1448179 w 1557924"/>
              <a:gd name="connsiteY2" fmla="*/ 0 h 321895"/>
              <a:gd name="connsiteX3" fmla="*/ 0 w 1557924"/>
              <a:gd name="connsiteY3" fmla="*/ 116473 h 321895"/>
              <a:gd name="connsiteX4" fmla="*/ 92298 w 1557924"/>
              <a:gd name="connsiteY4" fmla="*/ 321895 h 321895"/>
              <a:gd name="connsiteX0" fmla="*/ 152961 w 1557924"/>
              <a:gd name="connsiteY0" fmla="*/ 341247 h 341247"/>
              <a:gd name="connsiteX1" fmla="*/ 1557924 w 1557924"/>
              <a:gd name="connsiteY1" fmla="*/ 210307 h 341247"/>
              <a:gd name="connsiteX2" fmla="*/ 1448179 w 1557924"/>
              <a:gd name="connsiteY2" fmla="*/ 0 h 341247"/>
              <a:gd name="connsiteX3" fmla="*/ 0 w 1557924"/>
              <a:gd name="connsiteY3" fmla="*/ 116473 h 341247"/>
              <a:gd name="connsiteX4" fmla="*/ 152961 w 1557924"/>
              <a:gd name="connsiteY4" fmla="*/ 341247 h 341247"/>
              <a:gd name="connsiteX0" fmla="*/ 135357 w 1557924"/>
              <a:gd name="connsiteY0" fmla="*/ 339493 h 339493"/>
              <a:gd name="connsiteX1" fmla="*/ 1557924 w 1557924"/>
              <a:gd name="connsiteY1" fmla="*/ 210307 h 339493"/>
              <a:gd name="connsiteX2" fmla="*/ 1448179 w 1557924"/>
              <a:gd name="connsiteY2" fmla="*/ 0 h 339493"/>
              <a:gd name="connsiteX3" fmla="*/ 0 w 1557924"/>
              <a:gd name="connsiteY3" fmla="*/ 116473 h 339493"/>
              <a:gd name="connsiteX4" fmla="*/ 135357 w 1557924"/>
              <a:gd name="connsiteY4" fmla="*/ 339493 h 339493"/>
              <a:gd name="connsiteX0" fmla="*/ 109934 w 1532501"/>
              <a:gd name="connsiteY0" fmla="*/ 339493 h 339493"/>
              <a:gd name="connsiteX1" fmla="*/ 1532501 w 1532501"/>
              <a:gd name="connsiteY1" fmla="*/ 210307 h 339493"/>
              <a:gd name="connsiteX2" fmla="*/ 1422756 w 1532501"/>
              <a:gd name="connsiteY2" fmla="*/ 0 h 339493"/>
              <a:gd name="connsiteX3" fmla="*/ 0 w 1532501"/>
              <a:gd name="connsiteY3" fmla="*/ 117343 h 339493"/>
              <a:gd name="connsiteX4" fmla="*/ 109934 w 1532501"/>
              <a:gd name="connsiteY4" fmla="*/ 339493 h 339493"/>
              <a:gd name="connsiteX0" fmla="*/ 133525 w 1556092"/>
              <a:gd name="connsiteY0" fmla="*/ 339493 h 339493"/>
              <a:gd name="connsiteX1" fmla="*/ 1556092 w 1556092"/>
              <a:gd name="connsiteY1" fmla="*/ 210307 h 339493"/>
              <a:gd name="connsiteX2" fmla="*/ 1446347 w 1556092"/>
              <a:gd name="connsiteY2" fmla="*/ 0 h 339493"/>
              <a:gd name="connsiteX3" fmla="*/ 0 w 1556092"/>
              <a:gd name="connsiteY3" fmla="*/ 60098 h 339493"/>
              <a:gd name="connsiteX4" fmla="*/ 133525 w 1556092"/>
              <a:gd name="connsiteY4" fmla="*/ 339493 h 339493"/>
              <a:gd name="connsiteX0" fmla="*/ 133525 w 2343667"/>
              <a:gd name="connsiteY0" fmla="*/ 459688 h 459688"/>
              <a:gd name="connsiteX1" fmla="*/ 1556092 w 2343667"/>
              <a:gd name="connsiteY1" fmla="*/ 330502 h 459688"/>
              <a:gd name="connsiteX2" fmla="*/ 2343667 w 2343667"/>
              <a:gd name="connsiteY2" fmla="*/ 0 h 459688"/>
              <a:gd name="connsiteX3" fmla="*/ 0 w 2343667"/>
              <a:gd name="connsiteY3" fmla="*/ 180293 h 459688"/>
              <a:gd name="connsiteX4" fmla="*/ 133525 w 2343667"/>
              <a:gd name="connsiteY4" fmla="*/ 459688 h 459688"/>
              <a:gd name="connsiteX0" fmla="*/ 133525 w 2391079"/>
              <a:gd name="connsiteY0" fmla="*/ 459688 h 459688"/>
              <a:gd name="connsiteX1" fmla="*/ 2391079 w 2391079"/>
              <a:gd name="connsiteY1" fmla="*/ 322204 h 459688"/>
              <a:gd name="connsiteX2" fmla="*/ 2343667 w 2391079"/>
              <a:gd name="connsiteY2" fmla="*/ 0 h 459688"/>
              <a:gd name="connsiteX3" fmla="*/ 0 w 2391079"/>
              <a:gd name="connsiteY3" fmla="*/ 180293 h 459688"/>
              <a:gd name="connsiteX4" fmla="*/ 133525 w 2391079"/>
              <a:gd name="connsiteY4" fmla="*/ 459688 h 459688"/>
              <a:gd name="connsiteX0" fmla="*/ 159047 w 2391079"/>
              <a:gd name="connsiteY0" fmla="*/ 505482 h 505482"/>
              <a:gd name="connsiteX1" fmla="*/ 2391079 w 2391079"/>
              <a:gd name="connsiteY1" fmla="*/ 322204 h 505482"/>
              <a:gd name="connsiteX2" fmla="*/ 2343667 w 2391079"/>
              <a:gd name="connsiteY2" fmla="*/ 0 h 505482"/>
              <a:gd name="connsiteX3" fmla="*/ 0 w 2391079"/>
              <a:gd name="connsiteY3" fmla="*/ 180293 h 505482"/>
              <a:gd name="connsiteX4" fmla="*/ 159047 w 2391079"/>
              <a:gd name="connsiteY4" fmla="*/ 505482 h 505482"/>
              <a:gd name="connsiteX0" fmla="*/ 159047 w 2391079"/>
              <a:gd name="connsiteY0" fmla="*/ 518659 h 518659"/>
              <a:gd name="connsiteX1" fmla="*/ 2391079 w 2391079"/>
              <a:gd name="connsiteY1" fmla="*/ 335381 h 518659"/>
              <a:gd name="connsiteX2" fmla="*/ 2261507 w 2391079"/>
              <a:gd name="connsiteY2" fmla="*/ 0 h 518659"/>
              <a:gd name="connsiteX3" fmla="*/ 0 w 2391079"/>
              <a:gd name="connsiteY3" fmla="*/ 193470 h 518659"/>
              <a:gd name="connsiteX4" fmla="*/ 159047 w 2391079"/>
              <a:gd name="connsiteY4" fmla="*/ 518659 h 518659"/>
              <a:gd name="connsiteX0" fmla="*/ 159047 w 2513813"/>
              <a:gd name="connsiteY0" fmla="*/ 498511 h 498511"/>
              <a:gd name="connsiteX1" fmla="*/ 2391079 w 2513813"/>
              <a:gd name="connsiteY1" fmla="*/ 315233 h 498511"/>
              <a:gd name="connsiteX2" fmla="*/ 2513813 w 2513813"/>
              <a:gd name="connsiteY2" fmla="*/ 0 h 498511"/>
              <a:gd name="connsiteX3" fmla="*/ 0 w 2513813"/>
              <a:gd name="connsiteY3" fmla="*/ 173322 h 498511"/>
              <a:gd name="connsiteX4" fmla="*/ 159047 w 2513813"/>
              <a:gd name="connsiteY4" fmla="*/ 498511 h 498511"/>
              <a:gd name="connsiteX0" fmla="*/ 159047 w 2547383"/>
              <a:gd name="connsiteY0" fmla="*/ 498511 h 498511"/>
              <a:gd name="connsiteX1" fmla="*/ 2547383 w 2547383"/>
              <a:gd name="connsiteY1" fmla="*/ 252623 h 498511"/>
              <a:gd name="connsiteX2" fmla="*/ 2513813 w 2547383"/>
              <a:gd name="connsiteY2" fmla="*/ 0 h 498511"/>
              <a:gd name="connsiteX3" fmla="*/ 0 w 2547383"/>
              <a:gd name="connsiteY3" fmla="*/ 173322 h 498511"/>
              <a:gd name="connsiteX4" fmla="*/ 159047 w 2547383"/>
              <a:gd name="connsiteY4" fmla="*/ 498511 h 498511"/>
              <a:gd name="connsiteX0" fmla="*/ 164772 w 2553108"/>
              <a:gd name="connsiteY0" fmla="*/ 498511 h 498511"/>
              <a:gd name="connsiteX1" fmla="*/ 2553108 w 2553108"/>
              <a:gd name="connsiteY1" fmla="*/ 252623 h 498511"/>
              <a:gd name="connsiteX2" fmla="*/ 2519538 w 2553108"/>
              <a:gd name="connsiteY2" fmla="*/ 0 h 498511"/>
              <a:gd name="connsiteX3" fmla="*/ 0 w 2553108"/>
              <a:gd name="connsiteY3" fmla="*/ 237627 h 498511"/>
              <a:gd name="connsiteX4" fmla="*/ 164772 w 2553108"/>
              <a:gd name="connsiteY4" fmla="*/ 498511 h 498511"/>
              <a:gd name="connsiteX0" fmla="*/ 102113 w 2553108"/>
              <a:gd name="connsiteY0" fmla="*/ 460662 h 460662"/>
              <a:gd name="connsiteX1" fmla="*/ 2553108 w 2553108"/>
              <a:gd name="connsiteY1" fmla="*/ 252623 h 460662"/>
              <a:gd name="connsiteX2" fmla="*/ 2519538 w 2553108"/>
              <a:gd name="connsiteY2" fmla="*/ 0 h 460662"/>
              <a:gd name="connsiteX3" fmla="*/ 0 w 2553108"/>
              <a:gd name="connsiteY3" fmla="*/ 237627 h 460662"/>
              <a:gd name="connsiteX4" fmla="*/ 102113 w 2553108"/>
              <a:gd name="connsiteY4" fmla="*/ 460662 h 460662"/>
              <a:gd name="connsiteX0" fmla="*/ 102113 w 2553108"/>
              <a:gd name="connsiteY0" fmla="*/ 424537 h 424537"/>
              <a:gd name="connsiteX1" fmla="*/ 2553108 w 2553108"/>
              <a:gd name="connsiteY1" fmla="*/ 216498 h 424537"/>
              <a:gd name="connsiteX2" fmla="*/ 2498106 w 2553108"/>
              <a:gd name="connsiteY2" fmla="*/ 0 h 424537"/>
              <a:gd name="connsiteX3" fmla="*/ 0 w 2553108"/>
              <a:gd name="connsiteY3" fmla="*/ 201502 h 424537"/>
              <a:gd name="connsiteX4" fmla="*/ 102113 w 2553108"/>
              <a:gd name="connsiteY4" fmla="*/ 424537 h 424537"/>
              <a:gd name="connsiteX0" fmla="*/ 90333 w 2553108"/>
              <a:gd name="connsiteY0" fmla="*/ 403402 h 403402"/>
              <a:gd name="connsiteX1" fmla="*/ 2553108 w 2553108"/>
              <a:gd name="connsiteY1" fmla="*/ 216498 h 403402"/>
              <a:gd name="connsiteX2" fmla="*/ 2498106 w 2553108"/>
              <a:gd name="connsiteY2" fmla="*/ 0 h 403402"/>
              <a:gd name="connsiteX3" fmla="*/ 0 w 2553108"/>
              <a:gd name="connsiteY3" fmla="*/ 201502 h 403402"/>
              <a:gd name="connsiteX4" fmla="*/ 90333 w 2553108"/>
              <a:gd name="connsiteY4" fmla="*/ 403402 h 403402"/>
              <a:gd name="connsiteX0" fmla="*/ 60951 w 2523726"/>
              <a:gd name="connsiteY0" fmla="*/ 403402 h 403402"/>
              <a:gd name="connsiteX1" fmla="*/ 2523726 w 2523726"/>
              <a:gd name="connsiteY1" fmla="*/ 216498 h 403402"/>
              <a:gd name="connsiteX2" fmla="*/ 2468724 w 2523726"/>
              <a:gd name="connsiteY2" fmla="*/ 0 h 403402"/>
              <a:gd name="connsiteX3" fmla="*/ 0 w 2523726"/>
              <a:gd name="connsiteY3" fmla="*/ 224392 h 403402"/>
              <a:gd name="connsiteX4" fmla="*/ 60951 w 2523726"/>
              <a:gd name="connsiteY4" fmla="*/ 403402 h 40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3726" h="403402">
                <a:moveTo>
                  <a:pt x="60951" y="403402"/>
                </a:moveTo>
                <a:lnTo>
                  <a:pt x="2523726" y="216498"/>
                </a:lnTo>
                <a:lnTo>
                  <a:pt x="2468724" y="0"/>
                </a:lnTo>
                <a:lnTo>
                  <a:pt x="0" y="224392"/>
                </a:lnTo>
                <a:lnTo>
                  <a:pt x="60951" y="403402"/>
                </a:lnTo>
                <a:close/>
              </a:path>
            </a:pathLst>
          </a:custGeom>
          <a:solidFill>
            <a:srgbClr val="96C1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latin typeface="Amaranth" panose="02000503000000020004" pitchFamily="50" charset="0"/>
            </a:endParaRPr>
          </a:p>
        </p:txBody>
      </p:sp>
      <p:sp>
        <p:nvSpPr>
          <p:cNvPr id="6" name="TextBox 9">
            <a:extLst>
              <a:ext uri="{FF2B5EF4-FFF2-40B4-BE49-F238E27FC236}">
                <a16:creationId xmlns:a16="http://schemas.microsoft.com/office/drawing/2014/main" id="{9B832288-0203-4382-8E0B-64F0CD6C41F8}"/>
              </a:ext>
            </a:extLst>
          </p:cNvPr>
          <p:cNvSpPr txBox="1">
            <a:spLocks noChangeArrowheads="1"/>
          </p:cNvSpPr>
          <p:nvPr/>
        </p:nvSpPr>
        <p:spPr bwMode="auto">
          <a:xfrm>
            <a:off x="9983894" y="635370"/>
            <a:ext cx="2403551"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algn="ctr">
              <a:defRPr>
                <a:solidFill>
                  <a:schemeClr val="lt1"/>
                </a:solidFill>
                <a:latin typeface="Amaranth" panose="02000503000000020004" pitchFamily="50"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nl-BE" dirty="0"/>
              <a:t>Routines</a:t>
            </a:r>
          </a:p>
        </p:txBody>
      </p:sp>
      <p:sp>
        <p:nvSpPr>
          <p:cNvPr id="7" name="Rechthoek 12">
            <a:extLst>
              <a:ext uri="{FF2B5EF4-FFF2-40B4-BE49-F238E27FC236}">
                <a16:creationId xmlns:a16="http://schemas.microsoft.com/office/drawing/2014/main" id="{378B92CC-8675-446E-885E-9E4CB802EE11}"/>
              </a:ext>
            </a:extLst>
          </p:cNvPr>
          <p:cNvSpPr/>
          <p:nvPr/>
        </p:nvSpPr>
        <p:spPr>
          <a:xfrm>
            <a:off x="588776" y="454113"/>
            <a:ext cx="6738913" cy="707870"/>
          </a:xfrm>
          <a:prstGeom prst="rect">
            <a:avLst/>
          </a:prstGeom>
          <a:noFill/>
          <a:ln>
            <a:noFill/>
          </a:ln>
        </p:spPr>
        <p:txBody>
          <a:bodyPr wrap="square" lIns="91424" tIns="45712" rIns="91424" bIns="45712">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4000" b="0" i="0" u="none" strike="noStrike" kern="1200" cap="none" spc="0" normalizeH="0" baseline="0" noProof="0" dirty="0">
                <a:ln>
                  <a:noFill/>
                </a:ln>
                <a:solidFill>
                  <a:prstClr val="white"/>
                </a:solidFill>
                <a:effectLst/>
                <a:uLnTx/>
                <a:uFillTx/>
                <a:latin typeface="Amaranth" panose="02000503000000020004" pitchFamily="50" charset="0"/>
                <a:ea typeface="+mn-ea"/>
                <a:cs typeface="Arial" panose="020B0604020202020204" pitchFamily="34" charset="0"/>
              </a:rPr>
              <a:t>Routine – Rekenen </a:t>
            </a:r>
          </a:p>
        </p:txBody>
      </p:sp>
      <p:sp>
        <p:nvSpPr>
          <p:cNvPr id="16" name="Rechthoek 15">
            <a:extLst>
              <a:ext uri="{FF2B5EF4-FFF2-40B4-BE49-F238E27FC236}">
                <a16:creationId xmlns:a16="http://schemas.microsoft.com/office/drawing/2014/main" id="{2EFDC5F5-4E46-4277-BB23-09DCDEEEA9AF}"/>
              </a:ext>
            </a:extLst>
          </p:cNvPr>
          <p:cNvSpPr/>
          <p:nvPr/>
        </p:nvSpPr>
        <p:spPr>
          <a:xfrm>
            <a:off x="588777" y="1616086"/>
            <a:ext cx="5480554" cy="4216539"/>
          </a:xfrm>
          <a:prstGeom prst="rect">
            <a:avLst/>
          </a:prstGeom>
        </p:spPr>
        <p:txBody>
          <a:bodyPr wrap="square">
            <a:spAutoFit/>
          </a:bodyPr>
          <a:lstStyle/>
          <a:p>
            <a:pPr marL="457189" indent="-457189">
              <a:lnSpc>
                <a:spcPct val="150000"/>
              </a:lnSpc>
              <a:buFont typeface="Arial" panose="020B0604020202020204" pitchFamily="34" charset="0"/>
              <a:buChar char="•"/>
              <a:defRPr/>
            </a:pPr>
            <a:r>
              <a:rPr lang="nl-NL" sz="2400" dirty="0">
                <a:solidFill>
                  <a:prstClr val="white"/>
                </a:solidFill>
                <a:latin typeface="Calibri" panose="020F0502020204030204"/>
              </a:rPr>
              <a:t>Rekenschatten i.c.m. de getallenwand</a:t>
            </a:r>
          </a:p>
          <a:p>
            <a:pPr marL="457189" indent="-457189">
              <a:lnSpc>
                <a:spcPct val="150000"/>
              </a:lnSpc>
              <a:buFont typeface="Arial" panose="020B0604020202020204" pitchFamily="34" charset="0"/>
              <a:buChar char="•"/>
              <a:defRPr/>
            </a:pPr>
            <a:endParaRPr lang="nl-NL" sz="2400" dirty="0">
              <a:solidFill>
                <a:prstClr val="white"/>
              </a:solidFill>
              <a:latin typeface="Calibri" panose="020F0502020204030204"/>
            </a:endParaRPr>
          </a:p>
          <a:p>
            <a:pPr marL="457189" indent="-457189">
              <a:lnSpc>
                <a:spcPct val="150000"/>
              </a:lnSpc>
              <a:buFont typeface="Arial" panose="020B0604020202020204" pitchFamily="34" charset="0"/>
              <a:buChar char="•"/>
              <a:defRPr/>
            </a:pPr>
            <a:r>
              <a:rPr lang="nl-NL" sz="2400" dirty="0">
                <a:solidFill>
                  <a:prstClr val="white"/>
                </a:solidFill>
                <a:latin typeface="Calibri" panose="020F0502020204030204"/>
              </a:rPr>
              <a:t>Welke dag is het? </a:t>
            </a:r>
          </a:p>
          <a:p>
            <a:pPr marL="800100" lvl="1" indent="-342900">
              <a:buFont typeface="Arial" panose="020B0604020202020204" pitchFamily="34" charset="0"/>
              <a:buChar char="•"/>
              <a:defRPr/>
            </a:pPr>
            <a:r>
              <a:rPr lang="nl-NL" sz="2400" dirty="0">
                <a:solidFill>
                  <a:prstClr val="white"/>
                </a:solidFill>
                <a:latin typeface="Calibri" panose="020F0502020204030204"/>
              </a:rPr>
              <a:t>Weekkalender </a:t>
            </a:r>
          </a:p>
          <a:p>
            <a:pPr marL="800100" lvl="1" indent="-342900">
              <a:buFont typeface="Arial" panose="020B0604020202020204" pitchFamily="34" charset="0"/>
              <a:buChar char="•"/>
              <a:defRPr/>
            </a:pPr>
            <a:r>
              <a:rPr lang="nl-NL" sz="2400" dirty="0">
                <a:solidFill>
                  <a:prstClr val="white"/>
                </a:solidFill>
                <a:latin typeface="Calibri" panose="020F0502020204030204"/>
              </a:rPr>
              <a:t>Jaarkalender</a:t>
            </a:r>
          </a:p>
          <a:p>
            <a:pPr marL="457189" indent="-457189">
              <a:lnSpc>
                <a:spcPct val="150000"/>
              </a:lnSpc>
              <a:buFont typeface="Arial" panose="020B0604020202020204" pitchFamily="34" charset="0"/>
              <a:buChar char="•"/>
              <a:defRPr/>
            </a:pPr>
            <a:endParaRPr lang="nl-NL" sz="2400" dirty="0">
              <a:solidFill>
                <a:prstClr val="white"/>
              </a:solidFill>
              <a:latin typeface="Calibri" panose="020F0502020204030204"/>
            </a:endParaRPr>
          </a:p>
          <a:p>
            <a:pPr marL="457189" indent="-457189">
              <a:buFont typeface="Arial" panose="020B0604020202020204" pitchFamily="34" charset="0"/>
              <a:buChar char="•"/>
              <a:defRPr/>
            </a:pPr>
            <a:r>
              <a:rPr lang="nl-NL" sz="2400" dirty="0">
                <a:solidFill>
                  <a:prstClr val="white"/>
                </a:solidFill>
                <a:latin typeface="Calibri" panose="020F0502020204030204"/>
              </a:rPr>
              <a:t>Ook een </a:t>
            </a:r>
            <a:r>
              <a:rPr lang="nl-NL" sz="2400" u="sng" dirty="0">
                <a:solidFill>
                  <a:prstClr val="white"/>
                </a:solidFill>
                <a:latin typeface="Calibri" panose="020F0502020204030204"/>
              </a:rPr>
              <a:t>niet</a:t>
            </a:r>
            <a:r>
              <a:rPr lang="nl-NL" sz="2400" dirty="0">
                <a:solidFill>
                  <a:prstClr val="white"/>
                </a:solidFill>
                <a:latin typeface="Calibri" panose="020F0502020204030204"/>
              </a:rPr>
              <a:t> rekendomein kan rekenen bevatten</a:t>
            </a:r>
          </a:p>
          <a:p>
            <a:pPr>
              <a:buClr>
                <a:srgbClr val="002060"/>
              </a:buClr>
            </a:pPr>
            <a:endParaRPr lang="nl-NL" sz="2800" dirty="0">
              <a:solidFill>
                <a:srgbClr val="002060"/>
              </a:solidFill>
              <a:latin typeface="Arial" panose="020B0604020202020204" pitchFamily="34" charset="0"/>
              <a:cs typeface="Arial" panose="020B0604020202020204" pitchFamily="34" charset="0"/>
            </a:endParaRPr>
          </a:p>
        </p:txBody>
      </p:sp>
      <p:pic>
        <p:nvPicPr>
          <p:cNvPr id="18" name="Afbeelding 17">
            <a:extLst>
              <a:ext uri="{FF2B5EF4-FFF2-40B4-BE49-F238E27FC236}">
                <a16:creationId xmlns:a16="http://schemas.microsoft.com/office/drawing/2014/main" id="{02A2A2F7-A6AD-49A8-9D58-2B729AAE80D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294831" y="6164016"/>
            <a:ext cx="724228" cy="563044"/>
          </a:xfrm>
          <a:prstGeom prst="rect">
            <a:avLst/>
          </a:prstGeom>
        </p:spPr>
      </p:pic>
      <p:pic>
        <p:nvPicPr>
          <p:cNvPr id="10" name="Picture 4" descr="https://citylifepro.be/images/playbutton.png">
            <a:hlinkClick r:id="rId6"/>
            <a:extLst>
              <a:ext uri="{FF2B5EF4-FFF2-40B4-BE49-F238E27FC236}">
                <a16:creationId xmlns:a16="http://schemas.microsoft.com/office/drawing/2014/main" id="{5D606243-F209-4B02-ACCC-ED62495AFD1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023682" y="3429000"/>
            <a:ext cx="1437238" cy="1437238"/>
          </a:xfrm>
          <a:prstGeom prst="rect">
            <a:avLst/>
          </a:prstGeom>
          <a:noFill/>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48500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41">
            <a:extLst>
              <a:ext uri="{FF2B5EF4-FFF2-40B4-BE49-F238E27FC236}">
                <a16:creationId xmlns:a16="http://schemas.microsoft.com/office/drawing/2014/main" id="{20FB9955-D084-4D6A-9E57-6E984302D75E}"/>
              </a:ext>
            </a:extLst>
          </p:cNvPr>
          <p:cNvSpPr/>
          <p:nvPr/>
        </p:nvSpPr>
        <p:spPr>
          <a:xfrm rot="845560">
            <a:off x="9808864" y="330351"/>
            <a:ext cx="2496921" cy="979369"/>
          </a:xfrm>
          <a:custGeom>
            <a:avLst/>
            <a:gdLst>
              <a:gd name="connsiteX0" fmla="*/ 45720 w 1267097"/>
              <a:gd name="connsiteY0" fmla="*/ 378823 h 378823"/>
              <a:gd name="connsiteX1" fmla="*/ 1267097 w 1267097"/>
              <a:gd name="connsiteY1" fmla="*/ 182880 h 378823"/>
              <a:gd name="connsiteX2" fmla="*/ 1267097 w 1267097"/>
              <a:gd name="connsiteY2" fmla="*/ 0 h 378823"/>
              <a:gd name="connsiteX3" fmla="*/ 0 w 1267097"/>
              <a:gd name="connsiteY3" fmla="*/ 189412 h 378823"/>
              <a:gd name="connsiteX4" fmla="*/ 45720 w 1267097"/>
              <a:gd name="connsiteY4" fmla="*/ 378823 h 378823"/>
              <a:gd name="connsiteX0" fmla="*/ 71845 w 1293222"/>
              <a:gd name="connsiteY0" fmla="*/ 378823 h 378823"/>
              <a:gd name="connsiteX1" fmla="*/ 1293222 w 1293222"/>
              <a:gd name="connsiteY1" fmla="*/ 182880 h 378823"/>
              <a:gd name="connsiteX2" fmla="*/ 1293222 w 1293222"/>
              <a:gd name="connsiteY2" fmla="*/ 0 h 378823"/>
              <a:gd name="connsiteX3" fmla="*/ 0 w 1293222"/>
              <a:gd name="connsiteY3" fmla="*/ 130629 h 378823"/>
              <a:gd name="connsiteX4" fmla="*/ 71845 w 1293222"/>
              <a:gd name="connsiteY4" fmla="*/ 378823 h 378823"/>
              <a:gd name="connsiteX0" fmla="*/ 65313 w 1293222"/>
              <a:gd name="connsiteY0" fmla="*/ 398417 h 398417"/>
              <a:gd name="connsiteX1" fmla="*/ 1293222 w 1293222"/>
              <a:gd name="connsiteY1" fmla="*/ 182880 h 398417"/>
              <a:gd name="connsiteX2" fmla="*/ 1293222 w 1293222"/>
              <a:gd name="connsiteY2" fmla="*/ 0 h 398417"/>
              <a:gd name="connsiteX3" fmla="*/ 0 w 1293222"/>
              <a:gd name="connsiteY3" fmla="*/ 130629 h 398417"/>
              <a:gd name="connsiteX4" fmla="*/ 65313 w 1293222"/>
              <a:gd name="connsiteY4" fmla="*/ 398417 h 398417"/>
              <a:gd name="connsiteX0" fmla="*/ 104663 w 1332572"/>
              <a:gd name="connsiteY0" fmla="*/ 488407 h 488407"/>
              <a:gd name="connsiteX1" fmla="*/ 1332572 w 1332572"/>
              <a:gd name="connsiteY1" fmla="*/ 272870 h 488407"/>
              <a:gd name="connsiteX2" fmla="*/ 1332572 w 1332572"/>
              <a:gd name="connsiteY2" fmla="*/ 89990 h 488407"/>
              <a:gd name="connsiteX3" fmla="*/ 0 w 1332572"/>
              <a:gd name="connsiteY3" fmla="*/ 0 h 488407"/>
              <a:gd name="connsiteX4" fmla="*/ 104663 w 1332572"/>
              <a:gd name="connsiteY4" fmla="*/ 488407 h 488407"/>
              <a:gd name="connsiteX0" fmla="*/ 58754 w 1286663"/>
              <a:gd name="connsiteY0" fmla="*/ 488407 h 488407"/>
              <a:gd name="connsiteX1" fmla="*/ 1286663 w 1286663"/>
              <a:gd name="connsiteY1" fmla="*/ 272870 h 488407"/>
              <a:gd name="connsiteX2" fmla="*/ 1286663 w 1286663"/>
              <a:gd name="connsiteY2" fmla="*/ 89990 h 488407"/>
              <a:gd name="connsiteX3" fmla="*/ 0 w 1286663"/>
              <a:gd name="connsiteY3" fmla="*/ 0 h 488407"/>
              <a:gd name="connsiteX4" fmla="*/ 58754 w 1286663"/>
              <a:gd name="connsiteY4" fmla="*/ 488407 h 488407"/>
              <a:gd name="connsiteX0" fmla="*/ 58754 w 1293221"/>
              <a:gd name="connsiteY0" fmla="*/ 574912 h 574912"/>
              <a:gd name="connsiteX1" fmla="*/ 1286663 w 1293221"/>
              <a:gd name="connsiteY1" fmla="*/ 359375 h 574912"/>
              <a:gd name="connsiteX2" fmla="*/ 1293221 w 1293221"/>
              <a:gd name="connsiteY2" fmla="*/ 0 h 574912"/>
              <a:gd name="connsiteX3" fmla="*/ 0 w 1293221"/>
              <a:gd name="connsiteY3" fmla="*/ 86505 h 574912"/>
              <a:gd name="connsiteX4" fmla="*/ 58754 w 1293221"/>
              <a:gd name="connsiteY4" fmla="*/ 574912 h 574912"/>
              <a:gd name="connsiteX0" fmla="*/ 58754 w 1470298"/>
              <a:gd name="connsiteY0" fmla="*/ 574912 h 574912"/>
              <a:gd name="connsiteX1" fmla="*/ 1470298 w 1470298"/>
              <a:gd name="connsiteY1" fmla="*/ 561083 h 574912"/>
              <a:gd name="connsiteX2" fmla="*/ 1293221 w 1470298"/>
              <a:gd name="connsiteY2" fmla="*/ 0 h 574912"/>
              <a:gd name="connsiteX3" fmla="*/ 0 w 1470298"/>
              <a:gd name="connsiteY3" fmla="*/ 86505 h 574912"/>
              <a:gd name="connsiteX4" fmla="*/ 58754 w 1470298"/>
              <a:gd name="connsiteY4" fmla="*/ 574912 h 574912"/>
              <a:gd name="connsiteX0" fmla="*/ 65313 w 1470298"/>
              <a:gd name="connsiteY0" fmla="*/ 795531 h 795531"/>
              <a:gd name="connsiteX1" fmla="*/ 1470298 w 1470298"/>
              <a:gd name="connsiteY1" fmla="*/ 561083 h 795531"/>
              <a:gd name="connsiteX2" fmla="*/ 1293221 w 1470298"/>
              <a:gd name="connsiteY2" fmla="*/ 0 h 795531"/>
              <a:gd name="connsiteX3" fmla="*/ 0 w 1470298"/>
              <a:gd name="connsiteY3" fmla="*/ 86505 h 795531"/>
              <a:gd name="connsiteX4" fmla="*/ 65313 w 1470298"/>
              <a:gd name="connsiteY4" fmla="*/ 795531 h 795531"/>
              <a:gd name="connsiteX0" fmla="*/ 65313 w 1844126"/>
              <a:gd name="connsiteY0" fmla="*/ 795531 h 795531"/>
              <a:gd name="connsiteX1" fmla="*/ 1844126 w 1844126"/>
              <a:gd name="connsiteY1" fmla="*/ 504352 h 795531"/>
              <a:gd name="connsiteX2" fmla="*/ 1293221 w 1844126"/>
              <a:gd name="connsiteY2" fmla="*/ 0 h 795531"/>
              <a:gd name="connsiteX3" fmla="*/ 0 w 1844126"/>
              <a:gd name="connsiteY3" fmla="*/ 86505 h 795531"/>
              <a:gd name="connsiteX4" fmla="*/ 65313 w 1844126"/>
              <a:gd name="connsiteY4" fmla="*/ 795531 h 795531"/>
              <a:gd name="connsiteX0" fmla="*/ 65313 w 1844126"/>
              <a:gd name="connsiteY0" fmla="*/ 845958 h 845958"/>
              <a:gd name="connsiteX1" fmla="*/ 1844126 w 1844126"/>
              <a:gd name="connsiteY1" fmla="*/ 554779 h 845958"/>
              <a:gd name="connsiteX2" fmla="*/ 1621141 w 1844126"/>
              <a:gd name="connsiteY2" fmla="*/ 0 h 845958"/>
              <a:gd name="connsiteX3" fmla="*/ 0 w 1844126"/>
              <a:gd name="connsiteY3" fmla="*/ 136932 h 845958"/>
              <a:gd name="connsiteX4" fmla="*/ 65313 w 1844126"/>
              <a:gd name="connsiteY4" fmla="*/ 845958 h 845958"/>
              <a:gd name="connsiteX0" fmla="*/ 65313 w 1844126"/>
              <a:gd name="connsiteY0" fmla="*/ 864868 h 864868"/>
              <a:gd name="connsiteX1" fmla="*/ 1844126 w 1844126"/>
              <a:gd name="connsiteY1" fmla="*/ 573689 h 864868"/>
              <a:gd name="connsiteX2" fmla="*/ 1621141 w 1844126"/>
              <a:gd name="connsiteY2" fmla="*/ 0 h 864868"/>
              <a:gd name="connsiteX3" fmla="*/ 0 w 1844126"/>
              <a:gd name="connsiteY3" fmla="*/ 155842 h 864868"/>
              <a:gd name="connsiteX4" fmla="*/ 65313 w 1844126"/>
              <a:gd name="connsiteY4" fmla="*/ 864868 h 864868"/>
              <a:gd name="connsiteX0" fmla="*/ 65313 w 1686724"/>
              <a:gd name="connsiteY0" fmla="*/ 864868 h 864868"/>
              <a:gd name="connsiteX1" fmla="*/ 1686724 w 1686724"/>
              <a:gd name="connsiteY1" fmla="*/ 561082 h 864868"/>
              <a:gd name="connsiteX2" fmla="*/ 1621141 w 1686724"/>
              <a:gd name="connsiteY2" fmla="*/ 0 h 864868"/>
              <a:gd name="connsiteX3" fmla="*/ 0 w 1686724"/>
              <a:gd name="connsiteY3" fmla="*/ 155842 h 864868"/>
              <a:gd name="connsiteX4" fmla="*/ 65313 w 1686724"/>
              <a:gd name="connsiteY4" fmla="*/ 864868 h 864868"/>
              <a:gd name="connsiteX0" fmla="*/ 39079 w 1660490"/>
              <a:gd name="connsiteY0" fmla="*/ 864868 h 864868"/>
              <a:gd name="connsiteX1" fmla="*/ 1660490 w 1660490"/>
              <a:gd name="connsiteY1" fmla="*/ 561082 h 864868"/>
              <a:gd name="connsiteX2" fmla="*/ 1594907 w 1660490"/>
              <a:gd name="connsiteY2" fmla="*/ 0 h 864868"/>
              <a:gd name="connsiteX3" fmla="*/ 0 w 1660490"/>
              <a:gd name="connsiteY3" fmla="*/ 351248 h 864868"/>
              <a:gd name="connsiteX4" fmla="*/ 39079 w 1660490"/>
              <a:gd name="connsiteY4" fmla="*/ 864868 h 864868"/>
              <a:gd name="connsiteX0" fmla="*/ 39079 w 1857243"/>
              <a:gd name="connsiteY0" fmla="*/ 719889 h 719889"/>
              <a:gd name="connsiteX1" fmla="*/ 1660490 w 1857243"/>
              <a:gd name="connsiteY1" fmla="*/ 416103 h 719889"/>
              <a:gd name="connsiteX2" fmla="*/ 1857243 w 1857243"/>
              <a:gd name="connsiteY2" fmla="*/ 0 h 719889"/>
              <a:gd name="connsiteX3" fmla="*/ 0 w 1857243"/>
              <a:gd name="connsiteY3" fmla="*/ 206269 h 719889"/>
              <a:gd name="connsiteX4" fmla="*/ 39079 w 1857243"/>
              <a:gd name="connsiteY4" fmla="*/ 719889 h 719889"/>
              <a:gd name="connsiteX0" fmla="*/ 39079 w 1909709"/>
              <a:gd name="connsiteY0" fmla="*/ 719889 h 719889"/>
              <a:gd name="connsiteX1" fmla="*/ 1909709 w 1909709"/>
              <a:gd name="connsiteY1" fmla="*/ 208090 h 719889"/>
              <a:gd name="connsiteX2" fmla="*/ 1857243 w 1909709"/>
              <a:gd name="connsiteY2" fmla="*/ 0 h 719889"/>
              <a:gd name="connsiteX3" fmla="*/ 0 w 1909709"/>
              <a:gd name="connsiteY3" fmla="*/ 206269 h 719889"/>
              <a:gd name="connsiteX4" fmla="*/ 39079 w 1909709"/>
              <a:gd name="connsiteY4" fmla="*/ 719889 h 719889"/>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206269 h 511876"/>
              <a:gd name="connsiteX4" fmla="*/ 39079 w 1909709"/>
              <a:gd name="connsiteY4" fmla="*/ 511876 h 511876"/>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121173 h 511876"/>
              <a:gd name="connsiteX4" fmla="*/ 39079 w 1909709"/>
              <a:gd name="connsiteY4" fmla="*/ 511876 h 511876"/>
              <a:gd name="connsiteX0" fmla="*/ 39079 w 1857243"/>
              <a:gd name="connsiteY0" fmla="*/ 511876 h 511876"/>
              <a:gd name="connsiteX1" fmla="*/ 1748372 w 1857243"/>
              <a:gd name="connsiteY1" fmla="*/ 309201 h 511876"/>
              <a:gd name="connsiteX2" fmla="*/ 1857243 w 1857243"/>
              <a:gd name="connsiteY2" fmla="*/ 0 h 511876"/>
              <a:gd name="connsiteX3" fmla="*/ 0 w 1857243"/>
              <a:gd name="connsiteY3" fmla="*/ 121173 h 511876"/>
              <a:gd name="connsiteX4" fmla="*/ 39079 w 1857243"/>
              <a:gd name="connsiteY4" fmla="*/ 511876 h 511876"/>
              <a:gd name="connsiteX0" fmla="*/ 39079 w 1748372"/>
              <a:gd name="connsiteY0" fmla="*/ 499237 h 499237"/>
              <a:gd name="connsiteX1" fmla="*/ 1748372 w 1748372"/>
              <a:gd name="connsiteY1" fmla="*/ 296562 h 499237"/>
              <a:gd name="connsiteX2" fmla="*/ 1723965 w 1748372"/>
              <a:gd name="connsiteY2" fmla="*/ 0 h 499237"/>
              <a:gd name="connsiteX3" fmla="*/ 0 w 1748372"/>
              <a:gd name="connsiteY3" fmla="*/ 108534 h 499237"/>
              <a:gd name="connsiteX4" fmla="*/ 39079 w 1748372"/>
              <a:gd name="connsiteY4" fmla="*/ 499237 h 499237"/>
              <a:gd name="connsiteX0" fmla="*/ 95196 w 1748372"/>
              <a:gd name="connsiteY0" fmla="*/ 451841 h 451841"/>
              <a:gd name="connsiteX1" fmla="*/ 1748372 w 1748372"/>
              <a:gd name="connsiteY1" fmla="*/ 296562 h 451841"/>
              <a:gd name="connsiteX2" fmla="*/ 1723965 w 1748372"/>
              <a:gd name="connsiteY2" fmla="*/ 0 h 451841"/>
              <a:gd name="connsiteX3" fmla="*/ 0 w 1748372"/>
              <a:gd name="connsiteY3" fmla="*/ 108534 h 451841"/>
              <a:gd name="connsiteX4" fmla="*/ 95196 w 1748372"/>
              <a:gd name="connsiteY4" fmla="*/ 451841 h 451841"/>
              <a:gd name="connsiteX0" fmla="*/ 95196 w 1723965"/>
              <a:gd name="connsiteY0" fmla="*/ 451841 h 451841"/>
              <a:gd name="connsiteX1" fmla="*/ 1713299 w 1723965"/>
              <a:gd name="connsiteY1" fmla="*/ 315520 h 451841"/>
              <a:gd name="connsiteX2" fmla="*/ 1723965 w 1723965"/>
              <a:gd name="connsiteY2" fmla="*/ 0 h 451841"/>
              <a:gd name="connsiteX3" fmla="*/ 0 w 1723965"/>
              <a:gd name="connsiteY3" fmla="*/ 108534 h 451841"/>
              <a:gd name="connsiteX4" fmla="*/ 95196 w 1723965"/>
              <a:gd name="connsiteY4" fmla="*/ 451841 h 451841"/>
              <a:gd name="connsiteX0" fmla="*/ 95196 w 1713299"/>
              <a:gd name="connsiteY0" fmla="*/ 455001 h 455001"/>
              <a:gd name="connsiteX1" fmla="*/ 1713299 w 1713299"/>
              <a:gd name="connsiteY1" fmla="*/ 318680 h 455001"/>
              <a:gd name="connsiteX2" fmla="*/ 1667848 w 1713299"/>
              <a:gd name="connsiteY2" fmla="*/ 0 h 455001"/>
              <a:gd name="connsiteX3" fmla="*/ 0 w 1713299"/>
              <a:gd name="connsiteY3" fmla="*/ 111694 h 455001"/>
              <a:gd name="connsiteX4" fmla="*/ 95196 w 1713299"/>
              <a:gd name="connsiteY4" fmla="*/ 455001 h 455001"/>
              <a:gd name="connsiteX0" fmla="*/ 67137 w 1685240"/>
              <a:gd name="connsiteY0" fmla="*/ 455001 h 455001"/>
              <a:gd name="connsiteX1" fmla="*/ 1685240 w 1685240"/>
              <a:gd name="connsiteY1" fmla="*/ 318680 h 455001"/>
              <a:gd name="connsiteX2" fmla="*/ 1639789 w 1685240"/>
              <a:gd name="connsiteY2" fmla="*/ 0 h 455001"/>
              <a:gd name="connsiteX3" fmla="*/ 0 w 1685240"/>
              <a:gd name="connsiteY3" fmla="*/ 130652 h 455001"/>
              <a:gd name="connsiteX4" fmla="*/ 67137 w 1685240"/>
              <a:gd name="connsiteY4" fmla="*/ 455001 h 455001"/>
              <a:gd name="connsiteX0" fmla="*/ 67137 w 1667473"/>
              <a:gd name="connsiteY0" fmla="*/ 455001 h 455001"/>
              <a:gd name="connsiteX1" fmla="*/ 1667473 w 1667473"/>
              <a:gd name="connsiteY1" fmla="*/ 242054 h 455001"/>
              <a:gd name="connsiteX2" fmla="*/ 1639789 w 1667473"/>
              <a:gd name="connsiteY2" fmla="*/ 0 h 455001"/>
              <a:gd name="connsiteX3" fmla="*/ 0 w 1667473"/>
              <a:gd name="connsiteY3" fmla="*/ 130652 h 455001"/>
              <a:gd name="connsiteX4" fmla="*/ 67137 w 1667473"/>
              <a:gd name="connsiteY4" fmla="*/ 455001 h 455001"/>
              <a:gd name="connsiteX0" fmla="*/ 100217 w 1700553"/>
              <a:gd name="connsiteY0" fmla="*/ 455001 h 455001"/>
              <a:gd name="connsiteX1" fmla="*/ 1700553 w 1700553"/>
              <a:gd name="connsiteY1" fmla="*/ 242054 h 455001"/>
              <a:gd name="connsiteX2" fmla="*/ 1672869 w 1700553"/>
              <a:gd name="connsiteY2" fmla="*/ 0 h 455001"/>
              <a:gd name="connsiteX3" fmla="*/ 0 w 1700553"/>
              <a:gd name="connsiteY3" fmla="*/ 205540 h 455001"/>
              <a:gd name="connsiteX4" fmla="*/ 100217 w 1700553"/>
              <a:gd name="connsiteY4" fmla="*/ 455001 h 455001"/>
              <a:gd name="connsiteX0" fmla="*/ 100217 w 1700553"/>
              <a:gd name="connsiteY0" fmla="*/ 366878 h 366878"/>
              <a:gd name="connsiteX1" fmla="*/ 1700553 w 1700553"/>
              <a:gd name="connsiteY1" fmla="*/ 153931 h 366878"/>
              <a:gd name="connsiteX2" fmla="*/ 1588975 w 1700553"/>
              <a:gd name="connsiteY2" fmla="*/ 0 h 366878"/>
              <a:gd name="connsiteX3" fmla="*/ 0 w 1700553"/>
              <a:gd name="connsiteY3" fmla="*/ 117417 h 366878"/>
              <a:gd name="connsiteX4" fmla="*/ 100217 w 1700553"/>
              <a:gd name="connsiteY4" fmla="*/ 366878 h 366878"/>
              <a:gd name="connsiteX0" fmla="*/ 115726 w 1700553"/>
              <a:gd name="connsiteY0" fmla="*/ 305211 h 305211"/>
              <a:gd name="connsiteX1" fmla="*/ 1700553 w 1700553"/>
              <a:gd name="connsiteY1" fmla="*/ 153931 h 305211"/>
              <a:gd name="connsiteX2" fmla="*/ 1588975 w 1700553"/>
              <a:gd name="connsiteY2" fmla="*/ 0 h 305211"/>
              <a:gd name="connsiteX3" fmla="*/ 0 w 1700553"/>
              <a:gd name="connsiteY3" fmla="*/ 117417 h 305211"/>
              <a:gd name="connsiteX4" fmla="*/ 115726 w 1700553"/>
              <a:gd name="connsiteY4" fmla="*/ 305211 h 305211"/>
              <a:gd name="connsiteX0" fmla="*/ 115726 w 1700553"/>
              <a:gd name="connsiteY0" fmla="*/ 321895 h 321895"/>
              <a:gd name="connsiteX1" fmla="*/ 1700553 w 1700553"/>
              <a:gd name="connsiteY1" fmla="*/ 170615 h 321895"/>
              <a:gd name="connsiteX2" fmla="*/ 1471607 w 1700553"/>
              <a:gd name="connsiteY2" fmla="*/ 0 h 321895"/>
              <a:gd name="connsiteX3" fmla="*/ 0 w 1700553"/>
              <a:gd name="connsiteY3" fmla="*/ 134101 h 321895"/>
              <a:gd name="connsiteX4" fmla="*/ 115726 w 1700553"/>
              <a:gd name="connsiteY4" fmla="*/ 321895 h 321895"/>
              <a:gd name="connsiteX0" fmla="*/ 115726 w 1581352"/>
              <a:gd name="connsiteY0" fmla="*/ 321895 h 321895"/>
              <a:gd name="connsiteX1" fmla="*/ 1581352 w 1581352"/>
              <a:gd name="connsiteY1" fmla="*/ 210307 h 321895"/>
              <a:gd name="connsiteX2" fmla="*/ 1471607 w 1581352"/>
              <a:gd name="connsiteY2" fmla="*/ 0 h 321895"/>
              <a:gd name="connsiteX3" fmla="*/ 0 w 1581352"/>
              <a:gd name="connsiteY3" fmla="*/ 134101 h 321895"/>
              <a:gd name="connsiteX4" fmla="*/ 115726 w 1581352"/>
              <a:gd name="connsiteY4" fmla="*/ 321895 h 321895"/>
              <a:gd name="connsiteX0" fmla="*/ 92298 w 1557924"/>
              <a:gd name="connsiteY0" fmla="*/ 321895 h 321895"/>
              <a:gd name="connsiteX1" fmla="*/ 1557924 w 1557924"/>
              <a:gd name="connsiteY1" fmla="*/ 210307 h 321895"/>
              <a:gd name="connsiteX2" fmla="*/ 1448179 w 1557924"/>
              <a:gd name="connsiteY2" fmla="*/ 0 h 321895"/>
              <a:gd name="connsiteX3" fmla="*/ 0 w 1557924"/>
              <a:gd name="connsiteY3" fmla="*/ 116473 h 321895"/>
              <a:gd name="connsiteX4" fmla="*/ 92298 w 1557924"/>
              <a:gd name="connsiteY4" fmla="*/ 321895 h 321895"/>
              <a:gd name="connsiteX0" fmla="*/ 152961 w 1557924"/>
              <a:gd name="connsiteY0" fmla="*/ 341247 h 341247"/>
              <a:gd name="connsiteX1" fmla="*/ 1557924 w 1557924"/>
              <a:gd name="connsiteY1" fmla="*/ 210307 h 341247"/>
              <a:gd name="connsiteX2" fmla="*/ 1448179 w 1557924"/>
              <a:gd name="connsiteY2" fmla="*/ 0 h 341247"/>
              <a:gd name="connsiteX3" fmla="*/ 0 w 1557924"/>
              <a:gd name="connsiteY3" fmla="*/ 116473 h 341247"/>
              <a:gd name="connsiteX4" fmla="*/ 152961 w 1557924"/>
              <a:gd name="connsiteY4" fmla="*/ 341247 h 341247"/>
              <a:gd name="connsiteX0" fmla="*/ 135357 w 1557924"/>
              <a:gd name="connsiteY0" fmla="*/ 339493 h 339493"/>
              <a:gd name="connsiteX1" fmla="*/ 1557924 w 1557924"/>
              <a:gd name="connsiteY1" fmla="*/ 210307 h 339493"/>
              <a:gd name="connsiteX2" fmla="*/ 1448179 w 1557924"/>
              <a:gd name="connsiteY2" fmla="*/ 0 h 339493"/>
              <a:gd name="connsiteX3" fmla="*/ 0 w 1557924"/>
              <a:gd name="connsiteY3" fmla="*/ 116473 h 339493"/>
              <a:gd name="connsiteX4" fmla="*/ 135357 w 1557924"/>
              <a:gd name="connsiteY4" fmla="*/ 339493 h 339493"/>
              <a:gd name="connsiteX0" fmla="*/ 109934 w 1532501"/>
              <a:gd name="connsiteY0" fmla="*/ 339493 h 339493"/>
              <a:gd name="connsiteX1" fmla="*/ 1532501 w 1532501"/>
              <a:gd name="connsiteY1" fmla="*/ 210307 h 339493"/>
              <a:gd name="connsiteX2" fmla="*/ 1422756 w 1532501"/>
              <a:gd name="connsiteY2" fmla="*/ 0 h 339493"/>
              <a:gd name="connsiteX3" fmla="*/ 0 w 1532501"/>
              <a:gd name="connsiteY3" fmla="*/ 117343 h 339493"/>
              <a:gd name="connsiteX4" fmla="*/ 109934 w 1532501"/>
              <a:gd name="connsiteY4" fmla="*/ 339493 h 339493"/>
              <a:gd name="connsiteX0" fmla="*/ 133525 w 1556092"/>
              <a:gd name="connsiteY0" fmla="*/ 339493 h 339493"/>
              <a:gd name="connsiteX1" fmla="*/ 1556092 w 1556092"/>
              <a:gd name="connsiteY1" fmla="*/ 210307 h 339493"/>
              <a:gd name="connsiteX2" fmla="*/ 1446347 w 1556092"/>
              <a:gd name="connsiteY2" fmla="*/ 0 h 339493"/>
              <a:gd name="connsiteX3" fmla="*/ 0 w 1556092"/>
              <a:gd name="connsiteY3" fmla="*/ 60098 h 339493"/>
              <a:gd name="connsiteX4" fmla="*/ 133525 w 1556092"/>
              <a:gd name="connsiteY4" fmla="*/ 339493 h 339493"/>
              <a:gd name="connsiteX0" fmla="*/ 133525 w 2343667"/>
              <a:gd name="connsiteY0" fmla="*/ 459688 h 459688"/>
              <a:gd name="connsiteX1" fmla="*/ 1556092 w 2343667"/>
              <a:gd name="connsiteY1" fmla="*/ 330502 h 459688"/>
              <a:gd name="connsiteX2" fmla="*/ 2343667 w 2343667"/>
              <a:gd name="connsiteY2" fmla="*/ 0 h 459688"/>
              <a:gd name="connsiteX3" fmla="*/ 0 w 2343667"/>
              <a:gd name="connsiteY3" fmla="*/ 180293 h 459688"/>
              <a:gd name="connsiteX4" fmla="*/ 133525 w 2343667"/>
              <a:gd name="connsiteY4" fmla="*/ 459688 h 459688"/>
              <a:gd name="connsiteX0" fmla="*/ 133525 w 2391079"/>
              <a:gd name="connsiteY0" fmla="*/ 459688 h 459688"/>
              <a:gd name="connsiteX1" fmla="*/ 2391079 w 2391079"/>
              <a:gd name="connsiteY1" fmla="*/ 322204 h 459688"/>
              <a:gd name="connsiteX2" fmla="*/ 2343667 w 2391079"/>
              <a:gd name="connsiteY2" fmla="*/ 0 h 459688"/>
              <a:gd name="connsiteX3" fmla="*/ 0 w 2391079"/>
              <a:gd name="connsiteY3" fmla="*/ 180293 h 459688"/>
              <a:gd name="connsiteX4" fmla="*/ 133525 w 2391079"/>
              <a:gd name="connsiteY4" fmla="*/ 459688 h 459688"/>
              <a:gd name="connsiteX0" fmla="*/ 159047 w 2391079"/>
              <a:gd name="connsiteY0" fmla="*/ 505482 h 505482"/>
              <a:gd name="connsiteX1" fmla="*/ 2391079 w 2391079"/>
              <a:gd name="connsiteY1" fmla="*/ 322204 h 505482"/>
              <a:gd name="connsiteX2" fmla="*/ 2343667 w 2391079"/>
              <a:gd name="connsiteY2" fmla="*/ 0 h 505482"/>
              <a:gd name="connsiteX3" fmla="*/ 0 w 2391079"/>
              <a:gd name="connsiteY3" fmla="*/ 180293 h 505482"/>
              <a:gd name="connsiteX4" fmla="*/ 159047 w 2391079"/>
              <a:gd name="connsiteY4" fmla="*/ 505482 h 505482"/>
              <a:gd name="connsiteX0" fmla="*/ 159047 w 2391079"/>
              <a:gd name="connsiteY0" fmla="*/ 518659 h 518659"/>
              <a:gd name="connsiteX1" fmla="*/ 2391079 w 2391079"/>
              <a:gd name="connsiteY1" fmla="*/ 335381 h 518659"/>
              <a:gd name="connsiteX2" fmla="*/ 2261507 w 2391079"/>
              <a:gd name="connsiteY2" fmla="*/ 0 h 518659"/>
              <a:gd name="connsiteX3" fmla="*/ 0 w 2391079"/>
              <a:gd name="connsiteY3" fmla="*/ 193470 h 518659"/>
              <a:gd name="connsiteX4" fmla="*/ 159047 w 2391079"/>
              <a:gd name="connsiteY4" fmla="*/ 518659 h 518659"/>
              <a:gd name="connsiteX0" fmla="*/ 159047 w 2513813"/>
              <a:gd name="connsiteY0" fmla="*/ 498511 h 498511"/>
              <a:gd name="connsiteX1" fmla="*/ 2391079 w 2513813"/>
              <a:gd name="connsiteY1" fmla="*/ 315233 h 498511"/>
              <a:gd name="connsiteX2" fmla="*/ 2513813 w 2513813"/>
              <a:gd name="connsiteY2" fmla="*/ 0 h 498511"/>
              <a:gd name="connsiteX3" fmla="*/ 0 w 2513813"/>
              <a:gd name="connsiteY3" fmla="*/ 173322 h 498511"/>
              <a:gd name="connsiteX4" fmla="*/ 159047 w 2513813"/>
              <a:gd name="connsiteY4" fmla="*/ 498511 h 498511"/>
              <a:gd name="connsiteX0" fmla="*/ 159047 w 2547383"/>
              <a:gd name="connsiteY0" fmla="*/ 498511 h 498511"/>
              <a:gd name="connsiteX1" fmla="*/ 2547383 w 2547383"/>
              <a:gd name="connsiteY1" fmla="*/ 252623 h 498511"/>
              <a:gd name="connsiteX2" fmla="*/ 2513813 w 2547383"/>
              <a:gd name="connsiteY2" fmla="*/ 0 h 498511"/>
              <a:gd name="connsiteX3" fmla="*/ 0 w 2547383"/>
              <a:gd name="connsiteY3" fmla="*/ 173322 h 498511"/>
              <a:gd name="connsiteX4" fmla="*/ 159047 w 2547383"/>
              <a:gd name="connsiteY4" fmla="*/ 498511 h 498511"/>
              <a:gd name="connsiteX0" fmla="*/ 164772 w 2553108"/>
              <a:gd name="connsiteY0" fmla="*/ 498511 h 498511"/>
              <a:gd name="connsiteX1" fmla="*/ 2553108 w 2553108"/>
              <a:gd name="connsiteY1" fmla="*/ 252623 h 498511"/>
              <a:gd name="connsiteX2" fmla="*/ 2519538 w 2553108"/>
              <a:gd name="connsiteY2" fmla="*/ 0 h 498511"/>
              <a:gd name="connsiteX3" fmla="*/ 0 w 2553108"/>
              <a:gd name="connsiteY3" fmla="*/ 237627 h 498511"/>
              <a:gd name="connsiteX4" fmla="*/ 164772 w 2553108"/>
              <a:gd name="connsiteY4" fmla="*/ 498511 h 498511"/>
              <a:gd name="connsiteX0" fmla="*/ 102113 w 2553108"/>
              <a:gd name="connsiteY0" fmla="*/ 460662 h 460662"/>
              <a:gd name="connsiteX1" fmla="*/ 2553108 w 2553108"/>
              <a:gd name="connsiteY1" fmla="*/ 252623 h 460662"/>
              <a:gd name="connsiteX2" fmla="*/ 2519538 w 2553108"/>
              <a:gd name="connsiteY2" fmla="*/ 0 h 460662"/>
              <a:gd name="connsiteX3" fmla="*/ 0 w 2553108"/>
              <a:gd name="connsiteY3" fmla="*/ 237627 h 460662"/>
              <a:gd name="connsiteX4" fmla="*/ 102113 w 2553108"/>
              <a:gd name="connsiteY4" fmla="*/ 460662 h 460662"/>
              <a:gd name="connsiteX0" fmla="*/ 102113 w 2553108"/>
              <a:gd name="connsiteY0" fmla="*/ 424537 h 424537"/>
              <a:gd name="connsiteX1" fmla="*/ 2553108 w 2553108"/>
              <a:gd name="connsiteY1" fmla="*/ 216498 h 424537"/>
              <a:gd name="connsiteX2" fmla="*/ 2498106 w 2553108"/>
              <a:gd name="connsiteY2" fmla="*/ 0 h 424537"/>
              <a:gd name="connsiteX3" fmla="*/ 0 w 2553108"/>
              <a:gd name="connsiteY3" fmla="*/ 201502 h 424537"/>
              <a:gd name="connsiteX4" fmla="*/ 102113 w 2553108"/>
              <a:gd name="connsiteY4" fmla="*/ 424537 h 424537"/>
              <a:gd name="connsiteX0" fmla="*/ 90333 w 2553108"/>
              <a:gd name="connsiteY0" fmla="*/ 403402 h 403402"/>
              <a:gd name="connsiteX1" fmla="*/ 2553108 w 2553108"/>
              <a:gd name="connsiteY1" fmla="*/ 216498 h 403402"/>
              <a:gd name="connsiteX2" fmla="*/ 2498106 w 2553108"/>
              <a:gd name="connsiteY2" fmla="*/ 0 h 403402"/>
              <a:gd name="connsiteX3" fmla="*/ 0 w 2553108"/>
              <a:gd name="connsiteY3" fmla="*/ 201502 h 403402"/>
              <a:gd name="connsiteX4" fmla="*/ 90333 w 2553108"/>
              <a:gd name="connsiteY4" fmla="*/ 403402 h 403402"/>
              <a:gd name="connsiteX0" fmla="*/ 60951 w 2523726"/>
              <a:gd name="connsiteY0" fmla="*/ 403402 h 403402"/>
              <a:gd name="connsiteX1" fmla="*/ 2523726 w 2523726"/>
              <a:gd name="connsiteY1" fmla="*/ 216498 h 403402"/>
              <a:gd name="connsiteX2" fmla="*/ 2468724 w 2523726"/>
              <a:gd name="connsiteY2" fmla="*/ 0 h 403402"/>
              <a:gd name="connsiteX3" fmla="*/ 0 w 2523726"/>
              <a:gd name="connsiteY3" fmla="*/ 224392 h 403402"/>
              <a:gd name="connsiteX4" fmla="*/ 60951 w 2523726"/>
              <a:gd name="connsiteY4" fmla="*/ 403402 h 40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3726" h="403402">
                <a:moveTo>
                  <a:pt x="60951" y="403402"/>
                </a:moveTo>
                <a:lnTo>
                  <a:pt x="2523726" y="216498"/>
                </a:lnTo>
                <a:lnTo>
                  <a:pt x="2468724" y="0"/>
                </a:lnTo>
                <a:lnTo>
                  <a:pt x="0" y="224392"/>
                </a:lnTo>
                <a:lnTo>
                  <a:pt x="60951" y="403402"/>
                </a:lnTo>
                <a:close/>
              </a:path>
            </a:pathLst>
          </a:custGeom>
          <a:solidFill>
            <a:srgbClr val="96C1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latin typeface="Amaranth" panose="02000503000000020004" pitchFamily="50" charset="0"/>
            </a:endParaRPr>
          </a:p>
        </p:txBody>
      </p:sp>
      <p:sp>
        <p:nvSpPr>
          <p:cNvPr id="6" name="TextBox 9">
            <a:extLst>
              <a:ext uri="{FF2B5EF4-FFF2-40B4-BE49-F238E27FC236}">
                <a16:creationId xmlns:a16="http://schemas.microsoft.com/office/drawing/2014/main" id="{9B832288-0203-4382-8E0B-64F0CD6C41F8}"/>
              </a:ext>
            </a:extLst>
          </p:cNvPr>
          <p:cNvSpPr txBox="1">
            <a:spLocks noChangeArrowheads="1"/>
          </p:cNvSpPr>
          <p:nvPr/>
        </p:nvSpPr>
        <p:spPr bwMode="auto">
          <a:xfrm>
            <a:off x="9983894" y="635370"/>
            <a:ext cx="2403551"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algn="ctr">
              <a:defRPr>
                <a:solidFill>
                  <a:schemeClr val="lt1"/>
                </a:solidFill>
                <a:latin typeface="Amaranth" panose="02000503000000020004" pitchFamily="50"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nl-BE" dirty="0"/>
              <a:t>Routines</a:t>
            </a:r>
          </a:p>
        </p:txBody>
      </p:sp>
      <p:sp>
        <p:nvSpPr>
          <p:cNvPr id="7" name="Rechthoek 12">
            <a:extLst>
              <a:ext uri="{FF2B5EF4-FFF2-40B4-BE49-F238E27FC236}">
                <a16:creationId xmlns:a16="http://schemas.microsoft.com/office/drawing/2014/main" id="{378B92CC-8675-446E-885E-9E4CB802EE11}"/>
              </a:ext>
            </a:extLst>
          </p:cNvPr>
          <p:cNvSpPr/>
          <p:nvPr/>
        </p:nvSpPr>
        <p:spPr>
          <a:xfrm>
            <a:off x="588776" y="454113"/>
            <a:ext cx="6738913" cy="707870"/>
          </a:xfrm>
          <a:prstGeom prst="rect">
            <a:avLst/>
          </a:prstGeom>
          <a:noFill/>
          <a:ln>
            <a:noFill/>
          </a:ln>
        </p:spPr>
        <p:txBody>
          <a:bodyPr wrap="square" lIns="91424" tIns="45712" rIns="91424" bIns="45712">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4000" b="0" i="0" u="none" strike="noStrike" kern="1200" cap="none" spc="0" normalizeH="0" baseline="0" noProof="0" dirty="0">
                <a:ln>
                  <a:noFill/>
                </a:ln>
                <a:solidFill>
                  <a:srgbClr val="92D050"/>
                </a:solidFill>
                <a:effectLst/>
                <a:uLnTx/>
                <a:uFillTx/>
                <a:latin typeface="Amaranth" panose="02000503000000020004" pitchFamily="50" charset="0"/>
                <a:ea typeface="+mn-ea"/>
                <a:cs typeface="Arial" panose="020B0604020202020204" pitchFamily="34" charset="0"/>
              </a:rPr>
              <a:t>Routine – Rekenen </a:t>
            </a:r>
          </a:p>
        </p:txBody>
      </p:sp>
      <p:pic>
        <p:nvPicPr>
          <p:cNvPr id="4" name="Afbeelding 3">
            <a:extLst>
              <a:ext uri="{FF2B5EF4-FFF2-40B4-BE49-F238E27FC236}">
                <a16:creationId xmlns:a16="http://schemas.microsoft.com/office/drawing/2014/main" id="{84446589-C707-4D96-8C44-6809D2096594}"/>
              </a:ext>
            </a:extLst>
          </p:cNvPr>
          <p:cNvPicPr>
            <a:picLocks noChangeAspect="1"/>
          </p:cNvPicPr>
          <p:nvPr/>
        </p:nvPicPr>
        <p:blipFill>
          <a:blip r:embed="rId3"/>
          <a:stretch>
            <a:fillRect/>
          </a:stretch>
        </p:blipFill>
        <p:spPr>
          <a:xfrm>
            <a:off x="588776" y="1598971"/>
            <a:ext cx="3230896" cy="4549102"/>
          </a:xfrm>
          <a:prstGeom prst="rect">
            <a:avLst/>
          </a:prstGeom>
        </p:spPr>
      </p:pic>
      <p:pic>
        <p:nvPicPr>
          <p:cNvPr id="9" name="Afbeelding 8">
            <a:extLst>
              <a:ext uri="{FF2B5EF4-FFF2-40B4-BE49-F238E27FC236}">
                <a16:creationId xmlns:a16="http://schemas.microsoft.com/office/drawing/2014/main" id="{0D018DD2-A90B-4558-B951-DE04C1726D4B}"/>
              </a:ext>
            </a:extLst>
          </p:cNvPr>
          <p:cNvPicPr>
            <a:picLocks noChangeAspect="1"/>
          </p:cNvPicPr>
          <p:nvPr/>
        </p:nvPicPr>
        <p:blipFill>
          <a:blip r:embed="rId4"/>
          <a:stretch>
            <a:fillRect/>
          </a:stretch>
        </p:blipFill>
        <p:spPr>
          <a:xfrm>
            <a:off x="597120" y="1523205"/>
            <a:ext cx="3215301" cy="4549102"/>
          </a:xfrm>
          <a:prstGeom prst="rect">
            <a:avLst/>
          </a:prstGeom>
        </p:spPr>
      </p:pic>
      <p:pic>
        <p:nvPicPr>
          <p:cNvPr id="10" name="Afbeelding 9">
            <a:extLst>
              <a:ext uri="{FF2B5EF4-FFF2-40B4-BE49-F238E27FC236}">
                <a16:creationId xmlns:a16="http://schemas.microsoft.com/office/drawing/2014/main" id="{5399E944-5B12-45D7-8C20-388B6FB87A76}"/>
              </a:ext>
            </a:extLst>
          </p:cNvPr>
          <p:cNvPicPr>
            <a:picLocks noChangeAspect="1"/>
          </p:cNvPicPr>
          <p:nvPr/>
        </p:nvPicPr>
        <p:blipFill>
          <a:blip r:embed="rId5"/>
          <a:stretch>
            <a:fillRect/>
          </a:stretch>
        </p:blipFill>
        <p:spPr>
          <a:xfrm>
            <a:off x="5417676" y="1598971"/>
            <a:ext cx="5314950" cy="1685925"/>
          </a:xfrm>
          <a:prstGeom prst="rect">
            <a:avLst/>
          </a:prstGeom>
        </p:spPr>
      </p:pic>
      <p:pic>
        <p:nvPicPr>
          <p:cNvPr id="11" name="Afbeelding 10" descr="Lijnpijl: curve rechtsom">
            <a:extLst>
              <a:ext uri="{FF2B5EF4-FFF2-40B4-BE49-F238E27FC236}">
                <a16:creationId xmlns:a16="http://schemas.microsoft.com/office/drawing/2014/main" id="{A4A0734F-F6EE-4487-AF57-B74CCA0A8A7F}"/>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6640516">
            <a:off x="4014030" y="1556984"/>
            <a:ext cx="827975" cy="827975"/>
          </a:xfrm>
          <a:prstGeom prst="rect">
            <a:avLst/>
          </a:prstGeom>
        </p:spPr>
      </p:pic>
      <p:sp>
        <p:nvSpPr>
          <p:cNvPr id="12" name="Rechthoek 11">
            <a:extLst>
              <a:ext uri="{FF2B5EF4-FFF2-40B4-BE49-F238E27FC236}">
                <a16:creationId xmlns:a16="http://schemas.microsoft.com/office/drawing/2014/main" id="{0B6BDFB6-7579-45AE-AFA1-2010A812781C}"/>
              </a:ext>
            </a:extLst>
          </p:cNvPr>
          <p:cNvSpPr/>
          <p:nvPr/>
        </p:nvSpPr>
        <p:spPr>
          <a:xfrm>
            <a:off x="1083685" y="1407834"/>
            <a:ext cx="2618055" cy="1126274"/>
          </a:xfrm>
          <a:prstGeom prst="rect">
            <a:avLst/>
          </a:prstGeom>
          <a:noFill/>
          <a:ln w="381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hthoek 12">
            <a:extLst>
              <a:ext uri="{FF2B5EF4-FFF2-40B4-BE49-F238E27FC236}">
                <a16:creationId xmlns:a16="http://schemas.microsoft.com/office/drawing/2014/main" id="{1CAD8DEF-D700-498B-9628-E38F2AAB7802}"/>
              </a:ext>
            </a:extLst>
          </p:cNvPr>
          <p:cNvSpPr/>
          <p:nvPr/>
        </p:nvSpPr>
        <p:spPr>
          <a:xfrm>
            <a:off x="1930524" y="2675158"/>
            <a:ext cx="814039" cy="613317"/>
          </a:xfrm>
          <a:prstGeom prst="rect">
            <a:avLst/>
          </a:prstGeom>
          <a:noFill/>
          <a:ln w="381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5" name="Afbeelding 14">
            <a:extLst>
              <a:ext uri="{FF2B5EF4-FFF2-40B4-BE49-F238E27FC236}">
                <a16:creationId xmlns:a16="http://schemas.microsoft.com/office/drawing/2014/main" id="{7B85BF39-76A9-4FFF-8F80-8111EFE30B85}"/>
              </a:ext>
            </a:extLst>
          </p:cNvPr>
          <p:cNvPicPr>
            <a:picLocks noChangeAspect="1"/>
          </p:cNvPicPr>
          <p:nvPr/>
        </p:nvPicPr>
        <p:blipFill>
          <a:blip r:embed="rId8"/>
          <a:stretch>
            <a:fillRect/>
          </a:stretch>
        </p:blipFill>
        <p:spPr>
          <a:xfrm>
            <a:off x="5562128" y="3797756"/>
            <a:ext cx="2708758" cy="1921894"/>
          </a:xfrm>
          <a:prstGeom prst="rect">
            <a:avLst/>
          </a:prstGeom>
        </p:spPr>
      </p:pic>
      <p:pic>
        <p:nvPicPr>
          <p:cNvPr id="16" name="Afbeelding 15">
            <a:extLst>
              <a:ext uri="{FF2B5EF4-FFF2-40B4-BE49-F238E27FC236}">
                <a16:creationId xmlns:a16="http://schemas.microsoft.com/office/drawing/2014/main" id="{225DC454-A578-4DDF-82DE-D025E7F88693}"/>
              </a:ext>
            </a:extLst>
          </p:cNvPr>
          <p:cNvPicPr>
            <a:picLocks noChangeAspect="1"/>
          </p:cNvPicPr>
          <p:nvPr/>
        </p:nvPicPr>
        <p:blipFill>
          <a:blip r:embed="rId9"/>
          <a:stretch>
            <a:fillRect/>
          </a:stretch>
        </p:blipFill>
        <p:spPr>
          <a:xfrm>
            <a:off x="8459774" y="3750246"/>
            <a:ext cx="2638887" cy="2390443"/>
          </a:xfrm>
          <a:prstGeom prst="rect">
            <a:avLst/>
          </a:prstGeom>
        </p:spPr>
      </p:pic>
      <p:sp>
        <p:nvSpPr>
          <p:cNvPr id="17" name="Rechthoek 16">
            <a:extLst>
              <a:ext uri="{FF2B5EF4-FFF2-40B4-BE49-F238E27FC236}">
                <a16:creationId xmlns:a16="http://schemas.microsoft.com/office/drawing/2014/main" id="{A51EED38-6502-4580-B60B-C5C713579EB6}"/>
              </a:ext>
            </a:extLst>
          </p:cNvPr>
          <p:cNvSpPr/>
          <p:nvPr/>
        </p:nvSpPr>
        <p:spPr>
          <a:xfrm>
            <a:off x="1930523" y="3797756"/>
            <a:ext cx="814039" cy="756869"/>
          </a:xfrm>
          <a:prstGeom prst="rect">
            <a:avLst/>
          </a:prstGeom>
          <a:noFill/>
          <a:ln w="381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8" name="Afbeelding 17" descr="Lijnpijl: curve rechtsom">
            <a:extLst>
              <a:ext uri="{FF2B5EF4-FFF2-40B4-BE49-F238E27FC236}">
                <a16:creationId xmlns:a16="http://schemas.microsoft.com/office/drawing/2014/main" id="{DC050190-1440-4EA5-9C7B-15ACAA657AE8}"/>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7415494">
            <a:off x="3932363" y="3566738"/>
            <a:ext cx="827975" cy="827975"/>
          </a:xfrm>
          <a:prstGeom prst="rect">
            <a:avLst/>
          </a:prstGeom>
        </p:spPr>
      </p:pic>
      <p:pic>
        <p:nvPicPr>
          <p:cNvPr id="20" name="Afbeelding 19">
            <a:extLst>
              <a:ext uri="{FF2B5EF4-FFF2-40B4-BE49-F238E27FC236}">
                <a16:creationId xmlns:a16="http://schemas.microsoft.com/office/drawing/2014/main" id="{176DD7F0-24D5-4BB5-8E6E-F8ADB1968AA4}"/>
              </a:ext>
            </a:extLst>
          </p:cNvPr>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11241707" y="6052930"/>
            <a:ext cx="661508" cy="556592"/>
          </a:xfrm>
          <a:prstGeom prst="rect">
            <a:avLst/>
          </a:prstGeom>
        </p:spPr>
      </p:pic>
    </p:spTree>
    <p:extLst>
      <p:ext uri="{BB962C8B-B14F-4D97-AF65-F5344CB8AC3E}">
        <p14:creationId xmlns:p14="http://schemas.microsoft.com/office/powerpoint/2010/main" val="4940434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41">
            <a:extLst>
              <a:ext uri="{FF2B5EF4-FFF2-40B4-BE49-F238E27FC236}">
                <a16:creationId xmlns:a16="http://schemas.microsoft.com/office/drawing/2014/main" id="{20FB9955-D084-4D6A-9E57-6E984302D75E}"/>
              </a:ext>
            </a:extLst>
          </p:cNvPr>
          <p:cNvSpPr/>
          <p:nvPr/>
        </p:nvSpPr>
        <p:spPr>
          <a:xfrm rot="845560">
            <a:off x="9808864" y="330351"/>
            <a:ext cx="2496921" cy="979369"/>
          </a:xfrm>
          <a:custGeom>
            <a:avLst/>
            <a:gdLst>
              <a:gd name="connsiteX0" fmla="*/ 45720 w 1267097"/>
              <a:gd name="connsiteY0" fmla="*/ 378823 h 378823"/>
              <a:gd name="connsiteX1" fmla="*/ 1267097 w 1267097"/>
              <a:gd name="connsiteY1" fmla="*/ 182880 h 378823"/>
              <a:gd name="connsiteX2" fmla="*/ 1267097 w 1267097"/>
              <a:gd name="connsiteY2" fmla="*/ 0 h 378823"/>
              <a:gd name="connsiteX3" fmla="*/ 0 w 1267097"/>
              <a:gd name="connsiteY3" fmla="*/ 189412 h 378823"/>
              <a:gd name="connsiteX4" fmla="*/ 45720 w 1267097"/>
              <a:gd name="connsiteY4" fmla="*/ 378823 h 378823"/>
              <a:gd name="connsiteX0" fmla="*/ 71845 w 1293222"/>
              <a:gd name="connsiteY0" fmla="*/ 378823 h 378823"/>
              <a:gd name="connsiteX1" fmla="*/ 1293222 w 1293222"/>
              <a:gd name="connsiteY1" fmla="*/ 182880 h 378823"/>
              <a:gd name="connsiteX2" fmla="*/ 1293222 w 1293222"/>
              <a:gd name="connsiteY2" fmla="*/ 0 h 378823"/>
              <a:gd name="connsiteX3" fmla="*/ 0 w 1293222"/>
              <a:gd name="connsiteY3" fmla="*/ 130629 h 378823"/>
              <a:gd name="connsiteX4" fmla="*/ 71845 w 1293222"/>
              <a:gd name="connsiteY4" fmla="*/ 378823 h 378823"/>
              <a:gd name="connsiteX0" fmla="*/ 65313 w 1293222"/>
              <a:gd name="connsiteY0" fmla="*/ 398417 h 398417"/>
              <a:gd name="connsiteX1" fmla="*/ 1293222 w 1293222"/>
              <a:gd name="connsiteY1" fmla="*/ 182880 h 398417"/>
              <a:gd name="connsiteX2" fmla="*/ 1293222 w 1293222"/>
              <a:gd name="connsiteY2" fmla="*/ 0 h 398417"/>
              <a:gd name="connsiteX3" fmla="*/ 0 w 1293222"/>
              <a:gd name="connsiteY3" fmla="*/ 130629 h 398417"/>
              <a:gd name="connsiteX4" fmla="*/ 65313 w 1293222"/>
              <a:gd name="connsiteY4" fmla="*/ 398417 h 398417"/>
              <a:gd name="connsiteX0" fmla="*/ 104663 w 1332572"/>
              <a:gd name="connsiteY0" fmla="*/ 488407 h 488407"/>
              <a:gd name="connsiteX1" fmla="*/ 1332572 w 1332572"/>
              <a:gd name="connsiteY1" fmla="*/ 272870 h 488407"/>
              <a:gd name="connsiteX2" fmla="*/ 1332572 w 1332572"/>
              <a:gd name="connsiteY2" fmla="*/ 89990 h 488407"/>
              <a:gd name="connsiteX3" fmla="*/ 0 w 1332572"/>
              <a:gd name="connsiteY3" fmla="*/ 0 h 488407"/>
              <a:gd name="connsiteX4" fmla="*/ 104663 w 1332572"/>
              <a:gd name="connsiteY4" fmla="*/ 488407 h 488407"/>
              <a:gd name="connsiteX0" fmla="*/ 58754 w 1286663"/>
              <a:gd name="connsiteY0" fmla="*/ 488407 h 488407"/>
              <a:gd name="connsiteX1" fmla="*/ 1286663 w 1286663"/>
              <a:gd name="connsiteY1" fmla="*/ 272870 h 488407"/>
              <a:gd name="connsiteX2" fmla="*/ 1286663 w 1286663"/>
              <a:gd name="connsiteY2" fmla="*/ 89990 h 488407"/>
              <a:gd name="connsiteX3" fmla="*/ 0 w 1286663"/>
              <a:gd name="connsiteY3" fmla="*/ 0 h 488407"/>
              <a:gd name="connsiteX4" fmla="*/ 58754 w 1286663"/>
              <a:gd name="connsiteY4" fmla="*/ 488407 h 488407"/>
              <a:gd name="connsiteX0" fmla="*/ 58754 w 1293221"/>
              <a:gd name="connsiteY0" fmla="*/ 574912 h 574912"/>
              <a:gd name="connsiteX1" fmla="*/ 1286663 w 1293221"/>
              <a:gd name="connsiteY1" fmla="*/ 359375 h 574912"/>
              <a:gd name="connsiteX2" fmla="*/ 1293221 w 1293221"/>
              <a:gd name="connsiteY2" fmla="*/ 0 h 574912"/>
              <a:gd name="connsiteX3" fmla="*/ 0 w 1293221"/>
              <a:gd name="connsiteY3" fmla="*/ 86505 h 574912"/>
              <a:gd name="connsiteX4" fmla="*/ 58754 w 1293221"/>
              <a:gd name="connsiteY4" fmla="*/ 574912 h 574912"/>
              <a:gd name="connsiteX0" fmla="*/ 58754 w 1470298"/>
              <a:gd name="connsiteY0" fmla="*/ 574912 h 574912"/>
              <a:gd name="connsiteX1" fmla="*/ 1470298 w 1470298"/>
              <a:gd name="connsiteY1" fmla="*/ 561083 h 574912"/>
              <a:gd name="connsiteX2" fmla="*/ 1293221 w 1470298"/>
              <a:gd name="connsiteY2" fmla="*/ 0 h 574912"/>
              <a:gd name="connsiteX3" fmla="*/ 0 w 1470298"/>
              <a:gd name="connsiteY3" fmla="*/ 86505 h 574912"/>
              <a:gd name="connsiteX4" fmla="*/ 58754 w 1470298"/>
              <a:gd name="connsiteY4" fmla="*/ 574912 h 574912"/>
              <a:gd name="connsiteX0" fmla="*/ 65313 w 1470298"/>
              <a:gd name="connsiteY0" fmla="*/ 795531 h 795531"/>
              <a:gd name="connsiteX1" fmla="*/ 1470298 w 1470298"/>
              <a:gd name="connsiteY1" fmla="*/ 561083 h 795531"/>
              <a:gd name="connsiteX2" fmla="*/ 1293221 w 1470298"/>
              <a:gd name="connsiteY2" fmla="*/ 0 h 795531"/>
              <a:gd name="connsiteX3" fmla="*/ 0 w 1470298"/>
              <a:gd name="connsiteY3" fmla="*/ 86505 h 795531"/>
              <a:gd name="connsiteX4" fmla="*/ 65313 w 1470298"/>
              <a:gd name="connsiteY4" fmla="*/ 795531 h 795531"/>
              <a:gd name="connsiteX0" fmla="*/ 65313 w 1844126"/>
              <a:gd name="connsiteY0" fmla="*/ 795531 h 795531"/>
              <a:gd name="connsiteX1" fmla="*/ 1844126 w 1844126"/>
              <a:gd name="connsiteY1" fmla="*/ 504352 h 795531"/>
              <a:gd name="connsiteX2" fmla="*/ 1293221 w 1844126"/>
              <a:gd name="connsiteY2" fmla="*/ 0 h 795531"/>
              <a:gd name="connsiteX3" fmla="*/ 0 w 1844126"/>
              <a:gd name="connsiteY3" fmla="*/ 86505 h 795531"/>
              <a:gd name="connsiteX4" fmla="*/ 65313 w 1844126"/>
              <a:gd name="connsiteY4" fmla="*/ 795531 h 795531"/>
              <a:gd name="connsiteX0" fmla="*/ 65313 w 1844126"/>
              <a:gd name="connsiteY0" fmla="*/ 845958 h 845958"/>
              <a:gd name="connsiteX1" fmla="*/ 1844126 w 1844126"/>
              <a:gd name="connsiteY1" fmla="*/ 554779 h 845958"/>
              <a:gd name="connsiteX2" fmla="*/ 1621141 w 1844126"/>
              <a:gd name="connsiteY2" fmla="*/ 0 h 845958"/>
              <a:gd name="connsiteX3" fmla="*/ 0 w 1844126"/>
              <a:gd name="connsiteY3" fmla="*/ 136932 h 845958"/>
              <a:gd name="connsiteX4" fmla="*/ 65313 w 1844126"/>
              <a:gd name="connsiteY4" fmla="*/ 845958 h 845958"/>
              <a:gd name="connsiteX0" fmla="*/ 65313 w 1844126"/>
              <a:gd name="connsiteY0" fmla="*/ 864868 h 864868"/>
              <a:gd name="connsiteX1" fmla="*/ 1844126 w 1844126"/>
              <a:gd name="connsiteY1" fmla="*/ 573689 h 864868"/>
              <a:gd name="connsiteX2" fmla="*/ 1621141 w 1844126"/>
              <a:gd name="connsiteY2" fmla="*/ 0 h 864868"/>
              <a:gd name="connsiteX3" fmla="*/ 0 w 1844126"/>
              <a:gd name="connsiteY3" fmla="*/ 155842 h 864868"/>
              <a:gd name="connsiteX4" fmla="*/ 65313 w 1844126"/>
              <a:gd name="connsiteY4" fmla="*/ 864868 h 864868"/>
              <a:gd name="connsiteX0" fmla="*/ 65313 w 1686724"/>
              <a:gd name="connsiteY0" fmla="*/ 864868 h 864868"/>
              <a:gd name="connsiteX1" fmla="*/ 1686724 w 1686724"/>
              <a:gd name="connsiteY1" fmla="*/ 561082 h 864868"/>
              <a:gd name="connsiteX2" fmla="*/ 1621141 w 1686724"/>
              <a:gd name="connsiteY2" fmla="*/ 0 h 864868"/>
              <a:gd name="connsiteX3" fmla="*/ 0 w 1686724"/>
              <a:gd name="connsiteY3" fmla="*/ 155842 h 864868"/>
              <a:gd name="connsiteX4" fmla="*/ 65313 w 1686724"/>
              <a:gd name="connsiteY4" fmla="*/ 864868 h 864868"/>
              <a:gd name="connsiteX0" fmla="*/ 39079 w 1660490"/>
              <a:gd name="connsiteY0" fmla="*/ 864868 h 864868"/>
              <a:gd name="connsiteX1" fmla="*/ 1660490 w 1660490"/>
              <a:gd name="connsiteY1" fmla="*/ 561082 h 864868"/>
              <a:gd name="connsiteX2" fmla="*/ 1594907 w 1660490"/>
              <a:gd name="connsiteY2" fmla="*/ 0 h 864868"/>
              <a:gd name="connsiteX3" fmla="*/ 0 w 1660490"/>
              <a:gd name="connsiteY3" fmla="*/ 351248 h 864868"/>
              <a:gd name="connsiteX4" fmla="*/ 39079 w 1660490"/>
              <a:gd name="connsiteY4" fmla="*/ 864868 h 864868"/>
              <a:gd name="connsiteX0" fmla="*/ 39079 w 1857243"/>
              <a:gd name="connsiteY0" fmla="*/ 719889 h 719889"/>
              <a:gd name="connsiteX1" fmla="*/ 1660490 w 1857243"/>
              <a:gd name="connsiteY1" fmla="*/ 416103 h 719889"/>
              <a:gd name="connsiteX2" fmla="*/ 1857243 w 1857243"/>
              <a:gd name="connsiteY2" fmla="*/ 0 h 719889"/>
              <a:gd name="connsiteX3" fmla="*/ 0 w 1857243"/>
              <a:gd name="connsiteY3" fmla="*/ 206269 h 719889"/>
              <a:gd name="connsiteX4" fmla="*/ 39079 w 1857243"/>
              <a:gd name="connsiteY4" fmla="*/ 719889 h 719889"/>
              <a:gd name="connsiteX0" fmla="*/ 39079 w 1909709"/>
              <a:gd name="connsiteY0" fmla="*/ 719889 h 719889"/>
              <a:gd name="connsiteX1" fmla="*/ 1909709 w 1909709"/>
              <a:gd name="connsiteY1" fmla="*/ 208090 h 719889"/>
              <a:gd name="connsiteX2" fmla="*/ 1857243 w 1909709"/>
              <a:gd name="connsiteY2" fmla="*/ 0 h 719889"/>
              <a:gd name="connsiteX3" fmla="*/ 0 w 1909709"/>
              <a:gd name="connsiteY3" fmla="*/ 206269 h 719889"/>
              <a:gd name="connsiteX4" fmla="*/ 39079 w 1909709"/>
              <a:gd name="connsiteY4" fmla="*/ 719889 h 719889"/>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206269 h 511876"/>
              <a:gd name="connsiteX4" fmla="*/ 39079 w 1909709"/>
              <a:gd name="connsiteY4" fmla="*/ 511876 h 511876"/>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121173 h 511876"/>
              <a:gd name="connsiteX4" fmla="*/ 39079 w 1909709"/>
              <a:gd name="connsiteY4" fmla="*/ 511876 h 511876"/>
              <a:gd name="connsiteX0" fmla="*/ 39079 w 1857243"/>
              <a:gd name="connsiteY0" fmla="*/ 511876 h 511876"/>
              <a:gd name="connsiteX1" fmla="*/ 1748372 w 1857243"/>
              <a:gd name="connsiteY1" fmla="*/ 309201 h 511876"/>
              <a:gd name="connsiteX2" fmla="*/ 1857243 w 1857243"/>
              <a:gd name="connsiteY2" fmla="*/ 0 h 511876"/>
              <a:gd name="connsiteX3" fmla="*/ 0 w 1857243"/>
              <a:gd name="connsiteY3" fmla="*/ 121173 h 511876"/>
              <a:gd name="connsiteX4" fmla="*/ 39079 w 1857243"/>
              <a:gd name="connsiteY4" fmla="*/ 511876 h 511876"/>
              <a:gd name="connsiteX0" fmla="*/ 39079 w 1748372"/>
              <a:gd name="connsiteY0" fmla="*/ 499237 h 499237"/>
              <a:gd name="connsiteX1" fmla="*/ 1748372 w 1748372"/>
              <a:gd name="connsiteY1" fmla="*/ 296562 h 499237"/>
              <a:gd name="connsiteX2" fmla="*/ 1723965 w 1748372"/>
              <a:gd name="connsiteY2" fmla="*/ 0 h 499237"/>
              <a:gd name="connsiteX3" fmla="*/ 0 w 1748372"/>
              <a:gd name="connsiteY3" fmla="*/ 108534 h 499237"/>
              <a:gd name="connsiteX4" fmla="*/ 39079 w 1748372"/>
              <a:gd name="connsiteY4" fmla="*/ 499237 h 499237"/>
              <a:gd name="connsiteX0" fmla="*/ 95196 w 1748372"/>
              <a:gd name="connsiteY0" fmla="*/ 451841 h 451841"/>
              <a:gd name="connsiteX1" fmla="*/ 1748372 w 1748372"/>
              <a:gd name="connsiteY1" fmla="*/ 296562 h 451841"/>
              <a:gd name="connsiteX2" fmla="*/ 1723965 w 1748372"/>
              <a:gd name="connsiteY2" fmla="*/ 0 h 451841"/>
              <a:gd name="connsiteX3" fmla="*/ 0 w 1748372"/>
              <a:gd name="connsiteY3" fmla="*/ 108534 h 451841"/>
              <a:gd name="connsiteX4" fmla="*/ 95196 w 1748372"/>
              <a:gd name="connsiteY4" fmla="*/ 451841 h 451841"/>
              <a:gd name="connsiteX0" fmla="*/ 95196 w 1723965"/>
              <a:gd name="connsiteY0" fmla="*/ 451841 h 451841"/>
              <a:gd name="connsiteX1" fmla="*/ 1713299 w 1723965"/>
              <a:gd name="connsiteY1" fmla="*/ 315520 h 451841"/>
              <a:gd name="connsiteX2" fmla="*/ 1723965 w 1723965"/>
              <a:gd name="connsiteY2" fmla="*/ 0 h 451841"/>
              <a:gd name="connsiteX3" fmla="*/ 0 w 1723965"/>
              <a:gd name="connsiteY3" fmla="*/ 108534 h 451841"/>
              <a:gd name="connsiteX4" fmla="*/ 95196 w 1723965"/>
              <a:gd name="connsiteY4" fmla="*/ 451841 h 451841"/>
              <a:gd name="connsiteX0" fmla="*/ 95196 w 1713299"/>
              <a:gd name="connsiteY0" fmla="*/ 455001 h 455001"/>
              <a:gd name="connsiteX1" fmla="*/ 1713299 w 1713299"/>
              <a:gd name="connsiteY1" fmla="*/ 318680 h 455001"/>
              <a:gd name="connsiteX2" fmla="*/ 1667848 w 1713299"/>
              <a:gd name="connsiteY2" fmla="*/ 0 h 455001"/>
              <a:gd name="connsiteX3" fmla="*/ 0 w 1713299"/>
              <a:gd name="connsiteY3" fmla="*/ 111694 h 455001"/>
              <a:gd name="connsiteX4" fmla="*/ 95196 w 1713299"/>
              <a:gd name="connsiteY4" fmla="*/ 455001 h 455001"/>
              <a:gd name="connsiteX0" fmla="*/ 67137 w 1685240"/>
              <a:gd name="connsiteY0" fmla="*/ 455001 h 455001"/>
              <a:gd name="connsiteX1" fmla="*/ 1685240 w 1685240"/>
              <a:gd name="connsiteY1" fmla="*/ 318680 h 455001"/>
              <a:gd name="connsiteX2" fmla="*/ 1639789 w 1685240"/>
              <a:gd name="connsiteY2" fmla="*/ 0 h 455001"/>
              <a:gd name="connsiteX3" fmla="*/ 0 w 1685240"/>
              <a:gd name="connsiteY3" fmla="*/ 130652 h 455001"/>
              <a:gd name="connsiteX4" fmla="*/ 67137 w 1685240"/>
              <a:gd name="connsiteY4" fmla="*/ 455001 h 455001"/>
              <a:gd name="connsiteX0" fmla="*/ 67137 w 1667473"/>
              <a:gd name="connsiteY0" fmla="*/ 455001 h 455001"/>
              <a:gd name="connsiteX1" fmla="*/ 1667473 w 1667473"/>
              <a:gd name="connsiteY1" fmla="*/ 242054 h 455001"/>
              <a:gd name="connsiteX2" fmla="*/ 1639789 w 1667473"/>
              <a:gd name="connsiteY2" fmla="*/ 0 h 455001"/>
              <a:gd name="connsiteX3" fmla="*/ 0 w 1667473"/>
              <a:gd name="connsiteY3" fmla="*/ 130652 h 455001"/>
              <a:gd name="connsiteX4" fmla="*/ 67137 w 1667473"/>
              <a:gd name="connsiteY4" fmla="*/ 455001 h 455001"/>
              <a:gd name="connsiteX0" fmla="*/ 100217 w 1700553"/>
              <a:gd name="connsiteY0" fmla="*/ 455001 h 455001"/>
              <a:gd name="connsiteX1" fmla="*/ 1700553 w 1700553"/>
              <a:gd name="connsiteY1" fmla="*/ 242054 h 455001"/>
              <a:gd name="connsiteX2" fmla="*/ 1672869 w 1700553"/>
              <a:gd name="connsiteY2" fmla="*/ 0 h 455001"/>
              <a:gd name="connsiteX3" fmla="*/ 0 w 1700553"/>
              <a:gd name="connsiteY3" fmla="*/ 205540 h 455001"/>
              <a:gd name="connsiteX4" fmla="*/ 100217 w 1700553"/>
              <a:gd name="connsiteY4" fmla="*/ 455001 h 455001"/>
              <a:gd name="connsiteX0" fmla="*/ 100217 w 1700553"/>
              <a:gd name="connsiteY0" fmla="*/ 366878 h 366878"/>
              <a:gd name="connsiteX1" fmla="*/ 1700553 w 1700553"/>
              <a:gd name="connsiteY1" fmla="*/ 153931 h 366878"/>
              <a:gd name="connsiteX2" fmla="*/ 1588975 w 1700553"/>
              <a:gd name="connsiteY2" fmla="*/ 0 h 366878"/>
              <a:gd name="connsiteX3" fmla="*/ 0 w 1700553"/>
              <a:gd name="connsiteY3" fmla="*/ 117417 h 366878"/>
              <a:gd name="connsiteX4" fmla="*/ 100217 w 1700553"/>
              <a:gd name="connsiteY4" fmla="*/ 366878 h 366878"/>
              <a:gd name="connsiteX0" fmla="*/ 115726 w 1700553"/>
              <a:gd name="connsiteY0" fmla="*/ 305211 h 305211"/>
              <a:gd name="connsiteX1" fmla="*/ 1700553 w 1700553"/>
              <a:gd name="connsiteY1" fmla="*/ 153931 h 305211"/>
              <a:gd name="connsiteX2" fmla="*/ 1588975 w 1700553"/>
              <a:gd name="connsiteY2" fmla="*/ 0 h 305211"/>
              <a:gd name="connsiteX3" fmla="*/ 0 w 1700553"/>
              <a:gd name="connsiteY3" fmla="*/ 117417 h 305211"/>
              <a:gd name="connsiteX4" fmla="*/ 115726 w 1700553"/>
              <a:gd name="connsiteY4" fmla="*/ 305211 h 305211"/>
              <a:gd name="connsiteX0" fmla="*/ 115726 w 1700553"/>
              <a:gd name="connsiteY0" fmla="*/ 321895 h 321895"/>
              <a:gd name="connsiteX1" fmla="*/ 1700553 w 1700553"/>
              <a:gd name="connsiteY1" fmla="*/ 170615 h 321895"/>
              <a:gd name="connsiteX2" fmla="*/ 1471607 w 1700553"/>
              <a:gd name="connsiteY2" fmla="*/ 0 h 321895"/>
              <a:gd name="connsiteX3" fmla="*/ 0 w 1700553"/>
              <a:gd name="connsiteY3" fmla="*/ 134101 h 321895"/>
              <a:gd name="connsiteX4" fmla="*/ 115726 w 1700553"/>
              <a:gd name="connsiteY4" fmla="*/ 321895 h 321895"/>
              <a:gd name="connsiteX0" fmla="*/ 115726 w 1581352"/>
              <a:gd name="connsiteY0" fmla="*/ 321895 h 321895"/>
              <a:gd name="connsiteX1" fmla="*/ 1581352 w 1581352"/>
              <a:gd name="connsiteY1" fmla="*/ 210307 h 321895"/>
              <a:gd name="connsiteX2" fmla="*/ 1471607 w 1581352"/>
              <a:gd name="connsiteY2" fmla="*/ 0 h 321895"/>
              <a:gd name="connsiteX3" fmla="*/ 0 w 1581352"/>
              <a:gd name="connsiteY3" fmla="*/ 134101 h 321895"/>
              <a:gd name="connsiteX4" fmla="*/ 115726 w 1581352"/>
              <a:gd name="connsiteY4" fmla="*/ 321895 h 321895"/>
              <a:gd name="connsiteX0" fmla="*/ 92298 w 1557924"/>
              <a:gd name="connsiteY0" fmla="*/ 321895 h 321895"/>
              <a:gd name="connsiteX1" fmla="*/ 1557924 w 1557924"/>
              <a:gd name="connsiteY1" fmla="*/ 210307 h 321895"/>
              <a:gd name="connsiteX2" fmla="*/ 1448179 w 1557924"/>
              <a:gd name="connsiteY2" fmla="*/ 0 h 321895"/>
              <a:gd name="connsiteX3" fmla="*/ 0 w 1557924"/>
              <a:gd name="connsiteY3" fmla="*/ 116473 h 321895"/>
              <a:gd name="connsiteX4" fmla="*/ 92298 w 1557924"/>
              <a:gd name="connsiteY4" fmla="*/ 321895 h 321895"/>
              <a:gd name="connsiteX0" fmla="*/ 152961 w 1557924"/>
              <a:gd name="connsiteY0" fmla="*/ 341247 h 341247"/>
              <a:gd name="connsiteX1" fmla="*/ 1557924 w 1557924"/>
              <a:gd name="connsiteY1" fmla="*/ 210307 h 341247"/>
              <a:gd name="connsiteX2" fmla="*/ 1448179 w 1557924"/>
              <a:gd name="connsiteY2" fmla="*/ 0 h 341247"/>
              <a:gd name="connsiteX3" fmla="*/ 0 w 1557924"/>
              <a:gd name="connsiteY3" fmla="*/ 116473 h 341247"/>
              <a:gd name="connsiteX4" fmla="*/ 152961 w 1557924"/>
              <a:gd name="connsiteY4" fmla="*/ 341247 h 341247"/>
              <a:gd name="connsiteX0" fmla="*/ 135357 w 1557924"/>
              <a:gd name="connsiteY0" fmla="*/ 339493 h 339493"/>
              <a:gd name="connsiteX1" fmla="*/ 1557924 w 1557924"/>
              <a:gd name="connsiteY1" fmla="*/ 210307 h 339493"/>
              <a:gd name="connsiteX2" fmla="*/ 1448179 w 1557924"/>
              <a:gd name="connsiteY2" fmla="*/ 0 h 339493"/>
              <a:gd name="connsiteX3" fmla="*/ 0 w 1557924"/>
              <a:gd name="connsiteY3" fmla="*/ 116473 h 339493"/>
              <a:gd name="connsiteX4" fmla="*/ 135357 w 1557924"/>
              <a:gd name="connsiteY4" fmla="*/ 339493 h 339493"/>
              <a:gd name="connsiteX0" fmla="*/ 109934 w 1532501"/>
              <a:gd name="connsiteY0" fmla="*/ 339493 h 339493"/>
              <a:gd name="connsiteX1" fmla="*/ 1532501 w 1532501"/>
              <a:gd name="connsiteY1" fmla="*/ 210307 h 339493"/>
              <a:gd name="connsiteX2" fmla="*/ 1422756 w 1532501"/>
              <a:gd name="connsiteY2" fmla="*/ 0 h 339493"/>
              <a:gd name="connsiteX3" fmla="*/ 0 w 1532501"/>
              <a:gd name="connsiteY3" fmla="*/ 117343 h 339493"/>
              <a:gd name="connsiteX4" fmla="*/ 109934 w 1532501"/>
              <a:gd name="connsiteY4" fmla="*/ 339493 h 339493"/>
              <a:gd name="connsiteX0" fmla="*/ 133525 w 1556092"/>
              <a:gd name="connsiteY0" fmla="*/ 339493 h 339493"/>
              <a:gd name="connsiteX1" fmla="*/ 1556092 w 1556092"/>
              <a:gd name="connsiteY1" fmla="*/ 210307 h 339493"/>
              <a:gd name="connsiteX2" fmla="*/ 1446347 w 1556092"/>
              <a:gd name="connsiteY2" fmla="*/ 0 h 339493"/>
              <a:gd name="connsiteX3" fmla="*/ 0 w 1556092"/>
              <a:gd name="connsiteY3" fmla="*/ 60098 h 339493"/>
              <a:gd name="connsiteX4" fmla="*/ 133525 w 1556092"/>
              <a:gd name="connsiteY4" fmla="*/ 339493 h 339493"/>
              <a:gd name="connsiteX0" fmla="*/ 133525 w 2343667"/>
              <a:gd name="connsiteY0" fmla="*/ 459688 h 459688"/>
              <a:gd name="connsiteX1" fmla="*/ 1556092 w 2343667"/>
              <a:gd name="connsiteY1" fmla="*/ 330502 h 459688"/>
              <a:gd name="connsiteX2" fmla="*/ 2343667 w 2343667"/>
              <a:gd name="connsiteY2" fmla="*/ 0 h 459688"/>
              <a:gd name="connsiteX3" fmla="*/ 0 w 2343667"/>
              <a:gd name="connsiteY3" fmla="*/ 180293 h 459688"/>
              <a:gd name="connsiteX4" fmla="*/ 133525 w 2343667"/>
              <a:gd name="connsiteY4" fmla="*/ 459688 h 459688"/>
              <a:gd name="connsiteX0" fmla="*/ 133525 w 2391079"/>
              <a:gd name="connsiteY0" fmla="*/ 459688 h 459688"/>
              <a:gd name="connsiteX1" fmla="*/ 2391079 w 2391079"/>
              <a:gd name="connsiteY1" fmla="*/ 322204 h 459688"/>
              <a:gd name="connsiteX2" fmla="*/ 2343667 w 2391079"/>
              <a:gd name="connsiteY2" fmla="*/ 0 h 459688"/>
              <a:gd name="connsiteX3" fmla="*/ 0 w 2391079"/>
              <a:gd name="connsiteY3" fmla="*/ 180293 h 459688"/>
              <a:gd name="connsiteX4" fmla="*/ 133525 w 2391079"/>
              <a:gd name="connsiteY4" fmla="*/ 459688 h 459688"/>
              <a:gd name="connsiteX0" fmla="*/ 159047 w 2391079"/>
              <a:gd name="connsiteY0" fmla="*/ 505482 h 505482"/>
              <a:gd name="connsiteX1" fmla="*/ 2391079 w 2391079"/>
              <a:gd name="connsiteY1" fmla="*/ 322204 h 505482"/>
              <a:gd name="connsiteX2" fmla="*/ 2343667 w 2391079"/>
              <a:gd name="connsiteY2" fmla="*/ 0 h 505482"/>
              <a:gd name="connsiteX3" fmla="*/ 0 w 2391079"/>
              <a:gd name="connsiteY3" fmla="*/ 180293 h 505482"/>
              <a:gd name="connsiteX4" fmla="*/ 159047 w 2391079"/>
              <a:gd name="connsiteY4" fmla="*/ 505482 h 505482"/>
              <a:gd name="connsiteX0" fmla="*/ 159047 w 2391079"/>
              <a:gd name="connsiteY0" fmla="*/ 518659 h 518659"/>
              <a:gd name="connsiteX1" fmla="*/ 2391079 w 2391079"/>
              <a:gd name="connsiteY1" fmla="*/ 335381 h 518659"/>
              <a:gd name="connsiteX2" fmla="*/ 2261507 w 2391079"/>
              <a:gd name="connsiteY2" fmla="*/ 0 h 518659"/>
              <a:gd name="connsiteX3" fmla="*/ 0 w 2391079"/>
              <a:gd name="connsiteY3" fmla="*/ 193470 h 518659"/>
              <a:gd name="connsiteX4" fmla="*/ 159047 w 2391079"/>
              <a:gd name="connsiteY4" fmla="*/ 518659 h 518659"/>
              <a:gd name="connsiteX0" fmla="*/ 159047 w 2513813"/>
              <a:gd name="connsiteY0" fmla="*/ 498511 h 498511"/>
              <a:gd name="connsiteX1" fmla="*/ 2391079 w 2513813"/>
              <a:gd name="connsiteY1" fmla="*/ 315233 h 498511"/>
              <a:gd name="connsiteX2" fmla="*/ 2513813 w 2513813"/>
              <a:gd name="connsiteY2" fmla="*/ 0 h 498511"/>
              <a:gd name="connsiteX3" fmla="*/ 0 w 2513813"/>
              <a:gd name="connsiteY3" fmla="*/ 173322 h 498511"/>
              <a:gd name="connsiteX4" fmla="*/ 159047 w 2513813"/>
              <a:gd name="connsiteY4" fmla="*/ 498511 h 498511"/>
              <a:gd name="connsiteX0" fmla="*/ 159047 w 2547383"/>
              <a:gd name="connsiteY0" fmla="*/ 498511 h 498511"/>
              <a:gd name="connsiteX1" fmla="*/ 2547383 w 2547383"/>
              <a:gd name="connsiteY1" fmla="*/ 252623 h 498511"/>
              <a:gd name="connsiteX2" fmla="*/ 2513813 w 2547383"/>
              <a:gd name="connsiteY2" fmla="*/ 0 h 498511"/>
              <a:gd name="connsiteX3" fmla="*/ 0 w 2547383"/>
              <a:gd name="connsiteY3" fmla="*/ 173322 h 498511"/>
              <a:gd name="connsiteX4" fmla="*/ 159047 w 2547383"/>
              <a:gd name="connsiteY4" fmla="*/ 498511 h 498511"/>
              <a:gd name="connsiteX0" fmla="*/ 164772 w 2553108"/>
              <a:gd name="connsiteY0" fmla="*/ 498511 h 498511"/>
              <a:gd name="connsiteX1" fmla="*/ 2553108 w 2553108"/>
              <a:gd name="connsiteY1" fmla="*/ 252623 h 498511"/>
              <a:gd name="connsiteX2" fmla="*/ 2519538 w 2553108"/>
              <a:gd name="connsiteY2" fmla="*/ 0 h 498511"/>
              <a:gd name="connsiteX3" fmla="*/ 0 w 2553108"/>
              <a:gd name="connsiteY3" fmla="*/ 237627 h 498511"/>
              <a:gd name="connsiteX4" fmla="*/ 164772 w 2553108"/>
              <a:gd name="connsiteY4" fmla="*/ 498511 h 498511"/>
              <a:gd name="connsiteX0" fmla="*/ 102113 w 2553108"/>
              <a:gd name="connsiteY0" fmla="*/ 460662 h 460662"/>
              <a:gd name="connsiteX1" fmla="*/ 2553108 w 2553108"/>
              <a:gd name="connsiteY1" fmla="*/ 252623 h 460662"/>
              <a:gd name="connsiteX2" fmla="*/ 2519538 w 2553108"/>
              <a:gd name="connsiteY2" fmla="*/ 0 h 460662"/>
              <a:gd name="connsiteX3" fmla="*/ 0 w 2553108"/>
              <a:gd name="connsiteY3" fmla="*/ 237627 h 460662"/>
              <a:gd name="connsiteX4" fmla="*/ 102113 w 2553108"/>
              <a:gd name="connsiteY4" fmla="*/ 460662 h 460662"/>
              <a:gd name="connsiteX0" fmla="*/ 102113 w 2553108"/>
              <a:gd name="connsiteY0" fmla="*/ 424537 h 424537"/>
              <a:gd name="connsiteX1" fmla="*/ 2553108 w 2553108"/>
              <a:gd name="connsiteY1" fmla="*/ 216498 h 424537"/>
              <a:gd name="connsiteX2" fmla="*/ 2498106 w 2553108"/>
              <a:gd name="connsiteY2" fmla="*/ 0 h 424537"/>
              <a:gd name="connsiteX3" fmla="*/ 0 w 2553108"/>
              <a:gd name="connsiteY3" fmla="*/ 201502 h 424537"/>
              <a:gd name="connsiteX4" fmla="*/ 102113 w 2553108"/>
              <a:gd name="connsiteY4" fmla="*/ 424537 h 424537"/>
              <a:gd name="connsiteX0" fmla="*/ 90333 w 2553108"/>
              <a:gd name="connsiteY0" fmla="*/ 403402 h 403402"/>
              <a:gd name="connsiteX1" fmla="*/ 2553108 w 2553108"/>
              <a:gd name="connsiteY1" fmla="*/ 216498 h 403402"/>
              <a:gd name="connsiteX2" fmla="*/ 2498106 w 2553108"/>
              <a:gd name="connsiteY2" fmla="*/ 0 h 403402"/>
              <a:gd name="connsiteX3" fmla="*/ 0 w 2553108"/>
              <a:gd name="connsiteY3" fmla="*/ 201502 h 403402"/>
              <a:gd name="connsiteX4" fmla="*/ 90333 w 2553108"/>
              <a:gd name="connsiteY4" fmla="*/ 403402 h 403402"/>
              <a:gd name="connsiteX0" fmla="*/ 60951 w 2523726"/>
              <a:gd name="connsiteY0" fmla="*/ 403402 h 403402"/>
              <a:gd name="connsiteX1" fmla="*/ 2523726 w 2523726"/>
              <a:gd name="connsiteY1" fmla="*/ 216498 h 403402"/>
              <a:gd name="connsiteX2" fmla="*/ 2468724 w 2523726"/>
              <a:gd name="connsiteY2" fmla="*/ 0 h 403402"/>
              <a:gd name="connsiteX3" fmla="*/ 0 w 2523726"/>
              <a:gd name="connsiteY3" fmla="*/ 224392 h 403402"/>
              <a:gd name="connsiteX4" fmla="*/ 60951 w 2523726"/>
              <a:gd name="connsiteY4" fmla="*/ 403402 h 40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3726" h="403402">
                <a:moveTo>
                  <a:pt x="60951" y="403402"/>
                </a:moveTo>
                <a:lnTo>
                  <a:pt x="2523726" y="216498"/>
                </a:lnTo>
                <a:lnTo>
                  <a:pt x="2468724" y="0"/>
                </a:lnTo>
                <a:lnTo>
                  <a:pt x="0" y="224392"/>
                </a:lnTo>
                <a:lnTo>
                  <a:pt x="60951" y="403402"/>
                </a:lnTo>
                <a:close/>
              </a:path>
            </a:pathLst>
          </a:custGeom>
          <a:solidFill>
            <a:srgbClr val="96C1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latin typeface="Amaranth" panose="02000503000000020004" pitchFamily="50" charset="0"/>
            </a:endParaRPr>
          </a:p>
        </p:txBody>
      </p:sp>
      <p:sp>
        <p:nvSpPr>
          <p:cNvPr id="6" name="TextBox 9">
            <a:extLst>
              <a:ext uri="{FF2B5EF4-FFF2-40B4-BE49-F238E27FC236}">
                <a16:creationId xmlns:a16="http://schemas.microsoft.com/office/drawing/2014/main" id="{9B832288-0203-4382-8E0B-64F0CD6C41F8}"/>
              </a:ext>
            </a:extLst>
          </p:cNvPr>
          <p:cNvSpPr txBox="1">
            <a:spLocks noChangeArrowheads="1"/>
          </p:cNvSpPr>
          <p:nvPr/>
        </p:nvSpPr>
        <p:spPr bwMode="auto">
          <a:xfrm>
            <a:off x="9983894" y="635370"/>
            <a:ext cx="2403551"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algn="ctr">
              <a:defRPr>
                <a:solidFill>
                  <a:schemeClr val="lt1"/>
                </a:solidFill>
                <a:latin typeface="Amaranth" panose="02000503000000020004" pitchFamily="50"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nl-BE" dirty="0"/>
              <a:t>Routines</a:t>
            </a:r>
          </a:p>
        </p:txBody>
      </p:sp>
      <p:sp>
        <p:nvSpPr>
          <p:cNvPr id="7" name="Rechthoek 12">
            <a:extLst>
              <a:ext uri="{FF2B5EF4-FFF2-40B4-BE49-F238E27FC236}">
                <a16:creationId xmlns:a16="http://schemas.microsoft.com/office/drawing/2014/main" id="{378B92CC-8675-446E-885E-9E4CB802EE11}"/>
              </a:ext>
            </a:extLst>
          </p:cNvPr>
          <p:cNvSpPr/>
          <p:nvPr/>
        </p:nvSpPr>
        <p:spPr>
          <a:xfrm>
            <a:off x="588776" y="454113"/>
            <a:ext cx="6738913" cy="707870"/>
          </a:xfrm>
          <a:prstGeom prst="rect">
            <a:avLst/>
          </a:prstGeom>
          <a:noFill/>
          <a:ln>
            <a:noFill/>
          </a:ln>
        </p:spPr>
        <p:txBody>
          <a:bodyPr wrap="square" lIns="91424" tIns="45712" rIns="91424" bIns="45712">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4000" b="0" i="0" u="none" strike="noStrike" kern="1200" cap="none" spc="0" normalizeH="0" baseline="0" noProof="0" dirty="0">
                <a:ln>
                  <a:noFill/>
                </a:ln>
                <a:solidFill>
                  <a:srgbClr val="92D050"/>
                </a:solidFill>
                <a:effectLst/>
                <a:uLnTx/>
                <a:uFillTx/>
                <a:latin typeface="Amaranth" panose="02000503000000020004" pitchFamily="50" charset="0"/>
                <a:ea typeface="+mn-ea"/>
                <a:cs typeface="Arial" panose="020B0604020202020204" pitchFamily="34" charset="0"/>
              </a:rPr>
              <a:t>Routine – Rekenen </a:t>
            </a:r>
          </a:p>
        </p:txBody>
      </p:sp>
      <p:pic>
        <p:nvPicPr>
          <p:cNvPr id="2" name="Afbeelding 1">
            <a:extLst>
              <a:ext uri="{FF2B5EF4-FFF2-40B4-BE49-F238E27FC236}">
                <a16:creationId xmlns:a16="http://schemas.microsoft.com/office/drawing/2014/main" id="{523B8D26-C341-466C-B5B2-50A2FB6DC6BB}"/>
              </a:ext>
            </a:extLst>
          </p:cNvPr>
          <p:cNvPicPr>
            <a:picLocks noChangeAspect="1"/>
          </p:cNvPicPr>
          <p:nvPr/>
        </p:nvPicPr>
        <p:blipFill>
          <a:blip r:embed="rId3"/>
          <a:stretch>
            <a:fillRect/>
          </a:stretch>
        </p:blipFill>
        <p:spPr>
          <a:xfrm>
            <a:off x="434443" y="1598971"/>
            <a:ext cx="2995642" cy="4217863"/>
          </a:xfrm>
          <a:prstGeom prst="rect">
            <a:avLst/>
          </a:prstGeom>
        </p:spPr>
      </p:pic>
      <p:pic>
        <p:nvPicPr>
          <p:cNvPr id="3" name="Afbeelding 2">
            <a:extLst>
              <a:ext uri="{FF2B5EF4-FFF2-40B4-BE49-F238E27FC236}">
                <a16:creationId xmlns:a16="http://schemas.microsoft.com/office/drawing/2014/main" id="{81380F72-1519-4DAA-85AD-4ADCEA318D09}"/>
              </a:ext>
            </a:extLst>
          </p:cNvPr>
          <p:cNvPicPr>
            <a:picLocks noChangeAspect="1"/>
          </p:cNvPicPr>
          <p:nvPr/>
        </p:nvPicPr>
        <p:blipFill>
          <a:blip r:embed="rId4"/>
          <a:stretch>
            <a:fillRect/>
          </a:stretch>
        </p:blipFill>
        <p:spPr>
          <a:xfrm>
            <a:off x="497468" y="1544566"/>
            <a:ext cx="2969119" cy="4217863"/>
          </a:xfrm>
          <a:prstGeom prst="rect">
            <a:avLst/>
          </a:prstGeom>
        </p:spPr>
      </p:pic>
      <p:pic>
        <p:nvPicPr>
          <p:cNvPr id="19" name="Afbeelding 18" descr="Lijnpijl: curve rechtsom">
            <a:extLst>
              <a:ext uri="{FF2B5EF4-FFF2-40B4-BE49-F238E27FC236}">
                <a16:creationId xmlns:a16="http://schemas.microsoft.com/office/drawing/2014/main" id="{D2B36832-E52A-42E9-8C81-7EB0B2A57C36}"/>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9699311" flipH="1" flipV="1">
            <a:off x="3676371" y="2175045"/>
            <a:ext cx="780311" cy="780311"/>
          </a:xfrm>
          <a:prstGeom prst="rect">
            <a:avLst/>
          </a:prstGeom>
        </p:spPr>
      </p:pic>
      <p:sp>
        <p:nvSpPr>
          <p:cNvPr id="20" name="Rechthoek 19">
            <a:extLst>
              <a:ext uri="{FF2B5EF4-FFF2-40B4-BE49-F238E27FC236}">
                <a16:creationId xmlns:a16="http://schemas.microsoft.com/office/drawing/2014/main" id="{BFC2DFB5-92B3-4CB7-ADA8-CBC5855AC69C}"/>
              </a:ext>
            </a:extLst>
          </p:cNvPr>
          <p:cNvSpPr/>
          <p:nvPr/>
        </p:nvSpPr>
        <p:spPr>
          <a:xfrm>
            <a:off x="1011864" y="1449471"/>
            <a:ext cx="2279587" cy="992457"/>
          </a:xfrm>
          <a:prstGeom prst="rect">
            <a:avLst/>
          </a:prstGeom>
          <a:noFill/>
          <a:ln w="381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hthoek 20">
            <a:extLst>
              <a:ext uri="{FF2B5EF4-FFF2-40B4-BE49-F238E27FC236}">
                <a16:creationId xmlns:a16="http://schemas.microsoft.com/office/drawing/2014/main" id="{51BA64C2-2A41-4296-99ED-BD1DAD44DD77}"/>
              </a:ext>
            </a:extLst>
          </p:cNvPr>
          <p:cNvSpPr/>
          <p:nvPr/>
        </p:nvSpPr>
        <p:spPr>
          <a:xfrm>
            <a:off x="4691769" y="1427197"/>
            <a:ext cx="6549937" cy="1446550"/>
          </a:xfrm>
          <a:prstGeom prst="rect">
            <a:avLst/>
          </a:prstGeom>
        </p:spPr>
        <p:txBody>
          <a:bodyPr wrap="square">
            <a:spAutoFit/>
          </a:bodyPr>
          <a:lstStyle/>
          <a:p>
            <a:pPr>
              <a:lnSpc>
                <a:spcPct val="150000"/>
              </a:lnSpc>
              <a:defRPr/>
            </a:pPr>
            <a:r>
              <a:rPr lang="nl-NL" sz="2000" dirty="0">
                <a:solidFill>
                  <a:srgbClr val="92D050"/>
                </a:solidFill>
                <a:latin typeface="Calibri" panose="020F0502020204030204"/>
              </a:rPr>
              <a:t>Oók in </a:t>
            </a:r>
            <a:r>
              <a:rPr lang="nl-NL" sz="2000" u="sng" dirty="0">
                <a:solidFill>
                  <a:srgbClr val="92D050"/>
                </a:solidFill>
                <a:latin typeface="Calibri" panose="020F0502020204030204"/>
              </a:rPr>
              <a:t>andere domeinen</a:t>
            </a:r>
            <a:r>
              <a:rPr lang="nl-NL" sz="2000" dirty="0">
                <a:solidFill>
                  <a:srgbClr val="92D050"/>
                </a:solidFill>
                <a:latin typeface="Calibri" panose="020F0502020204030204"/>
              </a:rPr>
              <a:t>, zoals bijvoorbeeld hieronder wetenschap &amp; technologie komt rekenen voor</a:t>
            </a:r>
          </a:p>
          <a:p>
            <a:pPr>
              <a:buClr>
                <a:srgbClr val="002060"/>
              </a:buClr>
            </a:pPr>
            <a:endParaRPr lang="nl-NL" sz="2800" dirty="0">
              <a:solidFill>
                <a:srgbClr val="92D050"/>
              </a:solidFill>
              <a:latin typeface="Arial" panose="020B0604020202020204" pitchFamily="34" charset="0"/>
              <a:cs typeface="Arial" panose="020B0604020202020204" pitchFamily="34" charset="0"/>
            </a:endParaRPr>
          </a:p>
        </p:txBody>
      </p:sp>
      <p:sp>
        <p:nvSpPr>
          <p:cNvPr id="24" name="Rechthoek 23">
            <a:extLst>
              <a:ext uri="{FF2B5EF4-FFF2-40B4-BE49-F238E27FC236}">
                <a16:creationId xmlns:a16="http://schemas.microsoft.com/office/drawing/2014/main" id="{8D50F5D1-8359-439B-8A75-B656C7F79F01}"/>
              </a:ext>
            </a:extLst>
          </p:cNvPr>
          <p:cNvSpPr/>
          <p:nvPr/>
        </p:nvSpPr>
        <p:spPr>
          <a:xfrm>
            <a:off x="1706246" y="2588582"/>
            <a:ext cx="799887" cy="764218"/>
          </a:xfrm>
          <a:prstGeom prst="rect">
            <a:avLst/>
          </a:prstGeom>
          <a:noFill/>
          <a:ln w="381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8" name="Afbeelding 7">
            <a:extLst>
              <a:ext uri="{FF2B5EF4-FFF2-40B4-BE49-F238E27FC236}">
                <a16:creationId xmlns:a16="http://schemas.microsoft.com/office/drawing/2014/main" id="{C6F50521-0B4E-4D39-B63C-5D93C4D48A84}"/>
              </a:ext>
            </a:extLst>
          </p:cNvPr>
          <p:cNvPicPr>
            <a:picLocks noChangeAspect="1"/>
          </p:cNvPicPr>
          <p:nvPr/>
        </p:nvPicPr>
        <p:blipFill>
          <a:blip r:embed="rId7"/>
          <a:stretch>
            <a:fillRect/>
          </a:stretch>
        </p:blipFill>
        <p:spPr>
          <a:xfrm>
            <a:off x="5245685" y="2587460"/>
            <a:ext cx="5477932" cy="1720032"/>
          </a:xfrm>
          <a:prstGeom prst="rect">
            <a:avLst/>
          </a:prstGeom>
        </p:spPr>
      </p:pic>
      <p:pic>
        <p:nvPicPr>
          <p:cNvPr id="14" name="Afbeelding 13">
            <a:extLst>
              <a:ext uri="{FF2B5EF4-FFF2-40B4-BE49-F238E27FC236}">
                <a16:creationId xmlns:a16="http://schemas.microsoft.com/office/drawing/2014/main" id="{FC37C23D-1593-42AD-9E65-D700B1807E4D}"/>
              </a:ext>
            </a:extLst>
          </p:cNvPr>
          <p:cNvPicPr>
            <a:picLocks noChangeAspect="1"/>
          </p:cNvPicPr>
          <p:nvPr/>
        </p:nvPicPr>
        <p:blipFill>
          <a:blip r:embed="rId8"/>
          <a:stretch>
            <a:fillRect/>
          </a:stretch>
        </p:blipFill>
        <p:spPr>
          <a:xfrm>
            <a:off x="4897285" y="4480186"/>
            <a:ext cx="2317602" cy="1975138"/>
          </a:xfrm>
          <a:prstGeom prst="rect">
            <a:avLst/>
          </a:prstGeom>
        </p:spPr>
      </p:pic>
      <p:pic>
        <p:nvPicPr>
          <p:cNvPr id="26" name="Afbeelding 25" descr="Lijnpijl: curve rechtsom">
            <a:extLst>
              <a:ext uri="{FF2B5EF4-FFF2-40B4-BE49-F238E27FC236}">
                <a16:creationId xmlns:a16="http://schemas.microsoft.com/office/drawing/2014/main" id="{E7E9FF3E-8F22-4030-B388-BC90A9FF4DF0}"/>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9431294" flipH="1" flipV="1">
            <a:off x="3673848" y="3602507"/>
            <a:ext cx="780311" cy="780311"/>
          </a:xfrm>
          <a:prstGeom prst="rect">
            <a:avLst/>
          </a:prstGeom>
        </p:spPr>
      </p:pic>
      <p:pic>
        <p:nvPicPr>
          <p:cNvPr id="15" name="Afbeelding 14">
            <a:extLst>
              <a:ext uri="{FF2B5EF4-FFF2-40B4-BE49-F238E27FC236}">
                <a16:creationId xmlns:a16="http://schemas.microsoft.com/office/drawing/2014/main" id="{DB28A29D-1694-4D21-BAA8-7CBEABC318A3}"/>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11241707" y="6052930"/>
            <a:ext cx="661508" cy="556592"/>
          </a:xfrm>
          <a:prstGeom prst="rect">
            <a:avLst/>
          </a:prstGeom>
        </p:spPr>
      </p:pic>
    </p:spTree>
    <p:extLst>
      <p:ext uri="{BB962C8B-B14F-4D97-AF65-F5344CB8AC3E}">
        <p14:creationId xmlns:p14="http://schemas.microsoft.com/office/powerpoint/2010/main" val="8857156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6"/>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p:bldP spid="24"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fbeelding 3">
            <a:extLst>
              <a:ext uri="{FF2B5EF4-FFF2-40B4-BE49-F238E27FC236}">
                <a16:creationId xmlns:a16="http://schemas.microsoft.com/office/drawing/2014/main" id="{DDF6F1C6-A6B0-4B43-BC7A-F06344D7A1A4}"/>
              </a:ext>
            </a:extLst>
          </p:cNvPr>
          <p:cNvPicPr>
            <a:picLocks noChangeAspect="1"/>
          </p:cNvPicPr>
          <p:nvPr/>
        </p:nvPicPr>
        <p:blipFill rotWithShape="1">
          <a:blip r:embed="rId3"/>
          <a:srcRect r="22004"/>
          <a:stretch/>
        </p:blipFill>
        <p:spPr>
          <a:xfrm>
            <a:off x="6040328" y="0"/>
            <a:ext cx="6151672" cy="6858000"/>
          </a:xfrm>
          <a:prstGeom prst="rect">
            <a:avLst/>
          </a:prstGeom>
        </p:spPr>
      </p:pic>
      <p:sp>
        <p:nvSpPr>
          <p:cNvPr id="2" name="Rechthoekige driehoek 1">
            <a:extLst>
              <a:ext uri="{FF2B5EF4-FFF2-40B4-BE49-F238E27FC236}">
                <a16:creationId xmlns:a16="http://schemas.microsoft.com/office/drawing/2014/main" id="{F9327B08-8EF4-46A2-9860-EEF2E13528B9}"/>
              </a:ext>
            </a:extLst>
          </p:cNvPr>
          <p:cNvSpPr/>
          <p:nvPr/>
        </p:nvSpPr>
        <p:spPr>
          <a:xfrm flipV="1">
            <a:off x="6350977" y="10"/>
            <a:ext cx="1500251" cy="6857990"/>
          </a:xfrm>
          <a:prstGeom prst="rtTriangle">
            <a:avLst/>
          </a:prstGeom>
          <a:solidFill>
            <a:srgbClr val="96C1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Amaranth" panose="02000503000000020004" pitchFamily="50" charset="0"/>
            </a:endParaRPr>
          </a:p>
        </p:txBody>
      </p:sp>
      <p:sp>
        <p:nvSpPr>
          <p:cNvPr id="3" name="Rechthoek 2">
            <a:extLst>
              <a:ext uri="{FF2B5EF4-FFF2-40B4-BE49-F238E27FC236}">
                <a16:creationId xmlns:a16="http://schemas.microsoft.com/office/drawing/2014/main" id="{A2D8D86A-900D-43EF-8FE0-E29C92BC35FA}"/>
              </a:ext>
            </a:extLst>
          </p:cNvPr>
          <p:cNvSpPr/>
          <p:nvPr/>
        </p:nvSpPr>
        <p:spPr>
          <a:xfrm>
            <a:off x="0" y="0"/>
            <a:ext cx="6350977" cy="6858000"/>
          </a:xfrm>
          <a:prstGeom prst="rect">
            <a:avLst/>
          </a:prstGeom>
          <a:solidFill>
            <a:srgbClr val="96C1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Amaranth" panose="02000503000000020004" pitchFamily="50" charset="0"/>
            </a:endParaRPr>
          </a:p>
        </p:txBody>
      </p:sp>
      <p:sp>
        <p:nvSpPr>
          <p:cNvPr id="5" name="Freeform 41">
            <a:extLst>
              <a:ext uri="{FF2B5EF4-FFF2-40B4-BE49-F238E27FC236}">
                <a16:creationId xmlns:a16="http://schemas.microsoft.com/office/drawing/2014/main" id="{20FB9955-D084-4D6A-9E57-6E984302D75E}"/>
              </a:ext>
            </a:extLst>
          </p:cNvPr>
          <p:cNvSpPr/>
          <p:nvPr/>
        </p:nvSpPr>
        <p:spPr>
          <a:xfrm rot="845560">
            <a:off x="9808864" y="330351"/>
            <a:ext cx="2496921" cy="979369"/>
          </a:xfrm>
          <a:custGeom>
            <a:avLst/>
            <a:gdLst>
              <a:gd name="connsiteX0" fmla="*/ 45720 w 1267097"/>
              <a:gd name="connsiteY0" fmla="*/ 378823 h 378823"/>
              <a:gd name="connsiteX1" fmla="*/ 1267097 w 1267097"/>
              <a:gd name="connsiteY1" fmla="*/ 182880 h 378823"/>
              <a:gd name="connsiteX2" fmla="*/ 1267097 w 1267097"/>
              <a:gd name="connsiteY2" fmla="*/ 0 h 378823"/>
              <a:gd name="connsiteX3" fmla="*/ 0 w 1267097"/>
              <a:gd name="connsiteY3" fmla="*/ 189412 h 378823"/>
              <a:gd name="connsiteX4" fmla="*/ 45720 w 1267097"/>
              <a:gd name="connsiteY4" fmla="*/ 378823 h 378823"/>
              <a:gd name="connsiteX0" fmla="*/ 71845 w 1293222"/>
              <a:gd name="connsiteY0" fmla="*/ 378823 h 378823"/>
              <a:gd name="connsiteX1" fmla="*/ 1293222 w 1293222"/>
              <a:gd name="connsiteY1" fmla="*/ 182880 h 378823"/>
              <a:gd name="connsiteX2" fmla="*/ 1293222 w 1293222"/>
              <a:gd name="connsiteY2" fmla="*/ 0 h 378823"/>
              <a:gd name="connsiteX3" fmla="*/ 0 w 1293222"/>
              <a:gd name="connsiteY3" fmla="*/ 130629 h 378823"/>
              <a:gd name="connsiteX4" fmla="*/ 71845 w 1293222"/>
              <a:gd name="connsiteY4" fmla="*/ 378823 h 378823"/>
              <a:gd name="connsiteX0" fmla="*/ 65313 w 1293222"/>
              <a:gd name="connsiteY0" fmla="*/ 398417 h 398417"/>
              <a:gd name="connsiteX1" fmla="*/ 1293222 w 1293222"/>
              <a:gd name="connsiteY1" fmla="*/ 182880 h 398417"/>
              <a:gd name="connsiteX2" fmla="*/ 1293222 w 1293222"/>
              <a:gd name="connsiteY2" fmla="*/ 0 h 398417"/>
              <a:gd name="connsiteX3" fmla="*/ 0 w 1293222"/>
              <a:gd name="connsiteY3" fmla="*/ 130629 h 398417"/>
              <a:gd name="connsiteX4" fmla="*/ 65313 w 1293222"/>
              <a:gd name="connsiteY4" fmla="*/ 398417 h 398417"/>
              <a:gd name="connsiteX0" fmla="*/ 104663 w 1332572"/>
              <a:gd name="connsiteY0" fmla="*/ 488407 h 488407"/>
              <a:gd name="connsiteX1" fmla="*/ 1332572 w 1332572"/>
              <a:gd name="connsiteY1" fmla="*/ 272870 h 488407"/>
              <a:gd name="connsiteX2" fmla="*/ 1332572 w 1332572"/>
              <a:gd name="connsiteY2" fmla="*/ 89990 h 488407"/>
              <a:gd name="connsiteX3" fmla="*/ 0 w 1332572"/>
              <a:gd name="connsiteY3" fmla="*/ 0 h 488407"/>
              <a:gd name="connsiteX4" fmla="*/ 104663 w 1332572"/>
              <a:gd name="connsiteY4" fmla="*/ 488407 h 488407"/>
              <a:gd name="connsiteX0" fmla="*/ 58754 w 1286663"/>
              <a:gd name="connsiteY0" fmla="*/ 488407 h 488407"/>
              <a:gd name="connsiteX1" fmla="*/ 1286663 w 1286663"/>
              <a:gd name="connsiteY1" fmla="*/ 272870 h 488407"/>
              <a:gd name="connsiteX2" fmla="*/ 1286663 w 1286663"/>
              <a:gd name="connsiteY2" fmla="*/ 89990 h 488407"/>
              <a:gd name="connsiteX3" fmla="*/ 0 w 1286663"/>
              <a:gd name="connsiteY3" fmla="*/ 0 h 488407"/>
              <a:gd name="connsiteX4" fmla="*/ 58754 w 1286663"/>
              <a:gd name="connsiteY4" fmla="*/ 488407 h 488407"/>
              <a:gd name="connsiteX0" fmla="*/ 58754 w 1293221"/>
              <a:gd name="connsiteY0" fmla="*/ 574912 h 574912"/>
              <a:gd name="connsiteX1" fmla="*/ 1286663 w 1293221"/>
              <a:gd name="connsiteY1" fmla="*/ 359375 h 574912"/>
              <a:gd name="connsiteX2" fmla="*/ 1293221 w 1293221"/>
              <a:gd name="connsiteY2" fmla="*/ 0 h 574912"/>
              <a:gd name="connsiteX3" fmla="*/ 0 w 1293221"/>
              <a:gd name="connsiteY3" fmla="*/ 86505 h 574912"/>
              <a:gd name="connsiteX4" fmla="*/ 58754 w 1293221"/>
              <a:gd name="connsiteY4" fmla="*/ 574912 h 574912"/>
              <a:gd name="connsiteX0" fmla="*/ 58754 w 1470298"/>
              <a:gd name="connsiteY0" fmla="*/ 574912 h 574912"/>
              <a:gd name="connsiteX1" fmla="*/ 1470298 w 1470298"/>
              <a:gd name="connsiteY1" fmla="*/ 561083 h 574912"/>
              <a:gd name="connsiteX2" fmla="*/ 1293221 w 1470298"/>
              <a:gd name="connsiteY2" fmla="*/ 0 h 574912"/>
              <a:gd name="connsiteX3" fmla="*/ 0 w 1470298"/>
              <a:gd name="connsiteY3" fmla="*/ 86505 h 574912"/>
              <a:gd name="connsiteX4" fmla="*/ 58754 w 1470298"/>
              <a:gd name="connsiteY4" fmla="*/ 574912 h 574912"/>
              <a:gd name="connsiteX0" fmla="*/ 65313 w 1470298"/>
              <a:gd name="connsiteY0" fmla="*/ 795531 h 795531"/>
              <a:gd name="connsiteX1" fmla="*/ 1470298 w 1470298"/>
              <a:gd name="connsiteY1" fmla="*/ 561083 h 795531"/>
              <a:gd name="connsiteX2" fmla="*/ 1293221 w 1470298"/>
              <a:gd name="connsiteY2" fmla="*/ 0 h 795531"/>
              <a:gd name="connsiteX3" fmla="*/ 0 w 1470298"/>
              <a:gd name="connsiteY3" fmla="*/ 86505 h 795531"/>
              <a:gd name="connsiteX4" fmla="*/ 65313 w 1470298"/>
              <a:gd name="connsiteY4" fmla="*/ 795531 h 795531"/>
              <a:gd name="connsiteX0" fmla="*/ 65313 w 1844126"/>
              <a:gd name="connsiteY0" fmla="*/ 795531 h 795531"/>
              <a:gd name="connsiteX1" fmla="*/ 1844126 w 1844126"/>
              <a:gd name="connsiteY1" fmla="*/ 504352 h 795531"/>
              <a:gd name="connsiteX2" fmla="*/ 1293221 w 1844126"/>
              <a:gd name="connsiteY2" fmla="*/ 0 h 795531"/>
              <a:gd name="connsiteX3" fmla="*/ 0 w 1844126"/>
              <a:gd name="connsiteY3" fmla="*/ 86505 h 795531"/>
              <a:gd name="connsiteX4" fmla="*/ 65313 w 1844126"/>
              <a:gd name="connsiteY4" fmla="*/ 795531 h 795531"/>
              <a:gd name="connsiteX0" fmla="*/ 65313 w 1844126"/>
              <a:gd name="connsiteY0" fmla="*/ 845958 h 845958"/>
              <a:gd name="connsiteX1" fmla="*/ 1844126 w 1844126"/>
              <a:gd name="connsiteY1" fmla="*/ 554779 h 845958"/>
              <a:gd name="connsiteX2" fmla="*/ 1621141 w 1844126"/>
              <a:gd name="connsiteY2" fmla="*/ 0 h 845958"/>
              <a:gd name="connsiteX3" fmla="*/ 0 w 1844126"/>
              <a:gd name="connsiteY3" fmla="*/ 136932 h 845958"/>
              <a:gd name="connsiteX4" fmla="*/ 65313 w 1844126"/>
              <a:gd name="connsiteY4" fmla="*/ 845958 h 845958"/>
              <a:gd name="connsiteX0" fmla="*/ 65313 w 1844126"/>
              <a:gd name="connsiteY0" fmla="*/ 864868 h 864868"/>
              <a:gd name="connsiteX1" fmla="*/ 1844126 w 1844126"/>
              <a:gd name="connsiteY1" fmla="*/ 573689 h 864868"/>
              <a:gd name="connsiteX2" fmla="*/ 1621141 w 1844126"/>
              <a:gd name="connsiteY2" fmla="*/ 0 h 864868"/>
              <a:gd name="connsiteX3" fmla="*/ 0 w 1844126"/>
              <a:gd name="connsiteY3" fmla="*/ 155842 h 864868"/>
              <a:gd name="connsiteX4" fmla="*/ 65313 w 1844126"/>
              <a:gd name="connsiteY4" fmla="*/ 864868 h 864868"/>
              <a:gd name="connsiteX0" fmla="*/ 65313 w 1686724"/>
              <a:gd name="connsiteY0" fmla="*/ 864868 h 864868"/>
              <a:gd name="connsiteX1" fmla="*/ 1686724 w 1686724"/>
              <a:gd name="connsiteY1" fmla="*/ 561082 h 864868"/>
              <a:gd name="connsiteX2" fmla="*/ 1621141 w 1686724"/>
              <a:gd name="connsiteY2" fmla="*/ 0 h 864868"/>
              <a:gd name="connsiteX3" fmla="*/ 0 w 1686724"/>
              <a:gd name="connsiteY3" fmla="*/ 155842 h 864868"/>
              <a:gd name="connsiteX4" fmla="*/ 65313 w 1686724"/>
              <a:gd name="connsiteY4" fmla="*/ 864868 h 864868"/>
              <a:gd name="connsiteX0" fmla="*/ 39079 w 1660490"/>
              <a:gd name="connsiteY0" fmla="*/ 864868 h 864868"/>
              <a:gd name="connsiteX1" fmla="*/ 1660490 w 1660490"/>
              <a:gd name="connsiteY1" fmla="*/ 561082 h 864868"/>
              <a:gd name="connsiteX2" fmla="*/ 1594907 w 1660490"/>
              <a:gd name="connsiteY2" fmla="*/ 0 h 864868"/>
              <a:gd name="connsiteX3" fmla="*/ 0 w 1660490"/>
              <a:gd name="connsiteY3" fmla="*/ 351248 h 864868"/>
              <a:gd name="connsiteX4" fmla="*/ 39079 w 1660490"/>
              <a:gd name="connsiteY4" fmla="*/ 864868 h 864868"/>
              <a:gd name="connsiteX0" fmla="*/ 39079 w 1857243"/>
              <a:gd name="connsiteY0" fmla="*/ 719889 h 719889"/>
              <a:gd name="connsiteX1" fmla="*/ 1660490 w 1857243"/>
              <a:gd name="connsiteY1" fmla="*/ 416103 h 719889"/>
              <a:gd name="connsiteX2" fmla="*/ 1857243 w 1857243"/>
              <a:gd name="connsiteY2" fmla="*/ 0 h 719889"/>
              <a:gd name="connsiteX3" fmla="*/ 0 w 1857243"/>
              <a:gd name="connsiteY3" fmla="*/ 206269 h 719889"/>
              <a:gd name="connsiteX4" fmla="*/ 39079 w 1857243"/>
              <a:gd name="connsiteY4" fmla="*/ 719889 h 719889"/>
              <a:gd name="connsiteX0" fmla="*/ 39079 w 1909709"/>
              <a:gd name="connsiteY0" fmla="*/ 719889 h 719889"/>
              <a:gd name="connsiteX1" fmla="*/ 1909709 w 1909709"/>
              <a:gd name="connsiteY1" fmla="*/ 208090 h 719889"/>
              <a:gd name="connsiteX2" fmla="*/ 1857243 w 1909709"/>
              <a:gd name="connsiteY2" fmla="*/ 0 h 719889"/>
              <a:gd name="connsiteX3" fmla="*/ 0 w 1909709"/>
              <a:gd name="connsiteY3" fmla="*/ 206269 h 719889"/>
              <a:gd name="connsiteX4" fmla="*/ 39079 w 1909709"/>
              <a:gd name="connsiteY4" fmla="*/ 719889 h 719889"/>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206269 h 511876"/>
              <a:gd name="connsiteX4" fmla="*/ 39079 w 1909709"/>
              <a:gd name="connsiteY4" fmla="*/ 511876 h 511876"/>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121173 h 511876"/>
              <a:gd name="connsiteX4" fmla="*/ 39079 w 1909709"/>
              <a:gd name="connsiteY4" fmla="*/ 511876 h 511876"/>
              <a:gd name="connsiteX0" fmla="*/ 39079 w 1857243"/>
              <a:gd name="connsiteY0" fmla="*/ 511876 h 511876"/>
              <a:gd name="connsiteX1" fmla="*/ 1748372 w 1857243"/>
              <a:gd name="connsiteY1" fmla="*/ 309201 h 511876"/>
              <a:gd name="connsiteX2" fmla="*/ 1857243 w 1857243"/>
              <a:gd name="connsiteY2" fmla="*/ 0 h 511876"/>
              <a:gd name="connsiteX3" fmla="*/ 0 w 1857243"/>
              <a:gd name="connsiteY3" fmla="*/ 121173 h 511876"/>
              <a:gd name="connsiteX4" fmla="*/ 39079 w 1857243"/>
              <a:gd name="connsiteY4" fmla="*/ 511876 h 511876"/>
              <a:gd name="connsiteX0" fmla="*/ 39079 w 1748372"/>
              <a:gd name="connsiteY0" fmla="*/ 499237 h 499237"/>
              <a:gd name="connsiteX1" fmla="*/ 1748372 w 1748372"/>
              <a:gd name="connsiteY1" fmla="*/ 296562 h 499237"/>
              <a:gd name="connsiteX2" fmla="*/ 1723965 w 1748372"/>
              <a:gd name="connsiteY2" fmla="*/ 0 h 499237"/>
              <a:gd name="connsiteX3" fmla="*/ 0 w 1748372"/>
              <a:gd name="connsiteY3" fmla="*/ 108534 h 499237"/>
              <a:gd name="connsiteX4" fmla="*/ 39079 w 1748372"/>
              <a:gd name="connsiteY4" fmla="*/ 499237 h 499237"/>
              <a:gd name="connsiteX0" fmla="*/ 95196 w 1748372"/>
              <a:gd name="connsiteY0" fmla="*/ 451841 h 451841"/>
              <a:gd name="connsiteX1" fmla="*/ 1748372 w 1748372"/>
              <a:gd name="connsiteY1" fmla="*/ 296562 h 451841"/>
              <a:gd name="connsiteX2" fmla="*/ 1723965 w 1748372"/>
              <a:gd name="connsiteY2" fmla="*/ 0 h 451841"/>
              <a:gd name="connsiteX3" fmla="*/ 0 w 1748372"/>
              <a:gd name="connsiteY3" fmla="*/ 108534 h 451841"/>
              <a:gd name="connsiteX4" fmla="*/ 95196 w 1748372"/>
              <a:gd name="connsiteY4" fmla="*/ 451841 h 451841"/>
              <a:gd name="connsiteX0" fmla="*/ 95196 w 1723965"/>
              <a:gd name="connsiteY0" fmla="*/ 451841 h 451841"/>
              <a:gd name="connsiteX1" fmla="*/ 1713299 w 1723965"/>
              <a:gd name="connsiteY1" fmla="*/ 315520 h 451841"/>
              <a:gd name="connsiteX2" fmla="*/ 1723965 w 1723965"/>
              <a:gd name="connsiteY2" fmla="*/ 0 h 451841"/>
              <a:gd name="connsiteX3" fmla="*/ 0 w 1723965"/>
              <a:gd name="connsiteY3" fmla="*/ 108534 h 451841"/>
              <a:gd name="connsiteX4" fmla="*/ 95196 w 1723965"/>
              <a:gd name="connsiteY4" fmla="*/ 451841 h 451841"/>
              <a:gd name="connsiteX0" fmla="*/ 95196 w 1713299"/>
              <a:gd name="connsiteY0" fmla="*/ 455001 h 455001"/>
              <a:gd name="connsiteX1" fmla="*/ 1713299 w 1713299"/>
              <a:gd name="connsiteY1" fmla="*/ 318680 h 455001"/>
              <a:gd name="connsiteX2" fmla="*/ 1667848 w 1713299"/>
              <a:gd name="connsiteY2" fmla="*/ 0 h 455001"/>
              <a:gd name="connsiteX3" fmla="*/ 0 w 1713299"/>
              <a:gd name="connsiteY3" fmla="*/ 111694 h 455001"/>
              <a:gd name="connsiteX4" fmla="*/ 95196 w 1713299"/>
              <a:gd name="connsiteY4" fmla="*/ 455001 h 455001"/>
              <a:gd name="connsiteX0" fmla="*/ 67137 w 1685240"/>
              <a:gd name="connsiteY0" fmla="*/ 455001 h 455001"/>
              <a:gd name="connsiteX1" fmla="*/ 1685240 w 1685240"/>
              <a:gd name="connsiteY1" fmla="*/ 318680 h 455001"/>
              <a:gd name="connsiteX2" fmla="*/ 1639789 w 1685240"/>
              <a:gd name="connsiteY2" fmla="*/ 0 h 455001"/>
              <a:gd name="connsiteX3" fmla="*/ 0 w 1685240"/>
              <a:gd name="connsiteY3" fmla="*/ 130652 h 455001"/>
              <a:gd name="connsiteX4" fmla="*/ 67137 w 1685240"/>
              <a:gd name="connsiteY4" fmla="*/ 455001 h 455001"/>
              <a:gd name="connsiteX0" fmla="*/ 67137 w 1667473"/>
              <a:gd name="connsiteY0" fmla="*/ 455001 h 455001"/>
              <a:gd name="connsiteX1" fmla="*/ 1667473 w 1667473"/>
              <a:gd name="connsiteY1" fmla="*/ 242054 h 455001"/>
              <a:gd name="connsiteX2" fmla="*/ 1639789 w 1667473"/>
              <a:gd name="connsiteY2" fmla="*/ 0 h 455001"/>
              <a:gd name="connsiteX3" fmla="*/ 0 w 1667473"/>
              <a:gd name="connsiteY3" fmla="*/ 130652 h 455001"/>
              <a:gd name="connsiteX4" fmla="*/ 67137 w 1667473"/>
              <a:gd name="connsiteY4" fmla="*/ 455001 h 455001"/>
              <a:gd name="connsiteX0" fmla="*/ 100217 w 1700553"/>
              <a:gd name="connsiteY0" fmla="*/ 455001 h 455001"/>
              <a:gd name="connsiteX1" fmla="*/ 1700553 w 1700553"/>
              <a:gd name="connsiteY1" fmla="*/ 242054 h 455001"/>
              <a:gd name="connsiteX2" fmla="*/ 1672869 w 1700553"/>
              <a:gd name="connsiteY2" fmla="*/ 0 h 455001"/>
              <a:gd name="connsiteX3" fmla="*/ 0 w 1700553"/>
              <a:gd name="connsiteY3" fmla="*/ 205540 h 455001"/>
              <a:gd name="connsiteX4" fmla="*/ 100217 w 1700553"/>
              <a:gd name="connsiteY4" fmla="*/ 455001 h 455001"/>
              <a:gd name="connsiteX0" fmla="*/ 100217 w 1700553"/>
              <a:gd name="connsiteY0" fmla="*/ 366878 h 366878"/>
              <a:gd name="connsiteX1" fmla="*/ 1700553 w 1700553"/>
              <a:gd name="connsiteY1" fmla="*/ 153931 h 366878"/>
              <a:gd name="connsiteX2" fmla="*/ 1588975 w 1700553"/>
              <a:gd name="connsiteY2" fmla="*/ 0 h 366878"/>
              <a:gd name="connsiteX3" fmla="*/ 0 w 1700553"/>
              <a:gd name="connsiteY3" fmla="*/ 117417 h 366878"/>
              <a:gd name="connsiteX4" fmla="*/ 100217 w 1700553"/>
              <a:gd name="connsiteY4" fmla="*/ 366878 h 366878"/>
              <a:gd name="connsiteX0" fmla="*/ 115726 w 1700553"/>
              <a:gd name="connsiteY0" fmla="*/ 305211 h 305211"/>
              <a:gd name="connsiteX1" fmla="*/ 1700553 w 1700553"/>
              <a:gd name="connsiteY1" fmla="*/ 153931 h 305211"/>
              <a:gd name="connsiteX2" fmla="*/ 1588975 w 1700553"/>
              <a:gd name="connsiteY2" fmla="*/ 0 h 305211"/>
              <a:gd name="connsiteX3" fmla="*/ 0 w 1700553"/>
              <a:gd name="connsiteY3" fmla="*/ 117417 h 305211"/>
              <a:gd name="connsiteX4" fmla="*/ 115726 w 1700553"/>
              <a:gd name="connsiteY4" fmla="*/ 305211 h 305211"/>
              <a:gd name="connsiteX0" fmla="*/ 115726 w 1700553"/>
              <a:gd name="connsiteY0" fmla="*/ 321895 h 321895"/>
              <a:gd name="connsiteX1" fmla="*/ 1700553 w 1700553"/>
              <a:gd name="connsiteY1" fmla="*/ 170615 h 321895"/>
              <a:gd name="connsiteX2" fmla="*/ 1471607 w 1700553"/>
              <a:gd name="connsiteY2" fmla="*/ 0 h 321895"/>
              <a:gd name="connsiteX3" fmla="*/ 0 w 1700553"/>
              <a:gd name="connsiteY3" fmla="*/ 134101 h 321895"/>
              <a:gd name="connsiteX4" fmla="*/ 115726 w 1700553"/>
              <a:gd name="connsiteY4" fmla="*/ 321895 h 321895"/>
              <a:gd name="connsiteX0" fmla="*/ 115726 w 1581352"/>
              <a:gd name="connsiteY0" fmla="*/ 321895 h 321895"/>
              <a:gd name="connsiteX1" fmla="*/ 1581352 w 1581352"/>
              <a:gd name="connsiteY1" fmla="*/ 210307 h 321895"/>
              <a:gd name="connsiteX2" fmla="*/ 1471607 w 1581352"/>
              <a:gd name="connsiteY2" fmla="*/ 0 h 321895"/>
              <a:gd name="connsiteX3" fmla="*/ 0 w 1581352"/>
              <a:gd name="connsiteY3" fmla="*/ 134101 h 321895"/>
              <a:gd name="connsiteX4" fmla="*/ 115726 w 1581352"/>
              <a:gd name="connsiteY4" fmla="*/ 321895 h 321895"/>
              <a:gd name="connsiteX0" fmla="*/ 92298 w 1557924"/>
              <a:gd name="connsiteY0" fmla="*/ 321895 h 321895"/>
              <a:gd name="connsiteX1" fmla="*/ 1557924 w 1557924"/>
              <a:gd name="connsiteY1" fmla="*/ 210307 h 321895"/>
              <a:gd name="connsiteX2" fmla="*/ 1448179 w 1557924"/>
              <a:gd name="connsiteY2" fmla="*/ 0 h 321895"/>
              <a:gd name="connsiteX3" fmla="*/ 0 w 1557924"/>
              <a:gd name="connsiteY3" fmla="*/ 116473 h 321895"/>
              <a:gd name="connsiteX4" fmla="*/ 92298 w 1557924"/>
              <a:gd name="connsiteY4" fmla="*/ 321895 h 321895"/>
              <a:gd name="connsiteX0" fmla="*/ 152961 w 1557924"/>
              <a:gd name="connsiteY0" fmla="*/ 341247 h 341247"/>
              <a:gd name="connsiteX1" fmla="*/ 1557924 w 1557924"/>
              <a:gd name="connsiteY1" fmla="*/ 210307 h 341247"/>
              <a:gd name="connsiteX2" fmla="*/ 1448179 w 1557924"/>
              <a:gd name="connsiteY2" fmla="*/ 0 h 341247"/>
              <a:gd name="connsiteX3" fmla="*/ 0 w 1557924"/>
              <a:gd name="connsiteY3" fmla="*/ 116473 h 341247"/>
              <a:gd name="connsiteX4" fmla="*/ 152961 w 1557924"/>
              <a:gd name="connsiteY4" fmla="*/ 341247 h 341247"/>
              <a:gd name="connsiteX0" fmla="*/ 135357 w 1557924"/>
              <a:gd name="connsiteY0" fmla="*/ 339493 h 339493"/>
              <a:gd name="connsiteX1" fmla="*/ 1557924 w 1557924"/>
              <a:gd name="connsiteY1" fmla="*/ 210307 h 339493"/>
              <a:gd name="connsiteX2" fmla="*/ 1448179 w 1557924"/>
              <a:gd name="connsiteY2" fmla="*/ 0 h 339493"/>
              <a:gd name="connsiteX3" fmla="*/ 0 w 1557924"/>
              <a:gd name="connsiteY3" fmla="*/ 116473 h 339493"/>
              <a:gd name="connsiteX4" fmla="*/ 135357 w 1557924"/>
              <a:gd name="connsiteY4" fmla="*/ 339493 h 339493"/>
              <a:gd name="connsiteX0" fmla="*/ 109934 w 1532501"/>
              <a:gd name="connsiteY0" fmla="*/ 339493 h 339493"/>
              <a:gd name="connsiteX1" fmla="*/ 1532501 w 1532501"/>
              <a:gd name="connsiteY1" fmla="*/ 210307 h 339493"/>
              <a:gd name="connsiteX2" fmla="*/ 1422756 w 1532501"/>
              <a:gd name="connsiteY2" fmla="*/ 0 h 339493"/>
              <a:gd name="connsiteX3" fmla="*/ 0 w 1532501"/>
              <a:gd name="connsiteY3" fmla="*/ 117343 h 339493"/>
              <a:gd name="connsiteX4" fmla="*/ 109934 w 1532501"/>
              <a:gd name="connsiteY4" fmla="*/ 339493 h 339493"/>
              <a:gd name="connsiteX0" fmla="*/ 133525 w 1556092"/>
              <a:gd name="connsiteY0" fmla="*/ 339493 h 339493"/>
              <a:gd name="connsiteX1" fmla="*/ 1556092 w 1556092"/>
              <a:gd name="connsiteY1" fmla="*/ 210307 h 339493"/>
              <a:gd name="connsiteX2" fmla="*/ 1446347 w 1556092"/>
              <a:gd name="connsiteY2" fmla="*/ 0 h 339493"/>
              <a:gd name="connsiteX3" fmla="*/ 0 w 1556092"/>
              <a:gd name="connsiteY3" fmla="*/ 60098 h 339493"/>
              <a:gd name="connsiteX4" fmla="*/ 133525 w 1556092"/>
              <a:gd name="connsiteY4" fmla="*/ 339493 h 339493"/>
              <a:gd name="connsiteX0" fmla="*/ 133525 w 2343667"/>
              <a:gd name="connsiteY0" fmla="*/ 459688 h 459688"/>
              <a:gd name="connsiteX1" fmla="*/ 1556092 w 2343667"/>
              <a:gd name="connsiteY1" fmla="*/ 330502 h 459688"/>
              <a:gd name="connsiteX2" fmla="*/ 2343667 w 2343667"/>
              <a:gd name="connsiteY2" fmla="*/ 0 h 459688"/>
              <a:gd name="connsiteX3" fmla="*/ 0 w 2343667"/>
              <a:gd name="connsiteY3" fmla="*/ 180293 h 459688"/>
              <a:gd name="connsiteX4" fmla="*/ 133525 w 2343667"/>
              <a:gd name="connsiteY4" fmla="*/ 459688 h 459688"/>
              <a:gd name="connsiteX0" fmla="*/ 133525 w 2391079"/>
              <a:gd name="connsiteY0" fmla="*/ 459688 h 459688"/>
              <a:gd name="connsiteX1" fmla="*/ 2391079 w 2391079"/>
              <a:gd name="connsiteY1" fmla="*/ 322204 h 459688"/>
              <a:gd name="connsiteX2" fmla="*/ 2343667 w 2391079"/>
              <a:gd name="connsiteY2" fmla="*/ 0 h 459688"/>
              <a:gd name="connsiteX3" fmla="*/ 0 w 2391079"/>
              <a:gd name="connsiteY3" fmla="*/ 180293 h 459688"/>
              <a:gd name="connsiteX4" fmla="*/ 133525 w 2391079"/>
              <a:gd name="connsiteY4" fmla="*/ 459688 h 459688"/>
              <a:gd name="connsiteX0" fmla="*/ 159047 w 2391079"/>
              <a:gd name="connsiteY0" fmla="*/ 505482 h 505482"/>
              <a:gd name="connsiteX1" fmla="*/ 2391079 w 2391079"/>
              <a:gd name="connsiteY1" fmla="*/ 322204 h 505482"/>
              <a:gd name="connsiteX2" fmla="*/ 2343667 w 2391079"/>
              <a:gd name="connsiteY2" fmla="*/ 0 h 505482"/>
              <a:gd name="connsiteX3" fmla="*/ 0 w 2391079"/>
              <a:gd name="connsiteY3" fmla="*/ 180293 h 505482"/>
              <a:gd name="connsiteX4" fmla="*/ 159047 w 2391079"/>
              <a:gd name="connsiteY4" fmla="*/ 505482 h 505482"/>
              <a:gd name="connsiteX0" fmla="*/ 159047 w 2391079"/>
              <a:gd name="connsiteY0" fmla="*/ 518659 h 518659"/>
              <a:gd name="connsiteX1" fmla="*/ 2391079 w 2391079"/>
              <a:gd name="connsiteY1" fmla="*/ 335381 h 518659"/>
              <a:gd name="connsiteX2" fmla="*/ 2261507 w 2391079"/>
              <a:gd name="connsiteY2" fmla="*/ 0 h 518659"/>
              <a:gd name="connsiteX3" fmla="*/ 0 w 2391079"/>
              <a:gd name="connsiteY3" fmla="*/ 193470 h 518659"/>
              <a:gd name="connsiteX4" fmla="*/ 159047 w 2391079"/>
              <a:gd name="connsiteY4" fmla="*/ 518659 h 518659"/>
              <a:gd name="connsiteX0" fmla="*/ 159047 w 2513813"/>
              <a:gd name="connsiteY0" fmla="*/ 498511 h 498511"/>
              <a:gd name="connsiteX1" fmla="*/ 2391079 w 2513813"/>
              <a:gd name="connsiteY1" fmla="*/ 315233 h 498511"/>
              <a:gd name="connsiteX2" fmla="*/ 2513813 w 2513813"/>
              <a:gd name="connsiteY2" fmla="*/ 0 h 498511"/>
              <a:gd name="connsiteX3" fmla="*/ 0 w 2513813"/>
              <a:gd name="connsiteY3" fmla="*/ 173322 h 498511"/>
              <a:gd name="connsiteX4" fmla="*/ 159047 w 2513813"/>
              <a:gd name="connsiteY4" fmla="*/ 498511 h 498511"/>
              <a:gd name="connsiteX0" fmla="*/ 159047 w 2547383"/>
              <a:gd name="connsiteY0" fmla="*/ 498511 h 498511"/>
              <a:gd name="connsiteX1" fmla="*/ 2547383 w 2547383"/>
              <a:gd name="connsiteY1" fmla="*/ 252623 h 498511"/>
              <a:gd name="connsiteX2" fmla="*/ 2513813 w 2547383"/>
              <a:gd name="connsiteY2" fmla="*/ 0 h 498511"/>
              <a:gd name="connsiteX3" fmla="*/ 0 w 2547383"/>
              <a:gd name="connsiteY3" fmla="*/ 173322 h 498511"/>
              <a:gd name="connsiteX4" fmla="*/ 159047 w 2547383"/>
              <a:gd name="connsiteY4" fmla="*/ 498511 h 498511"/>
              <a:gd name="connsiteX0" fmla="*/ 164772 w 2553108"/>
              <a:gd name="connsiteY0" fmla="*/ 498511 h 498511"/>
              <a:gd name="connsiteX1" fmla="*/ 2553108 w 2553108"/>
              <a:gd name="connsiteY1" fmla="*/ 252623 h 498511"/>
              <a:gd name="connsiteX2" fmla="*/ 2519538 w 2553108"/>
              <a:gd name="connsiteY2" fmla="*/ 0 h 498511"/>
              <a:gd name="connsiteX3" fmla="*/ 0 w 2553108"/>
              <a:gd name="connsiteY3" fmla="*/ 237627 h 498511"/>
              <a:gd name="connsiteX4" fmla="*/ 164772 w 2553108"/>
              <a:gd name="connsiteY4" fmla="*/ 498511 h 498511"/>
              <a:gd name="connsiteX0" fmla="*/ 102113 w 2553108"/>
              <a:gd name="connsiteY0" fmla="*/ 460662 h 460662"/>
              <a:gd name="connsiteX1" fmla="*/ 2553108 w 2553108"/>
              <a:gd name="connsiteY1" fmla="*/ 252623 h 460662"/>
              <a:gd name="connsiteX2" fmla="*/ 2519538 w 2553108"/>
              <a:gd name="connsiteY2" fmla="*/ 0 h 460662"/>
              <a:gd name="connsiteX3" fmla="*/ 0 w 2553108"/>
              <a:gd name="connsiteY3" fmla="*/ 237627 h 460662"/>
              <a:gd name="connsiteX4" fmla="*/ 102113 w 2553108"/>
              <a:gd name="connsiteY4" fmla="*/ 460662 h 460662"/>
              <a:gd name="connsiteX0" fmla="*/ 102113 w 2553108"/>
              <a:gd name="connsiteY0" fmla="*/ 424537 h 424537"/>
              <a:gd name="connsiteX1" fmla="*/ 2553108 w 2553108"/>
              <a:gd name="connsiteY1" fmla="*/ 216498 h 424537"/>
              <a:gd name="connsiteX2" fmla="*/ 2498106 w 2553108"/>
              <a:gd name="connsiteY2" fmla="*/ 0 h 424537"/>
              <a:gd name="connsiteX3" fmla="*/ 0 w 2553108"/>
              <a:gd name="connsiteY3" fmla="*/ 201502 h 424537"/>
              <a:gd name="connsiteX4" fmla="*/ 102113 w 2553108"/>
              <a:gd name="connsiteY4" fmla="*/ 424537 h 424537"/>
              <a:gd name="connsiteX0" fmla="*/ 90333 w 2553108"/>
              <a:gd name="connsiteY0" fmla="*/ 403402 h 403402"/>
              <a:gd name="connsiteX1" fmla="*/ 2553108 w 2553108"/>
              <a:gd name="connsiteY1" fmla="*/ 216498 h 403402"/>
              <a:gd name="connsiteX2" fmla="*/ 2498106 w 2553108"/>
              <a:gd name="connsiteY2" fmla="*/ 0 h 403402"/>
              <a:gd name="connsiteX3" fmla="*/ 0 w 2553108"/>
              <a:gd name="connsiteY3" fmla="*/ 201502 h 403402"/>
              <a:gd name="connsiteX4" fmla="*/ 90333 w 2553108"/>
              <a:gd name="connsiteY4" fmla="*/ 403402 h 403402"/>
              <a:gd name="connsiteX0" fmla="*/ 60951 w 2523726"/>
              <a:gd name="connsiteY0" fmla="*/ 403402 h 403402"/>
              <a:gd name="connsiteX1" fmla="*/ 2523726 w 2523726"/>
              <a:gd name="connsiteY1" fmla="*/ 216498 h 403402"/>
              <a:gd name="connsiteX2" fmla="*/ 2468724 w 2523726"/>
              <a:gd name="connsiteY2" fmla="*/ 0 h 403402"/>
              <a:gd name="connsiteX3" fmla="*/ 0 w 2523726"/>
              <a:gd name="connsiteY3" fmla="*/ 224392 h 403402"/>
              <a:gd name="connsiteX4" fmla="*/ 60951 w 2523726"/>
              <a:gd name="connsiteY4" fmla="*/ 403402 h 40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3726" h="403402">
                <a:moveTo>
                  <a:pt x="60951" y="403402"/>
                </a:moveTo>
                <a:lnTo>
                  <a:pt x="2523726" y="216498"/>
                </a:lnTo>
                <a:lnTo>
                  <a:pt x="2468724" y="0"/>
                </a:lnTo>
                <a:lnTo>
                  <a:pt x="0" y="224392"/>
                </a:lnTo>
                <a:lnTo>
                  <a:pt x="60951" y="403402"/>
                </a:lnTo>
                <a:close/>
              </a:path>
            </a:pathLst>
          </a:custGeom>
          <a:solidFill>
            <a:srgbClr val="96C1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latin typeface="Amaranth" panose="02000503000000020004" pitchFamily="50" charset="0"/>
            </a:endParaRPr>
          </a:p>
        </p:txBody>
      </p:sp>
      <p:sp>
        <p:nvSpPr>
          <p:cNvPr id="6" name="TextBox 9">
            <a:extLst>
              <a:ext uri="{FF2B5EF4-FFF2-40B4-BE49-F238E27FC236}">
                <a16:creationId xmlns:a16="http://schemas.microsoft.com/office/drawing/2014/main" id="{9B832288-0203-4382-8E0B-64F0CD6C41F8}"/>
              </a:ext>
            </a:extLst>
          </p:cNvPr>
          <p:cNvSpPr txBox="1">
            <a:spLocks noChangeArrowheads="1"/>
          </p:cNvSpPr>
          <p:nvPr/>
        </p:nvSpPr>
        <p:spPr bwMode="auto">
          <a:xfrm>
            <a:off x="9983894" y="635370"/>
            <a:ext cx="2403551"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algn="ctr">
              <a:defRPr>
                <a:solidFill>
                  <a:schemeClr val="lt1"/>
                </a:solidFill>
                <a:latin typeface="Amaranth" panose="02000503000000020004" pitchFamily="50"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nl-BE" dirty="0"/>
              <a:t>Routines</a:t>
            </a:r>
          </a:p>
        </p:txBody>
      </p:sp>
      <p:sp>
        <p:nvSpPr>
          <p:cNvPr id="7" name="Rechthoek 12">
            <a:extLst>
              <a:ext uri="{FF2B5EF4-FFF2-40B4-BE49-F238E27FC236}">
                <a16:creationId xmlns:a16="http://schemas.microsoft.com/office/drawing/2014/main" id="{378B92CC-8675-446E-885E-9E4CB802EE11}"/>
              </a:ext>
            </a:extLst>
          </p:cNvPr>
          <p:cNvSpPr/>
          <p:nvPr/>
        </p:nvSpPr>
        <p:spPr>
          <a:xfrm>
            <a:off x="588776" y="454113"/>
            <a:ext cx="6738913" cy="707870"/>
          </a:xfrm>
          <a:prstGeom prst="rect">
            <a:avLst/>
          </a:prstGeom>
          <a:noFill/>
          <a:ln>
            <a:noFill/>
          </a:ln>
        </p:spPr>
        <p:txBody>
          <a:bodyPr wrap="square" lIns="91424" tIns="45712" rIns="91424" bIns="45712">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4000" b="0" i="0" u="none" strike="noStrike" kern="1200" cap="none" spc="0" normalizeH="0" baseline="0" noProof="0" dirty="0">
                <a:ln>
                  <a:noFill/>
                </a:ln>
                <a:solidFill>
                  <a:prstClr val="white"/>
                </a:solidFill>
                <a:effectLst/>
                <a:uLnTx/>
                <a:uFillTx/>
                <a:latin typeface="Amaranth" panose="02000503000000020004" pitchFamily="50" charset="0"/>
                <a:ea typeface="+mn-ea"/>
                <a:cs typeface="Arial" panose="020B0604020202020204" pitchFamily="34" charset="0"/>
              </a:rPr>
              <a:t>Routine – Taal </a:t>
            </a:r>
          </a:p>
        </p:txBody>
      </p:sp>
      <p:sp>
        <p:nvSpPr>
          <p:cNvPr id="10" name="Rechthoek 9">
            <a:extLst>
              <a:ext uri="{FF2B5EF4-FFF2-40B4-BE49-F238E27FC236}">
                <a16:creationId xmlns:a16="http://schemas.microsoft.com/office/drawing/2014/main" id="{059AF65A-260A-42F6-99C8-006210670E58}"/>
              </a:ext>
            </a:extLst>
          </p:cNvPr>
          <p:cNvSpPr/>
          <p:nvPr/>
        </p:nvSpPr>
        <p:spPr>
          <a:xfrm>
            <a:off x="588776" y="1616086"/>
            <a:ext cx="6648808" cy="2185214"/>
          </a:xfrm>
          <a:prstGeom prst="rect">
            <a:avLst/>
          </a:prstGeom>
        </p:spPr>
        <p:txBody>
          <a:bodyPr wrap="none">
            <a:spAutoFit/>
          </a:bodyPr>
          <a:lstStyle/>
          <a:p>
            <a:pPr marL="457189" indent="-457189">
              <a:lnSpc>
                <a:spcPct val="150000"/>
              </a:lnSpc>
              <a:buFont typeface="Arial" panose="020B0604020202020204" pitchFamily="34" charset="0"/>
              <a:buChar char="•"/>
              <a:defRPr/>
            </a:pPr>
            <a:r>
              <a:rPr lang="nl-NL" sz="2400" dirty="0">
                <a:solidFill>
                  <a:prstClr val="white"/>
                </a:solidFill>
                <a:latin typeface="Calibri" panose="020F0502020204030204"/>
              </a:rPr>
              <a:t>Rond de letter – Alzijdig verkennen van de letter</a:t>
            </a:r>
          </a:p>
          <a:p>
            <a:pPr marL="457189" indent="-457189">
              <a:lnSpc>
                <a:spcPct val="150000"/>
              </a:lnSpc>
              <a:buFont typeface="Arial" panose="020B0604020202020204" pitchFamily="34" charset="0"/>
              <a:buChar char="•"/>
              <a:defRPr/>
            </a:pPr>
            <a:r>
              <a:rPr lang="nl-NL" sz="2400" dirty="0">
                <a:solidFill>
                  <a:prstClr val="white"/>
                </a:solidFill>
                <a:latin typeface="Calibri" panose="020F0502020204030204"/>
              </a:rPr>
              <a:t>Woordenschat: een schat aan woorden </a:t>
            </a:r>
          </a:p>
          <a:p>
            <a:pPr marL="457189" indent="-457189">
              <a:lnSpc>
                <a:spcPct val="150000"/>
              </a:lnSpc>
              <a:buFont typeface="Arial" panose="020B0604020202020204" pitchFamily="34" charset="0"/>
              <a:buChar char="•"/>
              <a:defRPr/>
            </a:pPr>
            <a:r>
              <a:rPr lang="nl-NL" sz="2400" dirty="0">
                <a:solidFill>
                  <a:prstClr val="white"/>
                </a:solidFill>
                <a:latin typeface="Calibri" panose="020F0502020204030204"/>
              </a:rPr>
              <a:t>De verhaalsleutel én elke dag voorlezen</a:t>
            </a:r>
          </a:p>
          <a:p>
            <a:pPr>
              <a:buClr>
                <a:srgbClr val="002060"/>
              </a:buClr>
            </a:pPr>
            <a:endParaRPr lang="nl-NL" sz="2800" dirty="0">
              <a:solidFill>
                <a:srgbClr val="002060"/>
              </a:solidFill>
              <a:latin typeface="Arial" panose="020B0604020202020204" pitchFamily="34" charset="0"/>
              <a:cs typeface="Arial" panose="020B0604020202020204" pitchFamily="34" charset="0"/>
            </a:endParaRPr>
          </a:p>
        </p:txBody>
      </p:sp>
      <p:pic>
        <p:nvPicPr>
          <p:cNvPr id="14" name="Afbeelding 13">
            <a:extLst>
              <a:ext uri="{FF2B5EF4-FFF2-40B4-BE49-F238E27FC236}">
                <a16:creationId xmlns:a16="http://schemas.microsoft.com/office/drawing/2014/main" id="{20991670-58DD-4D76-9154-99062784E746}"/>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7709" t="8001" r="7161" b="6600"/>
          <a:stretch/>
        </p:blipFill>
        <p:spPr>
          <a:xfrm>
            <a:off x="3038374" y="4757160"/>
            <a:ext cx="1749612" cy="1755150"/>
          </a:xfrm>
          <a:prstGeom prst="rect">
            <a:avLst/>
          </a:prstGeom>
          <a:ln>
            <a:solidFill>
              <a:schemeClr val="bg1">
                <a:lumMod val="85000"/>
              </a:schemeClr>
            </a:solidFill>
          </a:ln>
        </p:spPr>
      </p:pic>
      <p:pic>
        <p:nvPicPr>
          <p:cNvPr id="15" name="Afbeelding 14">
            <a:extLst>
              <a:ext uri="{FF2B5EF4-FFF2-40B4-BE49-F238E27FC236}">
                <a16:creationId xmlns:a16="http://schemas.microsoft.com/office/drawing/2014/main" id="{55EB953A-EF45-4A5B-857F-76D7A615966E}"/>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6645" t="5635" r="6168" b="7565"/>
          <a:stretch/>
        </p:blipFill>
        <p:spPr>
          <a:xfrm>
            <a:off x="1180173" y="4757160"/>
            <a:ext cx="1762977" cy="1755150"/>
          </a:xfrm>
          <a:prstGeom prst="rect">
            <a:avLst/>
          </a:prstGeom>
          <a:ln>
            <a:solidFill>
              <a:schemeClr val="bg1">
                <a:lumMod val="85000"/>
              </a:schemeClr>
            </a:solidFill>
          </a:ln>
        </p:spPr>
      </p:pic>
      <p:pic>
        <p:nvPicPr>
          <p:cNvPr id="12" name="Afbeelding 11">
            <a:extLst>
              <a:ext uri="{FF2B5EF4-FFF2-40B4-BE49-F238E27FC236}">
                <a16:creationId xmlns:a16="http://schemas.microsoft.com/office/drawing/2014/main" id="{F99ACB31-1571-4380-B58C-ED3D72C7ABA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294831" y="6164016"/>
            <a:ext cx="724228" cy="563044"/>
          </a:xfrm>
          <a:prstGeom prst="rect">
            <a:avLst/>
          </a:prstGeom>
        </p:spPr>
      </p:pic>
      <p:pic>
        <p:nvPicPr>
          <p:cNvPr id="16" name="Picture 53">
            <a:extLst>
              <a:ext uri="{FF2B5EF4-FFF2-40B4-BE49-F238E27FC236}">
                <a16:creationId xmlns:a16="http://schemas.microsoft.com/office/drawing/2014/main" id="{9E42CFBB-133C-4D81-A7B4-C93167C374F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21202019">
            <a:off x="-63809" y="3422358"/>
            <a:ext cx="1437345" cy="1153855"/>
          </a:xfrm>
          <a:prstGeom prst="rect">
            <a:avLst/>
          </a:prstGeom>
        </p:spPr>
      </p:pic>
    </p:spTree>
    <p:extLst>
      <p:ext uri="{BB962C8B-B14F-4D97-AF65-F5344CB8AC3E}">
        <p14:creationId xmlns:p14="http://schemas.microsoft.com/office/powerpoint/2010/main" val="35971662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Afbeelding 7">
            <a:extLst>
              <a:ext uri="{FF2B5EF4-FFF2-40B4-BE49-F238E27FC236}">
                <a16:creationId xmlns:a16="http://schemas.microsoft.com/office/drawing/2014/main" id="{6FB0DDA5-F813-4624-8E59-589C0B0DACEC}"/>
              </a:ext>
            </a:extLst>
          </p:cNvPr>
          <p:cNvPicPr>
            <a:picLocks noChangeAspect="1"/>
          </p:cNvPicPr>
          <p:nvPr/>
        </p:nvPicPr>
        <p:blipFill rotWithShape="1">
          <a:blip r:embed="rId3"/>
          <a:srcRect r="25969"/>
          <a:stretch/>
        </p:blipFill>
        <p:spPr>
          <a:xfrm>
            <a:off x="5389700" y="0"/>
            <a:ext cx="6802300" cy="6858000"/>
          </a:xfrm>
          <a:prstGeom prst="rect">
            <a:avLst/>
          </a:prstGeom>
        </p:spPr>
      </p:pic>
      <p:sp>
        <p:nvSpPr>
          <p:cNvPr id="2" name="Rechthoekige driehoek 1">
            <a:extLst>
              <a:ext uri="{FF2B5EF4-FFF2-40B4-BE49-F238E27FC236}">
                <a16:creationId xmlns:a16="http://schemas.microsoft.com/office/drawing/2014/main" id="{F9327B08-8EF4-46A2-9860-EEF2E13528B9}"/>
              </a:ext>
            </a:extLst>
          </p:cNvPr>
          <p:cNvSpPr/>
          <p:nvPr/>
        </p:nvSpPr>
        <p:spPr>
          <a:xfrm flipV="1">
            <a:off x="6350977" y="10"/>
            <a:ext cx="1500251" cy="6857990"/>
          </a:xfrm>
          <a:prstGeom prst="rtTriangle">
            <a:avLst/>
          </a:prstGeom>
          <a:solidFill>
            <a:srgbClr val="96C1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Amaranth" panose="02000503000000020004" pitchFamily="50" charset="0"/>
            </a:endParaRPr>
          </a:p>
        </p:txBody>
      </p:sp>
      <p:sp>
        <p:nvSpPr>
          <p:cNvPr id="3" name="Rechthoek 2">
            <a:extLst>
              <a:ext uri="{FF2B5EF4-FFF2-40B4-BE49-F238E27FC236}">
                <a16:creationId xmlns:a16="http://schemas.microsoft.com/office/drawing/2014/main" id="{A2D8D86A-900D-43EF-8FE0-E29C92BC35FA}"/>
              </a:ext>
            </a:extLst>
          </p:cNvPr>
          <p:cNvSpPr/>
          <p:nvPr/>
        </p:nvSpPr>
        <p:spPr>
          <a:xfrm>
            <a:off x="0" y="0"/>
            <a:ext cx="6350977" cy="6858000"/>
          </a:xfrm>
          <a:prstGeom prst="rect">
            <a:avLst/>
          </a:prstGeom>
          <a:solidFill>
            <a:srgbClr val="96C1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Amaranth" panose="02000503000000020004" pitchFamily="50" charset="0"/>
            </a:endParaRPr>
          </a:p>
        </p:txBody>
      </p:sp>
      <p:sp>
        <p:nvSpPr>
          <p:cNvPr id="5" name="Freeform 41">
            <a:extLst>
              <a:ext uri="{FF2B5EF4-FFF2-40B4-BE49-F238E27FC236}">
                <a16:creationId xmlns:a16="http://schemas.microsoft.com/office/drawing/2014/main" id="{20FB9955-D084-4D6A-9E57-6E984302D75E}"/>
              </a:ext>
            </a:extLst>
          </p:cNvPr>
          <p:cNvSpPr/>
          <p:nvPr/>
        </p:nvSpPr>
        <p:spPr>
          <a:xfrm rot="845560">
            <a:off x="9808864" y="330351"/>
            <a:ext cx="2496921" cy="979369"/>
          </a:xfrm>
          <a:custGeom>
            <a:avLst/>
            <a:gdLst>
              <a:gd name="connsiteX0" fmla="*/ 45720 w 1267097"/>
              <a:gd name="connsiteY0" fmla="*/ 378823 h 378823"/>
              <a:gd name="connsiteX1" fmla="*/ 1267097 w 1267097"/>
              <a:gd name="connsiteY1" fmla="*/ 182880 h 378823"/>
              <a:gd name="connsiteX2" fmla="*/ 1267097 w 1267097"/>
              <a:gd name="connsiteY2" fmla="*/ 0 h 378823"/>
              <a:gd name="connsiteX3" fmla="*/ 0 w 1267097"/>
              <a:gd name="connsiteY3" fmla="*/ 189412 h 378823"/>
              <a:gd name="connsiteX4" fmla="*/ 45720 w 1267097"/>
              <a:gd name="connsiteY4" fmla="*/ 378823 h 378823"/>
              <a:gd name="connsiteX0" fmla="*/ 71845 w 1293222"/>
              <a:gd name="connsiteY0" fmla="*/ 378823 h 378823"/>
              <a:gd name="connsiteX1" fmla="*/ 1293222 w 1293222"/>
              <a:gd name="connsiteY1" fmla="*/ 182880 h 378823"/>
              <a:gd name="connsiteX2" fmla="*/ 1293222 w 1293222"/>
              <a:gd name="connsiteY2" fmla="*/ 0 h 378823"/>
              <a:gd name="connsiteX3" fmla="*/ 0 w 1293222"/>
              <a:gd name="connsiteY3" fmla="*/ 130629 h 378823"/>
              <a:gd name="connsiteX4" fmla="*/ 71845 w 1293222"/>
              <a:gd name="connsiteY4" fmla="*/ 378823 h 378823"/>
              <a:gd name="connsiteX0" fmla="*/ 65313 w 1293222"/>
              <a:gd name="connsiteY0" fmla="*/ 398417 h 398417"/>
              <a:gd name="connsiteX1" fmla="*/ 1293222 w 1293222"/>
              <a:gd name="connsiteY1" fmla="*/ 182880 h 398417"/>
              <a:gd name="connsiteX2" fmla="*/ 1293222 w 1293222"/>
              <a:gd name="connsiteY2" fmla="*/ 0 h 398417"/>
              <a:gd name="connsiteX3" fmla="*/ 0 w 1293222"/>
              <a:gd name="connsiteY3" fmla="*/ 130629 h 398417"/>
              <a:gd name="connsiteX4" fmla="*/ 65313 w 1293222"/>
              <a:gd name="connsiteY4" fmla="*/ 398417 h 398417"/>
              <a:gd name="connsiteX0" fmla="*/ 104663 w 1332572"/>
              <a:gd name="connsiteY0" fmla="*/ 488407 h 488407"/>
              <a:gd name="connsiteX1" fmla="*/ 1332572 w 1332572"/>
              <a:gd name="connsiteY1" fmla="*/ 272870 h 488407"/>
              <a:gd name="connsiteX2" fmla="*/ 1332572 w 1332572"/>
              <a:gd name="connsiteY2" fmla="*/ 89990 h 488407"/>
              <a:gd name="connsiteX3" fmla="*/ 0 w 1332572"/>
              <a:gd name="connsiteY3" fmla="*/ 0 h 488407"/>
              <a:gd name="connsiteX4" fmla="*/ 104663 w 1332572"/>
              <a:gd name="connsiteY4" fmla="*/ 488407 h 488407"/>
              <a:gd name="connsiteX0" fmla="*/ 58754 w 1286663"/>
              <a:gd name="connsiteY0" fmla="*/ 488407 h 488407"/>
              <a:gd name="connsiteX1" fmla="*/ 1286663 w 1286663"/>
              <a:gd name="connsiteY1" fmla="*/ 272870 h 488407"/>
              <a:gd name="connsiteX2" fmla="*/ 1286663 w 1286663"/>
              <a:gd name="connsiteY2" fmla="*/ 89990 h 488407"/>
              <a:gd name="connsiteX3" fmla="*/ 0 w 1286663"/>
              <a:gd name="connsiteY3" fmla="*/ 0 h 488407"/>
              <a:gd name="connsiteX4" fmla="*/ 58754 w 1286663"/>
              <a:gd name="connsiteY4" fmla="*/ 488407 h 488407"/>
              <a:gd name="connsiteX0" fmla="*/ 58754 w 1293221"/>
              <a:gd name="connsiteY0" fmla="*/ 574912 h 574912"/>
              <a:gd name="connsiteX1" fmla="*/ 1286663 w 1293221"/>
              <a:gd name="connsiteY1" fmla="*/ 359375 h 574912"/>
              <a:gd name="connsiteX2" fmla="*/ 1293221 w 1293221"/>
              <a:gd name="connsiteY2" fmla="*/ 0 h 574912"/>
              <a:gd name="connsiteX3" fmla="*/ 0 w 1293221"/>
              <a:gd name="connsiteY3" fmla="*/ 86505 h 574912"/>
              <a:gd name="connsiteX4" fmla="*/ 58754 w 1293221"/>
              <a:gd name="connsiteY4" fmla="*/ 574912 h 574912"/>
              <a:gd name="connsiteX0" fmla="*/ 58754 w 1470298"/>
              <a:gd name="connsiteY0" fmla="*/ 574912 h 574912"/>
              <a:gd name="connsiteX1" fmla="*/ 1470298 w 1470298"/>
              <a:gd name="connsiteY1" fmla="*/ 561083 h 574912"/>
              <a:gd name="connsiteX2" fmla="*/ 1293221 w 1470298"/>
              <a:gd name="connsiteY2" fmla="*/ 0 h 574912"/>
              <a:gd name="connsiteX3" fmla="*/ 0 w 1470298"/>
              <a:gd name="connsiteY3" fmla="*/ 86505 h 574912"/>
              <a:gd name="connsiteX4" fmla="*/ 58754 w 1470298"/>
              <a:gd name="connsiteY4" fmla="*/ 574912 h 574912"/>
              <a:gd name="connsiteX0" fmla="*/ 65313 w 1470298"/>
              <a:gd name="connsiteY0" fmla="*/ 795531 h 795531"/>
              <a:gd name="connsiteX1" fmla="*/ 1470298 w 1470298"/>
              <a:gd name="connsiteY1" fmla="*/ 561083 h 795531"/>
              <a:gd name="connsiteX2" fmla="*/ 1293221 w 1470298"/>
              <a:gd name="connsiteY2" fmla="*/ 0 h 795531"/>
              <a:gd name="connsiteX3" fmla="*/ 0 w 1470298"/>
              <a:gd name="connsiteY3" fmla="*/ 86505 h 795531"/>
              <a:gd name="connsiteX4" fmla="*/ 65313 w 1470298"/>
              <a:gd name="connsiteY4" fmla="*/ 795531 h 795531"/>
              <a:gd name="connsiteX0" fmla="*/ 65313 w 1844126"/>
              <a:gd name="connsiteY0" fmla="*/ 795531 h 795531"/>
              <a:gd name="connsiteX1" fmla="*/ 1844126 w 1844126"/>
              <a:gd name="connsiteY1" fmla="*/ 504352 h 795531"/>
              <a:gd name="connsiteX2" fmla="*/ 1293221 w 1844126"/>
              <a:gd name="connsiteY2" fmla="*/ 0 h 795531"/>
              <a:gd name="connsiteX3" fmla="*/ 0 w 1844126"/>
              <a:gd name="connsiteY3" fmla="*/ 86505 h 795531"/>
              <a:gd name="connsiteX4" fmla="*/ 65313 w 1844126"/>
              <a:gd name="connsiteY4" fmla="*/ 795531 h 795531"/>
              <a:gd name="connsiteX0" fmla="*/ 65313 w 1844126"/>
              <a:gd name="connsiteY0" fmla="*/ 845958 h 845958"/>
              <a:gd name="connsiteX1" fmla="*/ 1844126 w 1844126"/>
              <a:gd name="connsiteY1" fmla="*/ 554779 h 845958"/>
              <a:gd name="connsiteX2" fmla="*/ 1621141 w 1844126"/>
              <a:gd name="connsiteY2" fmla="*/ 0 h 845958"/>
              <a:gd name="connsiteX3" fmla="*/ 0 w 1844126"/>
              <a:gd name="connsiteY3" fmla="*/ 136932 h 845958"/>
              <a:gd name="connsiteX4" fmla="*/ 65313 w 1844126"/>
              <a:gd name="connsiteY4" fmla="*/ 845958 h 845958"/>
              <a:gd name="connsiteX0" fmla="*/ 65313 w 1844126"/>
              <a:gd name="connsiteY0" fmla="*/ 864868 h 864868"/>
              <a:gd name="connsiteX1" fmla="*/ 1844126 w 1844126"/>
              <a:gd name="connsiteY1" fmla="*/ 573689 h 864868"/>
              <a:gd name="connsiteX2" fmla="*/ 1621141 w 1844126"/>
              <a:gd name="connsiteY2" fmla="*/ 0 h 864868"/>
              <a:gd name="connsiteX3" fmla="*/ 0 w 1844126"/>
              <a:gd name="connsiteY3" fmla="*/ 155842 h 864868"/>
              <a:gd name="connsiteX4" fmla="*/ 65313 w 1844126"/>
              <a:gd name="connsiteY4" fmla="*/ 864868 h 864868"/>
              <a:gd name="connsiteX0" fmla="*/ 65313 w 1686724"/>
              <a:gd name="connsiteY0" fmla="*/ 864868 h 864868"/>
              <a:gd name="connsiteX1" fmla="*/ 1686724 w 1686724"/>
              <a:gd name="connsiteY1" fmla="*/ 561082 h 864868"/>
              <a:gd name="connsiteX2" fmla="*/ 1621141 w 1686724"/>
              <a:gd name="connsiteY2" fmla="*/ 0 h 864868"/>
              <a:gd name="connsiteX3" fmla="*/ 0 w 1686724"/>
              <a:gd name="connsiteY3" fmla="*/ 155842 h 864868"/>
              <a:gd name="connsiteX4" fmla="*/ 65313 w 1686724"/>
              <a:gd name="connsiteY4" fmla="*/ 864868 h 864868"/>
              <a:gd name="connsiteX0" fmla="*/ 39079 w 1660490"/>
              <a:gd name="connsiteY0" fmla="*/ 864868 h 864868"/>
              <a:gd name="connsiteX1" fmla="*/ 1660490 w 1660490"/>
              <a:gd name="connsiteY1" fmla="*/ 561082 h 864868"/>
              <a:gd name="connsiteX2" fmla="*/ 1594907 w 1660490"/>
              <a:gd name="connsiteY2" fmla="*/ 0 h 864868"/>
              <a:gd name="connsiteX3" fmla="*/ 0 w 1660490"/>
              <a:gd name="connsiteY3" fmla="*/ 351248 h 864868"/>
              <a:gd name="connsiteX4" fmla="*/ 39079 w 1660490"/>
              <a:gd name="connsiteY4" fmla="*/ 864868 h 864868"/>
              <a:gd name="connsiteX0" fmla="*/ 39079 w 1857243"/>
              <a:gd name="connsiteY0" fmla="*/ 719889 h 719889"/>
              <a:gd name="connsiteX1" fmla="*/ 1660490 w 1857243"/>
              <a:gd name="connsiteY1" fmla="*/ 416103 h 719889"/>
              <a:gd name="connsiteX2" fmla="*/ 1857243 w 1857243"/>
              <a:gd name="connsiteY2" fmla="*/ 0 h 719889"/>
              <a:gd name="connsiteX3" fmla="*/ 0 w 1857243"/>
              <a:gd name="connsiteY3" fmla="*/ 206269 h 719889"/>
              <a:gd name="connsiteX4" fmla="*/ 39079 w 1857243"/>
              <a:gd name="connsiteY4" fmla="*/ 719889 h 719889"/>
              <a:gd name="connsiteX0" fmla="*/ 39079 w 1909709"/>
              <a:gd name="connsiteY0" fmla="*/ 719889 h 719889"/>
              <a:gd name="connsiteX1" fmla="*/ 1909709 w 1909709"/>
              <a:gd name="connsiteY1" fmla="*/ 208090 h 719889"/>
              <a:gd name="connsiteX2" fmla="*/ 1857243 w 1909709"/>
              <a:gd name="connsiteY2" fmla="*/ 0 h 719889"/>
              <a:gd name="connsiteX3" fmla="*/ 0 w 1909709"/>
              <a:gd name="connsiteY3" fmla="*/ 206269 h 719889"/>
              <a:gd name="connsiteX4" fmla="*/ 39079 w 1909709"/>
              <a:gd name="connsiteY4" fmla="*/ 719889 h 719889"/>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206269 h 511876"/>
              <a:gd name="connsiteX4" fmla="*/ 39079 w 1909709"/>
              <a:gd name="connsiteY4" fmla="*/ 511876 h 511876"/>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121173 h 511876"/>
              <a:gd name="connsiteX4" fmla="*/ 39079 w 1909709"/>
              <a:gd name="connsiteY4" fmla="*/ 511876 h 511876"/>
              <a:gd name="connsiteX0" fmla="*/ 39079 w 1857243"/>
              <a:gd name="connsiteY0" fmla="*/ 511876 h 511876"/>
              <a:gd name="connsiteX1" fmla="*/ 1748372 w 1857243"/>
              <a:gd name="connsiteY1" fmla="*/ 309201 h 511876"/>
              <a:gd name="connsiteX2" fmla="*/ 1857243 w 1857243"/>
              <a:gd name="connsiteY2" fmla="*/ 0 h 511876"/>
              <a:gd name="connsiteX3" fmla="*/ 0 w 1857243"/>
              <a:gd name="connsiteY3" fmla="*/ 121173 h 511876"/>
              <a:gd name="connsiteX4" fmla="*/ 39079 w 1857243"/>
              <a:gd name="connsiteY4" fmla="*/ 511876 h 511876"/>
              <a:gd name="connsiteX0" fmla="*/ 39079 w 1748372"/>
              <a:gd name="connsiteY0" fmla="*/ 499237 h 499237"/>
              <a:gd name="connsiteX1" fmla="*/ 1748372 w 1748372"/>
              <a:gd name="connsiteY1" fmla="*/ 296562 h 499237"/>
              <a:gd name="connsiteX2" fmla="*/ 1723965 w 1748372"/>
              <a:gd name="connsiteY2" fmla="*/ 0 h 499237"/>
              <a:gd name="connsiteX3" fmla="*/ 0 w 1748372"/>
              <a:gd name="connsiteY3" fmla="*/ 108534 h 499237"/>
              <a:gd name="connsiteX4" fmla="*/ 39079 w 1748372"/>
              <a:gd name="connsiteY4" fmla="*/ 499237 h 499237"/>
              <a:gd name="connsiteX0" fmla="*/ 95196 w 1748372"/>
              <a:gd name="connsiteY0" fmla="*/ 451841 h 451841"/>
              <a:gd name="connsiteX1" fmla="*/ 1748372 w 1748372"/>
              <a:gd name="connsiteY1" fmla="*/ 296562 h 451841"/>
              <a:gd name="connsiteX2" fmla="*/ 1723965 w 1748372"/>
              <a:gd name="connsiteY2" fmla="*/ 0 h 451841"/>
              <a:gd name="connsiteX3" fmla="*/ 0 w 1748372"/>
              <a:gd name="connsiteY3" fmla="*/ 108534 h 451841"/>
              <a:gd name="connsiteX4" fmla="*/ 95196 w 1748372"/>
              <a:gd name="connsiteY4" fmla="*/ 451841 h 451841"/>
              <a:gd name="connsiteX0" fmla="*/ 95196 w 1723965"/>
              <a:gd name="connsiteY0" fmla="*/ 451841 h 451841"/>
              <a:gd name="connsiteX1" fmla="*/ 1713299 w 1723965"/>
              <a:gd name="connsiteY1" fmla="*/ 315520 h 451841"/>
              <a:gd name="connsiteX2" fmla="*/ 1723965 w 1723965"/>
              <a:gd name="connsiteY2" fmla="*/ 0 h 451841"/>
              <a:gd name="connsiteX3" fmla="*/ 0 w 1723965"/>
              <a:gd name="connsiteY3" fmla="*/ 108534 h 451841"/>
              <a:gd name="connsiteX4" fmla="*/ 95196 w 1723965"/>
              <a:gd name="connsiteY4" fmla="*/ 451841 h 451841"/>
              <a:gd name="connsiteX0" fmla="*/ 95196 w 1713299"/>
              <a:gd name="connsiteY0" fmla="*/ 455001 h 455001"/>
              <a:gd name="connsiteX1" fmla="*/ 1713299 w 1713299"/>
              <a:gd name="connsiteY1" fmla="*/ 318680 h 455001"/>
              <a:gd name="connsiteX2" fmla="*/ 1667848 w 1713299"/>
              <a:gd name="connsiteY2" fmla="*/ 0 h 455001"/>
              <a:gd name="connsiteX3" fmla="*/ 0 w 1713299"/>
              <a:gd name="connsiteY3" fmla="*/ 111694 h 455001"/>
              <a:gd name="connsiteX4" fmla="*/ 95196 w 1713299"/>
              <a:gd name="connsiteY4" fmla="*/ 455001 h 455001"/>
              <a:gd name="connsiteX0" fmla="*/ 67137 w 1685240"/>
              <a:gd name="connsiteY0" fmla="*/ 455001 h 455001"/>
              <a:gd name="connsiteX1" fmla="*/ 1685240 w 1685240"/>
              <a:gd name="connsiteY1" fmla="*/ 318680 h 455001"/>
              <a:gd name="connsiteX2" fmla="*/ 1639789 w 1685240"/>
              <a:gd name="connsiteY2" fmla="*/ 0 h 455001"/>
              <a:gd name="connsiteX3" fmla="*/ 0 w 1685240"/>
              <a:gd name="connsiteY3" fmla="*/ 130652 h 455001"/>
              <a:gd name="connsiteX4" fmla="*/ 67137 w 1685240"/>
              <a:gd name="connsiteY4" fmla="*/ 455001 h 455001"/>
              <a:gd name="connsiteX0" fmla="*/ 67137 w 1667473"/>
              <a:gd name="connsiteY0" fmla="*/ 455001 h 455001"/>
              <a:gd name="connsiteX1" fmla="*/ 1667473 w 1667473"/>
              <a:gd name="connsiteY1" fmla="*/ 242054 h 455001"/>
              <a:gd name="connsiteX2" fmla="*/ 1639789 w 1667473"/>
              <a:gd name="connsiteY2" fmla="*/ 0 h 455001"/>
              <a:gd name="connsiteX3" fmla="*/ 0 w 1667473"/>
              <a:gd name="connsiteY3" fmla="*/ 130652 h 455001"/>
              <a:gd name="connsiteX4" fmla="*/ 67137 w 1667473"/>
              <a:gd name="connsiteY4" fmla="*/ 455001 h 455001"/>
              <a:gd name="connsiteX0" fmla="*/ 100217 w 1700553"/>
              <a:gd name="connsiteY0" fmla="*/ 455001 h 455001"/>
              <a:gd name="connsiteX1" fmla="*/ 1700553 w 1700553"/>
              <a:gd name="connsiteY1" fmla="*/ 242054 h 455001"/>
              <a:gd name="connsiteX2" fmla="*/ 1672869 w 1700553"/>
              <a:gd name="connsiteY2" fmla="*/ 0 h 455001"/>
              <a:gd name="connsiteX3" fmla="*/ 0 w 1700553"/>
              <a:gd name="connsiteY3" fmla="*/ 205540 h 455001"/>
              <a:gd name="connsiteX4" fmla="*/ 100217 w 1700553"/>
              <a:gd name="connsiteY4" fmla="*/ 455001 h 455001"/>
              <a:gd name="connsiteX0" fmla="*/ 100217 w 1700553"/>
              <a:gd name="connsiteY0" fmla="*/ 366878 h 366878"/>
              <a:gd name="connsiteX1" fmla="*/ 1700553 w 1700553"/>
              <a:gd name="connsiteY1" fmla="*/ 153931 h 366878"/>
              <a:gd name="connsiteX2" fmla="*/ 1588975 w 1700553"/>
              <a:gd name="connsiteY2" fmla="*/ 0 h 366878"/>
              <a:gd name="connsiteX3" fmla="*/ 0 w 1700553"/>
              <a:gd name="connsiteY3" fmla="*/ 117417 h 366878"/>
              <a:gd name="connsiteX4" fmla="*/ 100217 w 1700553"/>
              <a:gd name="connsiteY4" fmla="*/ 366878 h 366878"/>
              <a:gd name="connsiteX0" fmla="*/ 115726 w 1700553"/>
              <a:gd name="connsiteY0" fmla="*/ 305211 h 305211"/>
              <a:gd name="connsiteX1" fmla="*/ 1700553 w 1700553"/>
              <a:gd name="connsiteY1" fmla="*/ 153931 h 305211"/>
              <a:gd name="connsiteX2" fmla="*/ 1588975 w 1700553"/>
              <a:gd name="connsiteY2" fmla="*/ 0 h 305211"/>
              <a:gd name="connsiteX3" fmla="*/ 0 w 1700553"/>
              <a:gd name="connsiteY3" fmla="*/ 117417 h 305211"/>
              <a:gd name="connsiteX4" fmla="*/ 115726 w 1700553"/>
              <a:gd name="connsiteY4" fmla="*/ 305211 h 305211"/>
              <a:gd name="connsiteX0" fmla="*/ 115726 w 1700553"/>
              <a:gd name="connsiteY0" fmla="*/ 321895 h 321895"/>
              <a:gd name="connsiteX1" fmla="*/ 1700553 w 1700553"/>
              <a:gd name="connsiteY1" fmla="*/ 170615 h 321895"/>
              <a:gd name="connsiteX2" fmla="*/ 1471607 w 1700553"/>
              <a:gd name="connsiteY2" fmla="*/ 0 h 321895"/>
              <a:gd name="connsiteX3" fmla="*/ 0 w 1700553"/>
              <a:gd name="connsiteY3" fmla="*/ 134101 h 321895"/>
              <a:gd name="connsiteX4" fmla="*/ 115726 w 1700553"/>
              <a:gd name="connsiteY4" fmla="*/ 321895 h 321895"/>
              <a:gd name="connsiteX0" fmla="*/ 115726 w 1581352"/>
              <a:gd name="connsiteY0" fmla="*/ 321895 h 321895"/>
              <a:gd name="connsiteX1" fmla="*/ 1581352 w 1581352"/>
              <a:gd name="connsiteY1" fmla="*/ 210307 h 321895"/>
              <a:gd name="connsiteX2" fmla="*/ 1471607 w 1581352"/>
              <a:gd name="connsiteY2" fmla="*/ 0 h 321895"/>
              <a:gd name="connsiteX3" fmla="*/ 0 w 1581352"/>
              <a:gd name="connsiteY3" fmla="*/ 134101 h 321895"/>
              <a:gd name="connsiteX4" fmla="*/ 115726 w 1581352"/>
              <a:gd name="connsiteY4" fmla="*/ 321895 h 321895"/>
              <a:gd name="connsiteX0" fmla="*/ 92298 w 1557924"/>
              <a:gd name="connsiteY0" fmla="*/ 321895 h 321895"/>
              <a:gd name="connsiteX1" fmla="*/ 1557924 w 1557924"/>
              <a:gd name="connsiteY1" fmla="*/ 210307 h 321895"/>
              <a:gd name="connsiteX2" fmla="*/ 1448179 w 1557924"/>
              <a:gd name="connsiteY2" fmla="*/ 0 h 321895"/>
              <a:gd name="connsiteX3" fmla="*/ 0 w 1557924"/>
              <a:gd name="connsiteY3" fmla="*/ 116473 h 321895"/>
              <a:gd name="connsiteX4" fmla="*/ 92298 w 1557924"/>
              <a:gd name="connsiteY4" fmla="*/ 321895 h 321895"/>
              <a:gd name="connsiteX0" fmla="*/ 152961 w 1557924"/>
              <a:gd name="connsiteY0" fmla="*/ 341247 h 341247"/>
              <a:gd name="connsiteX1" fmla="*/ 1557924 w 1557924"/>
              <a:gd name="connsiteY1" fmla="*/ 210307 h 341247"/>
              <a:gd name="connsiteX2" fmla="*/ 1448179 w 1557924"/>
              <a:gd name="connsiteY2" fmla="*/ 0 h 341247"/>
              <a:gd name="connsiteX3" fmla="*/ 0 w 1557924"/>
              <a:gd name="connsiteY3" fmla="*/ 116473 h 341247"/>
              <a:gd name="connsiteX4" fmla="*/ 152961 w 1557924"/>
              <a:gd name="connsiteY4" fmla="*/ 341247 h 341247"/>
              <a:gd name="connsiteX0" fmla="*/ 135357 w 1557924"/>
              <a:gd name="connsiteY0" fmla="*/ 339493 h 339493"/>
              <a:gd name="connsiteX1" fmla="*/ 1557924 w 1557924"/>
              <a:gd name="connsiteY1" fmla="*/ 210307 h 339493"/>
              <a:gd name="connsiteX2" fmla="*/ 1448179 w 1557924"/>
              <a:gd name="connsiteY2" fmla="*/ 0 h 339493"/>
              <a:gd name="connsiteX3" fmla="*/ 0 w 1557924"/>
              <a:gd name="connsiteY3" fmla="*/ 116473 h 339493"/>
              <a:gd name="connsiteX4" fmla="*/ 135357 w 1557924"/>
              <a:gd name="connsiteY4" fmla="*/ 339493 h 339493"/>
              <a:gd name="connsiteX0" fmla="*/ 109934 w 1532501"/>
              <a:gd name="connsiteY0" fmla="*/ 339493 h 339493"/>
              <a:gd name="connsiteX1" fmla="*/ 1532501 w 1532501"/>
              <a:gd name="connsiteY1" fmla="*/ 210307 h 339493"/>
              <a:gd name="connsiteX2" fmla="*/ 1422756 w 1532501"/>
              <a:gd name="connsiteY2" fmla="*/ 0 h 339493"/>
              <a:gd name="connsiteX3" fmla="*/ 0 w 1532501"/>
              <a:gd name="connsiteY3" fmla="*/ 117343 h 339493"/>
              <a:gd name="connsiteX4" fmla="*/ 109934 w 1532501"/>
              <a:gd name="connsiteY4" fmla="*/ 339493 h 339493"/>
              <a:gd name="connsiteX0" fmla="*/ 133525 w 1556092"/>
              <a:gd name="connsiteY0" fmla="*/ 339493 h 339493"/>
              <a:gd name="connsiteX1" fmla="*/ 1556092 w 1556092"/>
              <a:gd name="connsiteY1" fmla="*/ 210307 h 339493"/>
              <a:gd name="connsiteX2" fmla="*/ 1446347 w 1556092"/>
              <a:gd name="connsiteY2" fmla="*/ 0 h 339493"/>
              <a:gd name="connsiteX3" fmla="*/ 0 w 1556092"/>
              <a:gd name="connsiteY3" fmla="*/ 60098 h 339493"/>
              <a:gd name="connsiteX4" fmla="*/ 133525 w 1556092"/>
              <a:gd name="connsiteY4" fmla="*/ 339493 h 339493"/>
              <a:gd name="connsiteX0" fmla="*/ 133525 w 2343667"/>
              <a:gd name="connsiteY0" fmla="*/ 459688 h 459688"/>
              <a:gd name="connsiteX1" fmla="*/ 1556092 w 2343667"/>
              <a:gd name="connsiteY1" fmla="*/ 330502 h 459688"/>
              <a:gd name="connsiteX2" fmla="*/ 2343667 w 2343667"/>
              <a:gd name="connsiteY2" fmla="*/ 0 h 459688"/>
              <a:gd name="connsiteX3" fmla="*/ 0 w 2343667"/>
              <a:gd name="connsiteY3" fmla="*/ 180293 h 459688"/>
              <a:gd name="connsiteX4" fmla="*/ 133525 w 2343667"/>
              <a:gd name="connsiteY4" fmla="*/ 459688 h 459688"/>
              <a:gd name="connsiteX0" fmla="*/ 133525 w 2391079"/>
              <a:gd name="connsiteY0" fmla="*/ 459688 h 459688"/>
              <a:gd name="connsiteX1" fmla="*/ 2391079 w 2391079"/>
              <a:gd name="connsiteY1" fmla="*/ 322204 h 459688"/>
              <a:gd name="connsiteX2" fmla="*/ 2343667 w 2391079"/>
              <a:gd name="connsiteY2" fmla="*/ 0 h 459688"/>
              <a:gd name="connsiteX3" fmla="*/ 0 w 2391079"/>
              <a:gd name="connsiteY3" fmla="*/ 180293 h 459688"/>
              <a:gd name="connsiteX4" fmla="*/ 133525 w 2391079"/>
              <a:gd name="connsiteY4" fmla="*/ 459688 h 459688"/>
              <a:gd name="connsiteX0" fmla="*/ 159047 w 2391079"/>
              <a:gd name="connsiteY0" fmla="*/ 505482 h 505482"/>
              <a:gd name="connsiteX1" fmla="*/ 2391079 w 2391079"/>
              <a:gd name="connsiteY1" fmla="*/ 322204 h 505482"/>
              <a:gd name="connsiteX2" fmla="*/ 2343667 w 2391079"/>
              <a:gd name="connsiteY2" fmla="*/ 0 h 505482"/>
              <a:gd name="connsiteX3" fmla="*/ 0 w 2391079"/>
              <a:gd name="connsiteY3" fmla="*/ 180293 h 505482"/>
              <a:gd name="connsiteX4" fmla="*/ 159047 w 2391079"/>
              <a:gd name="connsiteY4" fmla="*/ 505482 h 505482"/>
              <a:gd name="connsiteX0" fmla="*/ 159047 w 2391079"/>
              <a:gd name="connsiteY0" fmla="*/ 518659 h 518659"/>
              <a:gd name="connsiteX1" fmla="*/ 2391079 w 2391079"/>
              <a:gd name="connsiteY1" fmla="*/ 335381 h 518659"/>
              <a:gd name="connsiteX2" fmla="*/ 2261507 w 2391079"/>
              <a:gd name="connsiteY2" fmla="*/ 0 h 518659"/>
              <a:gd name="connsiteX3" fmla="*/ 0 w 2391079"/>
              <a:gd name="connsiteY3" fmla="*/ 193470 h 518659"/>
              <a:gd name="connsiteX4" fmla="*/ 159047 w 2391079"/>
              <a:gd name="connsiteY4" fmla="*/ 518659 h 518659"/>
              <a:gd name="connsiteX0" fmla="*/ 159047 w 2513813"/>
              <a:gd name="connsiteY0" fmla="*/ 498511 h 498511"/>
              <a:gd name="connsiteX1" fmla="*/ 2391079 w 2513813"/>
              <a:gd name="connsiteY1" fmla="*/ 315233 h 498511"/>
              <a:gd name="connsiteX2" fmla="*/ 2513813 w 2513813"/>
              <a:gd name="connsiteY2" fmla="*/ 0 h 498511"/>
              <a:gd name="connsiteX3" fmla="*/ 0 w 2513813"/>
              <a:gd name="connsiteY3" fmla="*/ 173322 h 498511"/>
              <a:gd name="connsiteX4" fmla="*/ 159047 w 2513813"/>
              <a:gd name="connsiteY4" fmla="*/ 498511 h 498511"/>
              <a:gd name="connsiteX0" fmla="*/ 159047 w 2547383"/>
              <a:gd name="connsiteY0" fmla="*/ 498511 h 498511"/>
              <a:gd name="connsiteX1" fmla="*/ 2547383 w 2547383"/>
              <a:gd name="connsiteY1" fmla="*/ 252623 h 498511"/>
              <a:gd name="connsiteX2" fmla="*/ 2513813 w 2547383"/>
              <a:gd name="connsiteY2" fmla="*/ 0 h 498511"/>
              <a:gd name="connsiteX3" fmla="*/ 0 w 2547383"/>
              <a:gd name="connsiteY3" fmla="*/ 173322 h 498511"/>
              <a:gd name="connsiteX4" fmla="*/ 159047 w 2547383"/>
              <a:gd name="connsiteY4" fmla="*/ 498511 h 498511"/>
              <a:gd name="connsiteX0" fmla="*/ 164772 w 2553108"/>
              <a:gd name="connsiteY0" fmla="*/ 498511 h 498511"/>
              <a:gd name="connsiteX1" fmla="*/ 2553108 w 2553108"/>
              <a:gd name="connsiteY1" fmla="*/ 252623 h 498511"/>
              <a:gd name="connsiteX2" fmla="*/ 2519538 w 2553108"/>
              <a:gd name="connsiteY2" fmla="*/ 0 h 498511"/>
              <a:gd name="connsiteX3" fmla="*/ 0 w 2553108"/>
              <a:gd name="connsiteY3" fmla="*/ 237627 h 498511"/>
              <a:gd name="connsiteX4" fmla="*/ 164772 w 2553108"/>
              <a:gd name="connsiteY4" fmla="*/ 498511 h 498511"/>
              <a:gd name="connsiteX0" fmla="*/ 102113 w 2553108"/>
              <a:gd name="connsiteY0" fmla="*/ 460662 h 460662"/>
              <a:gd name="connsiteX1" fmla="*/ 2553108 w 2553108"/>
              <a:gd name="connsiteY1" fmla="*/ 252623 h 460662"/>
              <a:gd name="connsiteX2" fmla="*/ 2519538 w 2553108"/>
              <a:gd name="connsiteY2" fmla="*/ 0 h 460662"/>
              <a:gd name="connsiteX3" fmla="*/ 0 w 2553108"/>
              <a:gd name="connsiteY3" fmla="*/ 237627 h 460662"/>
              <a:gd name="connsiteX4" fmla="*/ 102113 w 2553108"/>
              <a:gd name="connsiteY4" fmla="*/ 460662 h 460662"/>
              <a:gd name="connsiteX0" fmla="*/ 102113 w 2553108"/>
              <a:gd name="connsiteY0" fmla="*/ 424537 h 424537"/>
              <a:gd name="connsiteX1" fmla="*/ 2553108 w 2553108"/>
              <a:gd name="connsiteY1" fmla="*/ 216498 h 424537"/>
              <a:gd name="connsiteX2" fmla="*/ 2498106 w 2553108"/>
              <a:gd name="connsiteY2" fmla="*/ 0 h 424537"/>
              <a:gd name="connsiteX3" fmla="*/ 0 w 2553108"/>
              <a:gd name="connsiteY3" fmla="*/ 201502 h 424537"/>
              <a:gd name="connsiteX4" fmla="*/ 102113 w 2553108"/>
              <a:gd name="connsiteY4" fmla="*/ 424537 h 424537"/>
              <a:gd name="connsiteX0" fmla="*/ 90333 w 2553108"/>
              <a:gd name="connsiteY0" fmla="*/ 403402 h 403402"/>
              <a:gd name="connsiteX1" fmla="*/ 2553108 w 2553108"/>
              <a:gd name="connsiteY1" fmla="*/ 216498 h 403402"/>
              <a:gd name="connsiteX2" fmla="*/ 2498106 w 2553108"/>
              <a:gd name="connsiteY2" fmla="*/ 0 h 403402"/>
              <a:gd name="connsiteX3" fmla="*/ 0 w 2553108"/>
              <a:gd name="connsiteY3" fmla="*/ 201502 h 403402"/>
              <a:gd name="connsiteX4" fmla="*/ 90333 w 2553108"/>
              <a:gd name="connsiteY4" fmla="*/ 403402 h 403402"/>
              <a:gd name="connsiteX0" fmla="*/ 60951 w 2523726"/>
              <a:gd name="connsiteY0" fmla="*/ 403402 h 403402"/>
              <a:gd name="connsiteX1" fmla="*/ 2523726 w 2523726"/>
              <a:gd name="connsiteY1" fmla="*/ 216498 h 403402"/>
              <a:gd name="connsiteX2" fmla="*/ 2468724 w 2523726"/>
              <a:gd name="connsiteY2" fmla="*/ 0 h 403402"/>
              <a:gd name="connsiteX3" fmla="*/ 0 w 2523726"/>
              <a:gd name="connsiteY3" fmla="*/ 224392 h 403402"/>
              <a:gd name="connsiteX4" fmla="*/ 60951 w 2523726"/>
              <a:gd name="connsiteY4" fmla="*/ 403402 h 40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3726" h="403402">
                <a:moveTo>
                  <a:pt x="60951" y="403402"/>
                </a:moveTo>
                <a:lnTo>
                  <a:pt x="2523726" y="216498"/>
                </a:lnTo>
                <a:lnTo>
                  <a:pt x="2468724" y="0"/>
                </a:lnTo>
                <a:lnTo>
                  <a:pt x="0" y="224392"/>
                </a:lnTo>
                <a:lnTo>
                  <a:pt x="60951" y="403402"/>
                </a:lnTo>
                <a:close/>
              </a:path>
            </a:pathLst>
          </a:custGeom>
          <a:solidFill>
            <a:srgbClr val="96C1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latin typeface="Amaranth" panose="02000503000000020004" pitchFamily="50" charset="0"/>
            </a:endParaRPr>
          </a:p>
        </p:txBody>
      </p:sp>
      <p:sp>
        <p:nvSpPr>
          <p:cNvPr id="6" name="TextBox 9">
            <a:extLst>
              <a:ext uri="{FF2B5EF4-FFF2-40B4-BE49-F238E27FC236}">
                <a16:creationId xmlns:a16="http://schemas.microsoft.com/office/drawing/2014/main" id="{9B832288-0203-4382-8E0B-64F0CD6C41F8}"/>
              </a:ext>
            </a:extLst>
          </p:cNvPr>
          <p:cNvSpPr txBox="1">
            <a:spLocks noChangeArrowheads="1"/>
          </p:cNvSpPr>
          <p:nvPr/>
        </p:nvSpPr>
        <p:spPr bwMode="auto">
          <a:xfrm>
            <a:off x="9983894" y="635370"/>
            <a:ext cx="2403551"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algn="ctr">
              <a:defRPr>
                <a:solidFill>
                  <a:schemeClr val="lt1"/>
                </a:solidFill>
                <a:latin typeface="Amaranth" panose="02000503000000020004" pitchFamily="50"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nl-BE" dirty="0"/>
              <a:t>Routines</a:t>
            </a:r>
          </a:p>
        </p:txBody>
      </p:sp>
      <p:sp>
        <p:nvSpPr>
          <p:cNvPr id="7" name="Rechthoek 12">
            <a:extLst>
              <a:ext uri="{FF2B5EF4-FFF2-40B4-BE49-F238E27FC236}">
                <a16:creationId xmlns:a16="http://schemas.microsoft.com/office/drawing/2014/main" id="{378B92CC-8675-446E-885E-9E4CB802EE11}"/>
              </a:ext>
            </a:extLst>
          </p:cNvPr>
          <p:cNvSpPr/>
          <p:nvPr/>
        </p:nvSpPr>
        <p:spPr>
          <a:xfrm>
            <a:off x="588776" y="454113"/>
            <a:ext cx="6738913" cy="707870"/>
          </a:xfrm>
          <a:prstGeom prst="rect">
            <a:avLst/>
          </a:prstGeom>
          <a:noFill/>
          <a:ln>
            <a:noFill/>
          </a:ln>
        </p:spPr>
        <p:txBody>
          <a:bodyPr wrap="square" lIns="91424" tIns="45712" rIns="91424" bIns="45712">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4000" b="0" i="0" u="none" strike="noStrike" kern="1200" cap="none" spc="0" normalizeH="0" baseline="0" noProof="0" dirty="0">
                <a:ln>
                  <a:noFill/>
                </a:ln>
                <a:solidFill>
                  <a:prstClr val="white"/>
                </a:solidFill>
                <a:effectLst/>
                <a:uLnTx/>
                <a:uFillTx/>
                <a:latin typeface="Amaranth" panose="02000503000000020004" pitchFamily="50" charset="0"/>
                <a:ea typeface="+mn-ea"/>
                <a:cs typeface="Arial" panose="020B0604020202020204" pitchFamily="34" charset="0"/>
              </a:rPr>
              <a:t>Routine – Taal </a:t>
            </a:r>
          </a:p>
        </p:txBody>
      </p:sp>
      <p:sp>
        <p:nvSpPr>
          <p:cNvPr id="10" name="Rechthoek 9">
            <a:extLst>
              <a:ext uri="{FF2B5EF4-FFF2-40B4-BE49-F238E27FC236}">
                <a16:creationId xmlns:a16="http://schemas.microsoft.com/office/drawing/2014/main" id="{059AF65A-260A-42F6-99C8-006210670E58}"/>
              </a:ext>
            </a:extLst>
          </p:cNvPr>
          <p:cNvSpPr/>
          <p:nvPr/>
        </p:nvSpPr>
        <p:spPr>
          <a:xfrm>
            <a:off x="588777" y="1616086"/>
            <a:ext cx="5566756" cy="4585871"/>
          </a:xfrm>
          <a:prstGeom prst="rect">
            <a:avLst/>
          </a:prstGeom>
        </p:spPr>
        <p:txBody>
          <a:bodyPr wrap="square">
            <a:spAutoFit/>
          </a:bodyPr>
          <a:lstStyle/>
          <a:p>
            <a:pPr marL="457189" indent="-457189">
              <a:lnSpc>
                <a:spcPct val="150000"/>
              </a:lnSpc>
              <a:buFont typeface="Arial" panose="020B0604020202020204" pitchFamily="34" charset="0"/>
              <a:buChar char="•"/>
              <a:defRPr/>
            </a:pPr>
            <a:r>
              <a:rPr lang="nl-NL" sz="2400" dirty="0">
                <a:solidFill>
                  <a:prstClr val="white"/>
                </a:solidFill>
                <a:latin typeface="Calibri" panose="020F0502020204030204"/>
              </a:rPr>
              <a:t>Op taaltocht: taalbewustzijn en fonologische vaardigheden + oriëntatie op lezen en schrijven</a:t>
            </a:r>
          </a:p>
          <a:p>
            <a:pPr marL="457189" indent="-457189">
              <a:lnSpc>
                <a:spcPct val="150000"/>
              </a:lnSpc>
              <a:buFont typeface="Arial" panose="020B0604020202020204" pitchFamily="34" charset="0"/>
              <a:buChar char="•"/>
              <a:defRPr/>
            </a:pPr>
            <a:endParaRPr lang="nl-NL" sz="2400" dirty="0">
              <a:solidFill>
                <a:prstClr val="white"/>
              </a:solidFill>
              <a:latin typeface="Calibri" panose="020F0502020204030204"/>
            </a:endParaRPr>
          </a:p>
          <a:p>
            <a:pPr marL="457189" indent="-457189">
              <a:lnSpc>
                <a:spcPct val="150000"/>
              </a:lnSpc>
              <a:buFont typeface="Arial" panose="020B0604020202020204" pitchFamily="34" charset="0"/>
              <a:buChar char="•"/>
              <a:defRPr/>
            </a:pPr>
            <a:r>
              <a:rPr lang="nl-NL" sz="2400" dirty="0">
                <a:solidFill>
                  <a:prstClr val="white"/>
                </a:solidFill>
                <a:latin typeface="Calibri" panose="020F0502020204030204"/>
              </a:rPr>
              <a:t>Voorbereidend schrijven </a:t>
            </a:r>
          </a:p>
          <a:p>
            <a:pPr marL="457189" indent="-457189">
              <a:lnSpc>
                <a:spcPct val="150000"/>
              </a:lnSpc>
              <a:buFont typeface="Arial" panose="020B0604020202020204" pitchFamily="34" charset="0"/>
              <a:buChar char="•"/>
              <a:defRPr/>
            </a:pPr>
            <a:endParaRPr lang="nl-NL" sz="2400" dirty="0">
              <a:solidFill>
                <a:prstClr val="white"/>
              </a:solidFill>
              <a:latin typeface="Calibri" panose="020F0502020204030204"/>
            </a:endParaRPr>
          </a:p>
          <a:p>
            <a:pPr marL="457189" indent="-457189">
              <a:buFont typeface="Arial" panose="020B0604020202020204" pitchFamily="34" charset="0"/>
              <a:buChar char="•"/>
              <a:defRPr/>
            </a:pPr>
            <a:r>
              <a:rPr lang="nl-NL" sz="2400" dirty="0">
                <a:solidFill>
                  <a:prstClr val="white"/>
                </a:solidFill>
                <a:latin typeface="Calibri" panose="020F0502020204030204"/>
              </a:rPr>
              <a:t>De avonturen van </a:t>
            </a:r>
            <a:r>
              <a:rPr lang="nl-NL" sz="2400" dirty="0" err="1">
                <a:solidFill>
                  <a:prstClr val="white"/>
                </a:solidFill>
                <a:latin typeface="Calibri" panose="020F0502020204030204"/>
              </a:rPr>
              <a:t>Pompom</a:t>
            </a:r>
            <a:r>
              <a:rPr lang="nl-NL" sz="2400" dirty="0">
                <a:solidFill>
                  <a:prstClr val="white"/>
                </a:solidFill>
                <a:latin typeface="Calibri" panose="020F0502020204030204"/>
              </a:rPr>
              <a:t>: </a:t>
            </a:r>
          </a:p>
          <a:p>
            <a:pPr>
              <a:defRPr/>
            </a:pPr>
            <a:r>
              <a:rPr lang="nl-NL" sz="2400" dirty="0">
                <a:solidFill>
                  <a:prstClr val="white"/>
                </a:solidFill>
                <a:latin typeface="Calibri" panose="020F0502020204030204"/>
              </a:rPr>
              <a:t>       spreken en luisteren</a:t>
            </a:r>
          </a:p>
          <a:p>
            <a:pPr>
              <a:buClr>
                <a:srgbClr val="002060"/>
              </a:buClr>
            </a:pPr>
            <a:endParaRPr lang="nl-NL" sz="2800" dirty="0">
              <a:solidFill>
                <a:srgbClr val="002060"/>
              </a:solidFill>
              <a:latin typeface="Arial" panose="020B0604020202020204" pitchFamily="34" charset="0"/>
              <a:cs typeface="Arial" panose="020B0604020202020204" pitchFamily="34" charset="0"/>
            </a:endParaRPr>
          </a:p>
        </p:txBody>
      </p:sp>
      <p:pic>
        <p:nvPicPr>
          <p:cNvPr id="18" name="Afbeelding 17">
            <a:extLst>
              <a:ext uri="{FF2B5EF4-FFF2-40B4-BE49-F238E27FC236}">
                <a16:creationId xmlns:a16="http://schemas.microsoft.com/office/drawing/2014/main" id="{AF238A73-58F3-4F0C-9A19-D396CF193C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294831" y="6164016"/>
            <a:ext cx="724228" cy="563044"/>
          </a:xfrm>
          <a:prstGeom prst="rect">
            <a:avLst/>
          </a:prstGeom>
        </p:spPr>
      </p:pic>
    </p:spTree>
    <p:extLst>
      <p:ext uri="{BB962C8B-B14F-4D97-AF65-F5344CB8AC3E}">
        <p14:creationId xmlns:p14="http://schemas.microsoft.com/office/powerpoint/2010/main" val="30738287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Afbeelding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27324" y="1124745"/>
            <a:ext cx="6136337" cy="3981127"/>
          </a:xfrm>
          <a:prstGeom prst="roundRect">
            <a:avLst>
              <a:gd name="adj" fmla="val 4167"/>
            </a:avLst>
          </a:prstGeom>
          <a:solidFill>
            <a:srgbClr val="FFFFFF"/>
          </a:solidFill>
          <a:ln w="76200" cap="sq">
            <a:noFill/>
            <a:miter lim="800000"/>
          </a:ln>
          <a:effectLst/>
        </p:spPr>
      </p:pic>
      <p:pic>
        <p:nvPicPr>
          <p:cNvPr id="7" name="Afbeelding 6"/>
          <p:cNvPicPr>
            <a:picLocks noChangeAspect="1"/>
          </p:cNvPicPr>
          <p:nvPr/>
        </p:nvPicPr>
        <p:blipFill rotWithShape="1">
          <a:blip r:embed="rId4" cstate="print">
            <a:extLst>
              <a:ext uri="{28A0092B-C50C-407E-A947-70E740481C1C}">
                <a14:useLocalDpi xmlns:a14="http://schemas.microsoft.com/office/drawing/2010/main" val="0"/>
              </a:ext>
            </a:extLst>
          </a:blip>
          <a:srcRect t="38800" r="27239" b="50000"/>
          <a:stretch/>
        </p:blipFill>
        <p:spPr>
          <a:xfrm>
            <a:off x="3031663" y="4951323"/>
            <a:ext cx="6131999" cy="889461"/>
          </a:xfrm>
          <a:prstGeom prst="rect">
            <a:avLst/>
          </a:prstGeom>
        </p:spPr>
      </p:pic>
      <p:sp>
        <p:nvSpPr>
          <p:cNvPr id="13" name="Tekstvak 12"/>
          <p:cNvSpPr txBox="1"/>
          <p:nvPr/>
        </p:nvSpPr>
        <p:spPr>
          <a:xfrm>
            <a:off x="3048000" y="4965261"/>
            <a:ext cx="6120000" cy="666786"/>
          </a:xfrm>
          <a:prstGeom prst="rect">
            <a:avLst/>
          </a:prstGeom>
          <a:noFill/>
        </p:spPr>
        <p:txBody>
          <a:bodyPr wrap="square" rtlCol="0">
            <a:spAutoFit/>
          </a:bodyPr>
          <a:lstStyle/>
          <a:p>
            <a:pPr algn="ctr"/>
            <a:r>
              <a:rPr lang="nl-NL" sz="3733" dirty="0">
                <a:solidFill>
                  <a:schemeClr val="bg1"/>
                </a:solidFill>
                <a:latin typeface="Amaranth" panose="02000503050000020004" pitchFamily="2" charset="0"/>
              </a:rPr>
              <a:t>Software</a:t>
            </a:r>
          </a:p>
        </p:txBody>
      </p:sp>
      <p:pic>
        <p:nvPicPr>
          <p:cNvPr id="9" name="Afbeelding 8">
            <a:extLst>
              <a:ext uri="{FF2B5EF4-FFF2-40B4-BE49-F238E27FC236}">
                <a16:creationId xmlns:a16="http://schemas.microsoft.com/office/drawing/2014/main" id="{3A64866E-F52C-49EB-B224-B416B8105A87}"/>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11241707" y="6052930"/>
            <a:ext cx="661508" cy="556592"/>
          </a:xfrm>
          <a:prstGeom prst="rect">
            <a:avLst/>
          </a:prstGeom>
        </p:spPr>
      </p:pic>
    </p:spTree>
    <p:extLst>
      <p:ext uri="{BB962C8B-B14F-4D97-AF65-F5344CB8AC3E}">
        <p14:creationId xmlns:p14="http://schemas.microsoft.com/office/powerpoint/2010/main" val="5035255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ep 9"/>
          <p:cNvGrpSpPr/>
          <p:nvPr/>
        </p:nvGrpSpPr>
        <p:grpSpPr>
          <a:xfrm>
            <a:off x="3024000" y="1028825"/>
            <a:ext cx="6144000" cy="4800353"/>
            <a:chOff x="2412489" y="843558"/>
            <a:chExt cx="4608000" cy="3600265"/>
          </a:xfrm>
        </p:grpSpPr>
        <p:pic>
          <p:nvPicPr>
            <p:cNvPr id="3" name="Afbeelding 2"/>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2430489" y="843558"/>
              <a:ext cx="4590000" cy="3059697"/>
            </a:xfrm>
            <a:prstGeom prst="roundRect">
              <a:avLst>
                <a:gd name="adj" fmla="val 4167"/>
              </a:avLst>
            </a:prstGeom>
            <a:solidFill>
              <a:srgbClr val="FFFFFF"/>
            </a:solidFill>
            <a:ln w="76200" cap="sq">
              <a:noFill/>
              <a:miter lim="800000"/>
            </a:ln>
            <a:effectLst/>
          </p:spPr>
        </p:pic>
        <p:pic>
          <p:nvPicPr>
            <p:cNvPr id="9" name="Afbeelding 8"/>
            <p:cNvPicPr>
              <a:picLocks noChangeAspect="1"/>
            </p:cNvPicPr>
            <p:nvPr/>
          </p:nvPicPr>
          <p:blipFill rotWithShape="1">
            <a:blip r:embed="rId4" cstate="print">
              <a:extLst>
                <a:ext uri="{28A0092B-C50C-407E-A947-70E740481C1C}">
                  <a14:useLocalDpi xmlns:a14="http://schemas.microsoft.com/office/drawing/2010/main" val="0"/>
                </a:ext>
              </a:extLst>
            </a:blip>
            <a:srcRect r="26331" b="88346"/>
            <a:stretch/>
          </p:blipFill>
          <p:spPr>
            <a:xfrm>
              <a:off x="2412489" y="3795886"/>
              <a:ext cx="4608000" cy="647937"/>
            </a:xfrm>
            <a:prstGeom prst="rect">
              <a:avLst/>
            </a:prstGeom>
          </p:spPr>
        </p:pic>
      </p:grpSp>
      <p:sp>
        <p:nvSpPr>
          <p:cNvPr id="12" name="Tekstvak 11"/>
          <p:cNvSpPr txBox="1"/>
          <p:nvPr/>
        </p:nvSpPr>
        <p:spPr>
          <a:xfrm>
            <a:off x="3048000" y="4965261"/>
            <a:ext cx="6120000" cy="666786"/>
          </a:xfrm>
          <a:prstGeom prst="rect">
            <a:avLst/>
          </a:prstGeom>
          <a:noFill/>
        </p:spPr>
        <p:txBody>
          <a:bodyPr wrap="square" rtlCol="0">
            <a:spAutoFit/>
          </a:bodyPr>
          <a:lstStyle/>
          <a:p>
            <a:pPr algn="ctr"/>
            <a:r>
              <a:rPr lang="nl-NL" sz="3733" dirty="0">
                <a:solidFill>
                  <a:schemeClr val="bg1"/>
                </a:solidFill>
                <a:latin typeface="Amaranth" panose="02000503050000020004" pitchFamily="2" charset="0"/>
              </a:rPr>
              <a:t>Sterke punten</a:t>
            </a:r>
          </a:p>
        </p:txBody>
      </p:sp>
      <p:pic>
        <p:nvPicPr>
          <p:cNvPr id="4" name="Afbeelding 3">
            <a:extLst>
              <a:ext uri="{FF2B5EF4-FFF2-40B4-BE49-F238E27FC236}">
                <a16:creationId xmlns:a16="http://schemas.microsoft.com/office/drawing/2014/main" id="{FDEE5A43-C6CE-479B-AB03-C17F7238EF9C}"/>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11241707" y="6052930"/>
            <a:ext cx="661508" cy="556592"/>
          </a:xfrm>
          <a:prstGeom prst="rect">
            <a:avLst/>
          </a:prstGeom>
        </p:spPr>
      </p:pic>
    </p:spTree>
    <p:extLst>
      <p:ext uri="{BB962C8B-B14F-4D97-AF65-F5344CB8AC3E}">
        <p14:creationId xmlns:p14="http://schemas.microsoft.com/office/powerpoint/2010/main" val="16154633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hoek 12">
            <a:extLst>
              <a:ext uri="{FF2B5EF4-FFF2-40B4-BE49-F238E27FC236}">
                <a16:creationId xmlns:a16="http://schemas.microsoft.com/office/drawing/2014/main" id="{CECEAB52-2BFE-4DB7-83D8-2B3EABF14D7F}"/>
              </a:ext>
            </a:extLst>
          </p:cNvPr>
          <p:cNvSpPr/>
          <p:nvPr/>
        </p:nvSpPr>
        <p:spPr>
          <a:xfrm>
            <a:off x="0" y="1857955"/>
            <a:ext cx="12192000" cy="4311505"/>
          </a:xfrm>
          <a:prstGeom prst="rect">
            <a:avLst/>
          </a:prstGeom>
          <a:solidFill>
            <a:srgbClr val="FFC00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65" name="think-cell Slide" r:id="rId5" imgW="353" imgH="353" progId="TCLayout.ActiveDocument.1">
                  <p:embed/>
                </p:oleObj>
              </mc:Choice>
              <mc:Fallback>
                <p:oleObj name="think-cell Slide" r:id="rId5" imgW="353" imgH="353"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extBox 14"/>
          <p:cNvSpPr txBox="1"/>
          <p:nvPr/>
        </p:nvSpPr>
        <p:spPr>
          <a:xfrm>
            <a:off x="3402054" y="531109"/>
            <a:ext cx="9264685" cy="646331"/>
          </a:xfrm>
          <a:prstGeom prst="rect">
            <a:avLst/>
          </a:prstGeom>
          <a:noFill/>
        </p:spPr>
        <p:txBody>
          <a:bodyPr wrap="square" rtlCol="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tab pos="1971675" algn="l"/>
              </a:tabLst>
              <a:defRPr/>
            </a:pPr>
            <a:r>
              <a:rPr kumimoji="0" lang="nl-BE" sz="4000" b="0" i="0" u="none" strike="noStrike" kern="1200" cap="none" spc="0" normalizeH="0" baseline="0" noProof="0" dirty="0">
                <a:ln>
                  <a:noFill/>
                </a:ln>
                <a:solidFill>
                  <a:srgbClr val="FFC000"/>
                </a:solidFill>
                <a:effectLst/>
                <a:uLnTx/>
                <a:uFillTx/>
                <a:latin typeface="Amaranth" panose="02000503000000020004" pitchFamily="50" charset="0"/>
                <a:ea typeface="+mn-ea"/>
                <a:cs typeface="Arial" panose="020B0604020202020204" pitchFamily="34" charset="0"/>
              </a:rPr>
              <a:t>Digitale meerwaarde met de software</a:t>
            </a:r>
          </a:p>
        </p:txBody>
      </p:sp>
      <p:sp>
        <p:nvSpPr>
          <p:cNvPr id="20" name="TextBox 9">
            <a:extLst>
              <a:ext uri="{FF2B5EF4-FFF2-40B4-BE49-F238E27FC236}">
                <a16:creationId xmlns:a16="http://schemas.microsoft.com/office/drawing/2014/main" id="{C7AA8425-6DE2-48BD-9D9B-550BF08EB454}"/>
              </a:ext>
            </a:extLst>
          </p:cNvPr>
          <p:cNvSpPr txBox="1">
            <a:spLocks noChangeArrowheads="1"/>
          </p:cNvSpPr>
          <p:nvPr/>
        </p:nvSpPr>
        <p:spPr bwMode="auto">
          <a:xfrm>
            <a:off x="414395" y="682432"/>
            <a:ext cx="1429916" cy="369332"/>
          </a:xfrm>
          <a:prstGeom prst="rect">
            <a:avLst/>
          </a:prstGeom>
          <a:noFill/>
          <a:ln w="9525">
            <a:noFill/>
            <a:miter lim="800000"/>
            <a:headEnd/>
            <a:tailEnd/>
          </a:ln>
        </p:spPr>
        <p:txBody>
          <a:bodyPr wrap="square" lIns="0">
            <a:spAutoFit/>
          </a:bodyPr>
          <a:lstStyle/>
          <a:p>
            <a:pPr marL="3174" marR="0" lvl="0" indent="0" algn="l" defTabSz="914400" rtl="0" eaLnBrk="1" fontAlgn="auto" latinLnBrk="0" hangingPunct="1">
              <a:lnSpc>
                <a:spcPct val="90000"/>
              </a:lnSpc>
              <a:spcBef>
                <a:spcPts val="1200"/>
              </a:spcBef>
              <a:spcAft>
                <a:spcPts val="0"/>
              </a:spcAft>
              <a:buClr>
                <a:srgbClr val="5C5C5C"/>
              </a:buClr>
              <a:buSzPct val="80000"/>
              <a:buFontTx/>
              <a:buNone/>
              <a:tabLst/>
              <a:defRPr/>
            </a:pPr>
            <a:r>
              <a:rPr kumimoji="0" lang="nl-BE" sz="2000" b="1" i="0" u="none" strike="noStrike" kern="1200" cap="none" spc="0" normalizeH="0" baseline="0" noProof="0" dirty="0">
                <a:ln>
                  <a:noFill/>
                </a:ln>
                <a:solidFill>
                  <a:prstClr val="white"/>
                </a:solidFill>
                <a:effectLst/>
                <a:uLnTx/>
                <a:uFillTx/>
                <a:latin typeface="Amaranth" panose="02000503000000020004" pitchFamily="50" charset="0"/>
                <a:ea typeface="+mn-ea"/>
                <a:cs typeface="Arial" panose="020B0604020202020204" pitchFamily="34" charset="0"/>
              </a:rPr>
              <a:t>Software</a:t>
            </a:r>
          </a:p>
        </p:txBody>
      </p:sp>
      <p:sp>
        <p:nvSpPr>
          <p:cNvPr id="10" name="Freeform 41">
            <a:extLst>
              <a:ext uri="{FF2B5EF4-FFF2-40B4-BE49-F238E27FC236}">
                <a16:creationId xmlns:a16="http://schemas.microsoft.com/office/drawing/2014/main" id="{19C4BFF1-338F-4238-B984-12D30DA19C04}"/>
              </a:ext>
            </a:extLst>
          </p:cNvPr>
          <p:cNvSpPr/>
          <p:nvPr/>
        </p:nvSpPr>
        <p:spPr>
          <a:xfrm rot="845560">
            <a:off x="-82083" y="352836"/>
            <a:ext cx="2164079" cy="1020274"/>
          </a:xfrm>
          <a:custGeom>
            <a:avLst/>
            <a:gdLst>
              <a:gd name="connsiteX0" fmla="*/ 45720 w 1267097"/>
              <a:gd name="connsiteY0" fmla="*/ 378823 h 378823"/>
              <a:gd name="connsiteX1" fmla="*/ 1267097 w 1267097"/>
              <a:gd name="connsiteY1" fmla="*/ 182880 h 378823"/>
              <a:gd name="connsiteX2" fmla="*/ 1267097 w 1267097"/>
              <a:gd name="connsiteY2" fmla="*/ 0 h 378823"/>
              <a:gd name="connsiteX3" fmla="*/ 0 w 1267097"/>
              <a:gd name="connsiteY3" fmla="*/ 189412 h 378823"/>
              <a:gd name="connsiteX4" fmla="*/ 45720 w 1267097"/>
              <a:gd name="connsiteY4" fmla="*/ 378823 h 378823"/>
              <a:gd name="connsiteX0" fmla="*/ 71845 w 1293222"/>
              <a:gd name="connsiteY0" fmla="*/ 378823 h 378823"/>
              <a:gd name="connsiteX1" fmla="*/ 1293222 w 1293222"/>
              <a:gd name="connsiteY1" fmla="*/ 182880 h 378823"/>
              <a:gd name="connsiteX2" fmla="*/ 1293222 w 1293222"/>
              <a:gd name="connsiteY2" fmla="*/ 0 h 378823"/>
              <a:gd name="connsiteX3" fmla="*/ 0 w 1293222"/>
              <a:gd name="connsiteY3" fmla="*/ 130629 h 378823"/>
              <a:gd name="connsiteX4" fmla="*/ 71845 w 1293222"/>
              <a:gd name="connsiteY4" fmla="*/ 378823 h 378823"/>
              <a:gd name="connsiteX0" fmla="*/ 65313 w 1293222"/>
              <a:gd name="connsiteY0" fmla="*/ 398417 h 398417"/>
              <a:gd name="connsiteX1" fmla="*/ 1293222 w 1293222"/>
              <a:gd name="connsiteY1" fmla="*/ 182880 h 398417"/>
              <a:gd name="connsiteX2" fmla="*/ 1293222 w 1293222"/>
              <a:gd name="connsiteY2" fmla="*/ 0 h 398417"/>
              <a:gd name="connsiteX3" fmla="*/ 0 w 1293222"/>
              <a:gd name="connsiteY3" fmla="*/ 130629 h 398417"/>
              <a:gd name="connsiteX4" fmla="*/ 65313 w 1293222"/>
              <a:gd name="connsiteY4" fmla="*/ 398417 h 398417"/>
              <a:gd name="connsiteX0" fmla="*/ 104663 w 1332572"/>
              <a:gd name="connsiteY0" fmla="*/ 488407 h 488407"/>
              <a:gd name="connsiteX1" fmla="*/ 1332572 w 1332572"/>
              <a:gd name="connsiteY1" fmla="*/ 272870 h 488407"/>
              <a:gd name="connsiteX2" fmla="*/ 1332572 w 1332572"/>
              <a:gd name="connsiteY2" fmla="*/ 89990 h 488407"/>
              <a:gd name="connsiteX3" fmla="*/ 0 w 1332572"/>
              <a:gd name="connsiteY3" fmla="*/ 0 h 488407"/>
              <a:gd name="connsiteX4" fmla="*/ 104663 w 1332572"/>
              <a:gd name="connsiteY4" fmla="*/ 488407 h 488407"/>
              <a:gd name="connsiteX0" fmla="*/ 58754 w 1286663"/>
              <a:gd name="connsiteY0" fmla="*/ 488407 h 488407"/>
              <a:gd name="connsiteX1" fmla="*/ 1286663 w 1286663"/>
              <a:gd name="connsiteY1" fmla="*/ 272870 h 488407"/>
              <a:gd name="connsiteX2" fmla="*/ 1286663 w 1286663"/>
              <a:gd name="connsiteY2" fmla="*/ 89990 h 488407"/>
              <a:gd name="connsiteX3" fmla="*/ 0 w 1286663"/>
              <a:gd name="connsiteY3" fmla="*/ 0 h 488407"/>
              <a:gd name="connsiteX4" fmla="*/ 58754 w 1286663"/>
              <a:gd name="connsiteY4" fmla="*/ 488407 h 488407"/>
              <a:gd name="connsiteX0" fmla="*/ 58754 w 1293221"/>
              <a:gd name="connsiteY0" fmla="*/ 574912 h 574912"/>
              <a:gd name="connsiteX1" fmla="*/ 1286663 w 1293221"/>
              <a:gd name="connsiteY1" fmla="*/ 359375 h 574912"/>
              <a:gd name="connsiteX2" fmla="*/ 1293221 w 1293221"/>
              <a:gd name="connsiteY2" fmla="*/ 0 h 574912"/>
              <a:gd name="connsiteX3" fmla="*/ 0 w 1293221"/>
              <a:gd name="connsiteY3" fmla="*/ 86505 h 574912"/>
              <a:gd name="connsiteX4" fmla="*/ 58754 w 1293221"/>
              <a:gd name="connsiteY4" fmla="*/ 574912 h 574912"/>
              <a:gd name="connsiteX0" fmla="*/ 58754 w 1470298"/>
              <a:gd name="connsiteY0" fmla="*/ 574912 h 574912"/>
              <a:gd name="connsiteX1" fmla="*/ 1470298 w 1470298"/>
              <a:gd name="connsiteY1" fmla="*/ 561083 h 574912"/>
              <a:gd name="connsiteX2" fmla="*/ 1293221 w 1470298"/>
              <a:gd name="connsiteY2" fmla="*/ 0 h 574912"/>
              <a:gd name="connsiteX3" fmla="*/ 0 w 1470298"/>
              <a:gd name="connsiteY3" fmla="*/ 86505 h 574912"/>
              <a:gd name="connsiteX4" fmla="*/ 58754 w 1470298"/>
              <a:gd name="connsiteY4" fmla="*/ 574912 h 574912"/>
              <a:gd name="connsiteX0" fmla="*/ 65313 w 1470298"/>
              <a:gd name="connsiteY0" fmla="*/ 795531 h 795531"/>
              <a:gd name="connsiteX1" fmla="*/ 1470298 w 1470298"/>
              <a:gd name="connsiteY1" fmla="*/ 561083 h 795531"/>
              <a:gd name="connsiteX2" fmla="*/ 1293221 w 1470298"/>
              <a:gd name="connsiteY2" fmla="*/ 0 h 795531"/>
              <a:gd name="connsiteX3" fmla="*/ 0 w 1470298"/>
              <a:gd name="connsiteY3" fmla="*/ 86505 h 795531"/>
              <a:gd name="connsiteX4" fmla="*/ 65313 w 1470298"/>
              <a:gd name="connsiteY4" fmla="*/ 795531 h 795531"/>
              <a:gd name="connsiteX0" fmla="*/ 65313 w 1844126"/>
              <a:gd name="connsiteY0" fmla="*/ 795531 h 795531"/>
              <a:gd name="connsiteX1" fmla="*/ 1844126 w 1844126"/>
              <a:gd name="connsiteY1" fmla="*/ 504352 h 795531"/>
              <a:gd name="connsiteX2" fmla="*/ 1293221 w 1844126"/>
              <a:gd name="connsiteY2" fmla="*/ 0 h 795531"/>
              <a:gd name="connsiteX3" fmla="*/ 0 w 1844126"/>
              <a:gd name="connsiteY3" fmla="*/ 86505 h 795531"/>
              <a:gd name="connsiteX4" fmla="*/ 65313 w 1844126"/>
              <a:gd name="connsiteY4" fmla="*/ 795531 h 795531"/>
              <a:gd name="connsiteX0" fmla="*/ 65313 w 1844126"/>
              <a:gd name="connsiteY0" fmla="*/ 845958 h 845958"/>
              <a:gd name="connsiteX1" fmla="*/ 1844126 w 1844126"/>
              <a:gd name="connsiteY1" fmla="*/ 554779 h 845958"/>
              <a:gd name="connsiteX2" fmla="*/ 1621141 w 1844126"/>
              <a:gd name="connsiteY2" fmla="*/ 0 h 845958"/>
              <a:gd name="connsiteX3" fmla="*/ 0 w 1844126"/>
              <a:gd name="connsiteY3" fmla="*/ 136932 h 845958"/>
              <a:gd name="connsiteX4" fmla="*/ 65313 w 1844126"/>
              <a:gd name="connsiteY4" fmla="*/ 845958 h 845958"/>
              <a:gd name="connsiteX0" fmla="*/ 65313 w 1844126"/>
              <a:gd name="connsiteY0" fmla="*/ 864868 h 864868"/>
              <a:gd name="connsiteX1" fmla="*/ 1844126 w 1844126"/>
              <a:gd name="connsiteY1" fmla="*/ 573689 h 864868"/>
              <a:gd name="connsiteX2" fmla="*/ 1621141 w 1844126"/>
              <a:gd name="connsiteY2" fmla="*/ 0 h 864868"/>
              <a:gd name="connsiteX3" fmla="*/ 0 w 1844126"/>
              <a:gd name="connsiteY3" fmla="*/ 155842 h 864868"/>
              <a:gd name="connsiteX4" fmla="*/ 65313 w 1844126"/>
              <a:gd name="connsiteY4" fmla="*/ 864868 h 864868"/>
              <a:gd name="connsiteX0" fmla="*/ 65313 w 1686724"/>
              <a:gd name="connsiteY0" fmla="*/ 864868 h 864868"/>
              <a:gd name="connsiteX1" fmla="*/ 1686724 w 1686724"/>
              <a:gd name="connsiteY1" fmla="*/ 561082 h 864868"/>
              <a:gd name="connsiteX2" fmla="*/ 1621141 w 1686724"/>
              <a:gd name="connsiteY2" fmla="*/ 0 h 864868"/>
              <a:gd name="connsiteX3" fmla="*/ 0 w 1686724"/>
              <a:gd name="connsiteY3" fmla="*/ 155842 h 864868"/>
              <a:gd name="connsiteX4" fmla="*/ 65313 w 1686724"/>
              <a:gd name="connsiteY4" fmla="*/ 864868 h 864868"/>
              <a:gd name="connsiteX0" fmla="*/ 39079 w 1660490"/>
              <a:gd name="connsiteY0" fmla="*/ 864868 h 864868"/>
              <a:gd name="connsiteX1" fmla="*/ 1660490 w 1660490"/>
              <a:gd name="connsiteY1" fmla="*/ 561082 h 864868"/>
              <a:gd name="connsiteX2" fmla="*/ 1594907 w 1660490"/>
              <a:gd name="connsiteY2" fmla="*/ 0 h 864868"/>
              <a:gd name="connsiteX3" fmla="*/ 0 w 1660490"/>
              <a:gd name="connsiteY3" fmla="*/ 351248 h 864868"/>
              <a:gd name="connsiteX4" fmla="*/ 39079 w 1660490"/>
              <a:gd name="connsiteY4" fmla="*/ 864868 h 864868"/>
              <a:gd name="connsiteX0" fmla="*/ 39079 w 1857243"/>
              <a:gd name="connsiteY0" fmla="*/ 719889 h 719889"/>
              <a:gd name="connsiteX1" fmla="*/ 1660490 w 1857243"/>
              <a:gd name="connsiteY1" fmla="*/ 416103 h 719889"/>
              <a:gd name="connsiteX2" fmla="*/ 1857243 w 1857243"/>
              <a:gd name="connsiteY2" fmla="*/ 0 h 719889"/>
              <a:gd name="connsiteX3" fmla="*/ 0 w 1857243"/>
              <a:gd name="connsiteY3" fmla="*/ 206269 h 719889"/>
              <a:gd name="connsiteX4" fmla="*/ 39079 w 1857243"/>
              <a:gd name="connsiteY4" fmla="*/ 719889 h 719889"/>
              <a:gd name="connsiteX0" fmla="*/ 39079 w 1909709"/>
              <a:gd name="connsiteY0" fmla="*/ 719889 h 719889"/>
              <a:gd name="connsiteX1" fmla="*/ 1909709 w 1909709"/>
              <a:gd name="connsiteY1" fmla="*/ 208090 h 719889"/>
              <a:gd name="connsiteX2" fmla="*/ 1857243 w 1909709"/>
              <a:gd name="connsiteY2" fmla="*/ 0 h 719889"/>
              <a:gd name="connsiteX3" fmla="*/ 0 w 1909709"/>
              <a:gd name="connsiteY3" fmla="*/ 206269 h 719889"/>
              <a:gd name="connsiteX4" fmla="*/ 39079 w 1909709"/>
              <a:gd name="connsiteY4" fmla="*/ 719889 h 719889"/>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206269 h 511876"/>
              <a:gd name="connsiteX4" fmla="*/ 39079 w 1909709"/>
              <a:gd name="connsiteY4" fmla="*/ 511876 h 511876"/>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121173 h 511876"/>
              <a:gd name="connsiteX4" fmla="*/ 39079 w 1909709"/>
              <a:gd name="connsiteY4" fmla="*/ 511876 h 511876"/>
              <a:gd name="connsiteX0" fmla="*/ 39079 w 1857243"/>
              <a:gd name="connsiteY0" fmla="*/ 511876 h 511876"/>
              <a:gd name="connsiteX1" fmla="*/ 1748372 w 1857243"/>
              <a:gd name="connsiteY1" fmla="*/ 309201 h 511876"/>
              <a:gd name="connsiteX2" fmla="*/ 1857243 w 1857243"/>
              <a:gd name="connsiteY2" fmla="*/ 0 h 511876"/>
              <a:gd name="connsiteX3" fmla="*/ 0 w 1857243"/>
              <a:gd name="connsiteY3" fmla="*/ 121173 h 511876"/>
              <a:gd name="connsiteX4" fmla="*/ 39079 w 1857243"/>
              <a:gd name="connsiteY4" fmla="*/ 511876 h 511876"/>
              <a:gd name="connsiteX0" fmla="*/ 39079 w 1748372"/>
              <a:gd name="connsiteY0" fmla="*/ 499237 h 499237"/>
              <a:gd name="connsiteX1" fmla="*/ 1748372 w 1748372"/>
              <a:gd name="connsiteY1" fmla="*/ 296562 h 499237"/>
              <a:gd name="connsiteX2" fmla="*/ 1723965 w 1748372"/>
              <a:gd name="connsiteY2" fmla="*/ 0 h 499237"/>
              <a:gd name="connsiteX3" fmla="*/ 0 w 1748372"/>
              <a:gd name="connsiteY3" fmla="*/ 108534 h 499237"/>
              <a:gd name="connsiteX4" fmla="*/ 39079 w 1748372"/>
              <a:gd name="connsiteY4" fmla="*/ 499237 h 499237"/>
              <a:gd name="connsiteX0" fmla="*/ 95196 w 1748372"/>
              <a:gd name="connsiteY0" fmla="*/ 451841 h 451841"/>
              <a:gd name="connsiteX1" fmla="*/ 1748372 w 1748372"/>
              <a:gd name="connsiteY1" fmla="*/ 296562 h 451841"/>
              <a:gd name="connsiteX2" fmla="*/ 1723965 w 1748372"/>
              <a:gd name="connsiteY2" fmla="*/ 0 h 451841"/>
              <a:gd name="connsiteX3" fmla="*/ 0 w 1748372"/>
              <a:gd name="connsiteY3" fmla="*/ 108534 h 451841"/>
              <a:gd name="connsiteX4" fmla="*/ 95196 w 1748372"/>
              <a:gd name="connsiteY4" fmla="*/ 451841 h 451841"/>
              <a:gd name="connsiteX0" fmla="*/ 95196 w 1723965"/>
              <a:gd name="connsiteY0" fmla="*/ 451841 h 451841"/>
              <a:gd name="connsiteX1" fmla="*/ 1713299 w 1723965"/>
              <a:gd name="connsiteY1" fmla="*/ 315520 h 451841"/>
              <a:gd name="connsiteX2" fmla="*/ 1723965 w 1723965"/>
              <a:gd name="connsiteY2" fmla="*/ 0 h 451841"/>
              <a:gd name="connsiteX3" fmla="*/ 0 w 1723965"/>
              <a:gd name="connsiteY3" fmla="*/ 108534 h 451841"/>
              <a:gd name="connsiteX4" fmla="*/ 95196 w 1723965"/>
              <a:gd name="connsiteY4" fmla="*/ 451841 h 451841"/>
              <a:gd name="connsiteX0" fmla="*/ 95196 w 1713299"/>
              <a:gd name="connsiteY0" fmla="*/ 455001 h 455001"/>
              <a:gd name="connsiteX1" fmla="*/ 1713299 w 1713299"/>
              <a:gd name="connsiteY1" fmla="*/ 318680 h 455001"/>
              <a:gd name="connsiteX2" fmla="*/ 1667848 w 1713299"/>
              <a:gd name="connsiteY2" fmla="*/ 0 h 455001"/>
              <a:gd name="connsiteX3" fmla="*/ 0 w 1713299"/>
              <a:gd name="connsiteY3" fmla="*/ 111694 h 455001"/>
              <a:gd name="connsiteX4" fmla="*/ 95196 w 1713299"/>
              <a:gd name="connsiteY4" fmla="*/ 455001 h 455001"/>
              <a:gd name="connsiteX0" fmla="*/ 67137 w 1685240"/>
              <a:gd name="connsiteY0" fmla="*/ 455001 h 455001"/>
              <a:gd name="connsiteX1" fmla="*/ 1685240 w 1685240"/>
              <a:gd name="connsiteY1" fmla="*/ 318680 h 455001"/>
              <a:gd name="connsiteX2" fmla="*/ 1639789 w 1685240"/>
              <a:gd name="connsiteY2" fmla="*/ 0 h 455001"/>
              <a:gd name="connsiteX3" fmla="*/ 0 w 1685240"/>
              <a:gd name="connsiteY3" fmla="*/ 130652 h 455001"/>
              <a:gd name="connsiteX4" fmla="*/ 67137 w 1685240"/>
              <a:gd name="connsiteY4" fmla="*/ 455001 h 455001"/>
              <a:gd name="connsiteX0" fmla="*/ 67137 w 1667473"/>
              <a:gd name="connsiteY0" fmla="*/ 455001 h 455001"/>
              <a:gd name="connsiteX1" fmla="*/ 1667473 w 1667473"/>
              <a:gd name="connsiteY1" fmla="*/ 242054 h 455001"/>
              <a:gd name="connsiteX2" fmla="*/ 1639789 w 1667473"/>
              <a:gd name="connsiteY2" fmla="*/ 0 h 455001"/>
              <a:gd name="connsiteX3" fmla="*/ 0 w 1667473"/>
              <a:gd name="connsiteY3" fmla="*/ 130652 h 455001"/>
              <a:gd name="connsiteX4" fmla="*/ 67137 w 1667473"/>
              <a:gd name="connsiteY4" fmla="*/ 455001 h 455001"/>
              <a:gd name="connsiteX0" fmla="*/ 100217 w 1700553"/>
              <a:gd name="connsiteY0" fmla="*/ 455001 h 455001"/>
              <a:gd name="connsiteX1" fmla="*/ 1700553 w 1700553"/>
              <a:gd name="connsiteY1" fmla="*/ 242054 h 455001"/>
              <a:gd name="connsiteX2" fmla="*/ 1672869 w 1700553"/>
              <a:gd name="connsiteY2" fmla="*/ 0 h 455001"/>
              <a:gd name="connsiteX3" fmla="*/ 0 w 1700553"/>
              <a:gd name="connsiteY3" fmla="*/ 205540 h 455001"/>
              <a:gd name="connsiteX4" fmla="*/ 100217 w 1700553"/>
              <a:gd name="connsiteY4" fmla="*/ 455001 h 455001"/>
              <a:gd name="connsiteX0" fmla="*/ 100217 w 1700553"/>
              <a:gd name="connsiteY0" fmla="*/ 366878 h 366878"/>
              <a:gd name="connsiteX1" fmla="*/ 1700553 w 1700553"/>
              <a:gd name="connsiteY1" fmla="*/ 153931 h 366878"/>
              <a:gd name="connsiteX2" fmla="*/ 1588975 w 1700553"/>
              <a:gd name="connsiteY2" fmla="*/ 0 h 366878"/>
              <a:gd name="connsiteX3" fmla="*/ 0 w 1700553"/>
              <a:gd name="connsiteY3" fmla="*/ 117417 h 366878"/>
              <a:gd name="connsiteX4" fmla="*/ 100217 w 1700553"/>
              <a:gd name="connsiteY4" fmla="*/ 366878 h 366878"/>
              <a:gd name="connsiteX0" fmla="*/ 115726 w 1700553"/>
              <a:gd name="connsiteY0" fmla="*/ 305211 h 305211"/>
              <a:gd name="connsiteX1" fmla="*/ 1700553 w 1700553"/>
              <a:gd name="connsiteY1" fmla="*/ 153931 h 305211"/>
              <a:gd name="connsiteX2" fmla="*/ 1588975 w 1700553"/>
              <a:gd name="connsiteY2" fmla="*/ 0 h 305211"/>
              <a:gd name="connsiteX3" fmla="*/ 0 w 1700553"/>
              <a:gd name="connsiteY3" fmla="*/ 117417 h 305211"/>
              <a:gd name="connsiteX4" fmla="*/ 115726 w 1700553"/>
              <a:gd name="connsiteY4" fmla="*/ 305211 h 305211"/>
              <a:gd name="connsiteX0" fmla="*/ 115726 w 1700553"/>
              <a:gd name="connsiteY0" fmla="*/ 321895 h 321895"/>
              <a:gd name="connsiteX1" fmla="*/ 1700553 w 1700553"/>
              <a:gd name="connsiteY1" fmla="*/ 170615 h 321895"/>
              <a:gd name="connsiteX2" fmla="*/ 1471607 w 1700553"/>
              <a:gd name="connsiteY2" fmla="*/ 0 h 321895"/>
              <a:gd name="connsiteX3" fmla="*/ 0 w 1700553"/>
              <a:gd name="connsiteY3" fmla="*/ 134101 h 321895"/>
              <a:gd name="connsiteX4" fmla="*/ 115726 w 1700553"/>
              <a:gd name="connsiteY4" fmla="*/ 321895 h 321895"/>
              <a:gd name="connsiteX0" fmla="*/ 115726 w 1581352"/>
              <a:gd name="connsiteY0" fmla="*/ 321895 h 321895"/>
              <a:gd name="connsiteX1" fmla="*/ 1581352 w 1581352"/>
              <a:gd name="connsiteY1" fmla="*/ 210307 h 321895"/>
              <a:gd name="connsiteX2" fmla="*/ 1471607 w 1581352"/>
              <a:gd name="connsiteY2" fmla="*/ 0 h 321895"/>
              <a:gd name="connsiteX3" fmla="*/ 0 w 1581352"/>
              <a:gd name="connsiteY3" fmla="*/ 134101 h 321895"/>
              <a:gd name="connsiteX4" fmla="*/ 115726 w 1581352"/>
              <a:gd name="connsiteY4" fmla="*/ 321895 h 321895"/>
              <a:gd name="connsiteX0" fmla="*/ 92298 w 1557924"/>
              <a:gd name="connsiteY0" fmla="*/ 321895 h 321895"/>
              <a:gd name="connsiteX1" fmla="*/ 1557924 w 1557924"/>
              <a:gd name="connsiteY1" fmla="*/ 210307 h 321895"/>
              <a:gd name="connsiteX2" fmla="*/ 1448179 w 1557924"/>
              <a:gd name="connsiteY2" fmla="*/ 0 h 321895"/>
              <a:gd name="connsiteX3" fmla="*/ 0 w 1557924"/>
              <a:gd name="connsiteY3" fmla="*/ 116473 h 321895"/>
              <a:gd name="connsiteX4" fmla="*/ 92298 w 1557924"/>
              <a:gd name="connsiteY4" fmla="*/ 321895 h 321895"/>
              <a:gd name="connsiteX0" fmla="*/ 152961 w 1557924"/>
              <a:gd name="connsiteY0" fmla="*/ 341247 h 341247"/>
              <a:gd name="connsiteX1" fmla="*/ 1557924 w 1557924"/>
              <a:gd name="connsiteY1" fmla="*/ 210307 h 341247"/>
              <a:gd name="connsiteX2" fmla="*/ 1448179 w 1557924"/>
              <a:gd name="connsiteY2" fmla="*/ 0 h 341247"/>
              <a:gd name="connsiteX3" fmla="*/ 0 w 1557924"/>
              <a:gd name="connsiteY3" fmla="*/ 116473 h 341247"/>
              <a:gd name="connsiteX4" fmla="*/ 152961 w 1557924"/>
              <a:gd name="connsiteY4" fmla="*/ 341247 h 341247"/>
              <a:gd name="connsiteX0" fmla="*/ 135357 w 1557924"/>
              <a:gd name="connsiteY0" fmla="*/ 339493 h 339493"/>
              <a:gd name="connsiteX1" fmla="*/ 1557924 w 1557924"/>
              <a:gd name="connsiteY1" fmla="*/ 210307 h 339493"/>
              <a:gd name="connsiteX2" fmla="*/ 1448179 w 1557924"/>
              <a:gd name="connsiteY2" fmla="*/ 0 h 339493"/>
              <a:gd name="connsiteX3" fmla="*/ 0 w 1557924"/>
              <a:gd name="connsiteY3" fmla="*/ 116473 h 339493"/>
              <a:gd name="connsiteX4" fmla="*/ 135357 w 1557924"/>
              <a:gd name="connsiteY4" fmla="*/ 339493 h 339493"/>
              <a:gd name="connsiteX0" fmla="*/ 109934 w 1532501"/>
              <a:gd name="connsiteY0" fmla="*/ 339493 h 339493"/>
              <a:gd name="connsiteX1" fmla="*/ 1532501 w 1532501"/>
              <a:gd name="connsiteY1" fmla="*/ 210307 h 339493"/>
              <a:gd name="connsiteX2" fmla="*/ 1422756 w 1532501"/>
              <a:gd name="connsiteY2" fmla="*/ 0 h 339493"/>
              <a:gd name="connsiteX3" fmla="*/ 0 w 1532501"/>
              <a:gd name="connsiteY3" fmla="*/ 117343 h 339493"/>
              <a:gd name="connsiteX4" fmla="*/ 109934 w 1532501"/>
              <a:gd name="connsiteY4" fmla="*/ 339493 h 339493"/>
              <a:gd name="connsiteX0" fmla="*/ 133525 w 1556092"/>
              <a:gd name="connsiteY0" fmla="*/ 339493 h 339493"/>
              <a:gd name="connsiteX1" fmla="*/ 1556092 w 1556092"/>
              <a:gd name="connsiteY1" fmla="*/ 210307 h 339493"/>
              <a:gd name="connsiteX2" fmla="*/ 1446347 w 1556092"/>
              <a:gd name="connsiteY2" fmla="*/ 0 h 339493"/>
              <a:gd name="connsiteX3" fmla="*/ 0 w 1556092"/>
              <a:gd name="connsiteY3" fmla="*/ 60098 h 339493"/>
              <a:gd name="connsiteX4" fmla="*/ 133525 w 1556092"/>
              <a:gd name="connsiteY4" fmla="*/ 339493 h 339493"/>
              <a:gd name="connsiteX0" fmla="*/ 133525 w 2343667"/>
              <a:gd name="connsiteY0" fmla="*/ 459688 h 459688"/>
              <a:gd name="connsiteX1" fmla="*/ 1556092 w 2343667"/>
              <a:gd name="connsiteY1" fmla="*/ 330502 h 459688"/>
              <a:gd name="connsiteX2" fmla="*/ 2343667 w 2343667"/>
              <a:gd name="connsiteY2" fmla="*/ 0 h 459688"/>
              <a:gd name="connsiteX3" fmla="*/ 0 w 2343667"/>
              <a:gd name="connsiteY3" fmla="*/ 180293 h 459688"/>
              <a:gd name="connsiteX4" fmla="*/ 133525 w 2343667"/>
              <a:gd name="connsiteY4" fmla="*/ 459688 h 459688"/>
              <a:gd name="connsiteX0" fmla="*/ 133525 w 2391079"/>
              <a:gd name="connsiteY0" fmla="*/ 459688 h 459688"/>
              <a:gd name="connsiteX1" fmla="*/ 2391079 w 2391079"/>
              <a:gd name="connsiteY1" fmla="*/ 322204 h 459688"/>
              <a:gd name="connsiteX2" fmla="*/ 2343667 w 2391079"/>
              <a:gd name="connsiteY2" fmla="*/ 0 h 459688"/>
              <a:gd name="connsiteX3" fmla="*/ 0 w 2391079"/>
              <a:gd name="connsiteY3" fmla="*/ 180293 h 459688"/>
              <a:gd name="connsiteX4" fmla="*/ 133525 w 2391079"/>
              <a:gd name="connsiteY4" fmla="*/ 459688 h 459688"/>
              <a:gd name="connsiteX0" fmla="*/ 159047 w 2391079"/>
              <a:gd name="connsiteY0" fmla="*/ 505482 h 505482"/>
              <a:gd name="connsiteX1" fmla="*/ 2391079 w 2391079"/>
              <a:gd name="connsiteY1" fmla="*/ 322204 h 505482"/>
              <a:gd name="connsiteX2" fmla="*/ 2343667 w 2391079"/>
              <a:gd name="connsiteY2" fmla="*/ 0 h 505482"/>
              <a:gd name="connsiteX3" fmla="*/ 0 w 2391079"/>
              <a:gd name="connsiteY3" fmla="*/ 180293 h 505482"/>
              <a:gd name="connsiteX4" fmla="*/ 159047 w 2391079"/>
              <a:gd name="connsiteY4" fmla="*/ 505482 h 505482"/>
              <a:gd name="connsiteX0" fmla="*/ 159047 w 2391079"/>
              <a:gd name="connsiteY0" fmla="*/ 518659 h 518659"/>
              <a:gd name="connsiteX1" fmla="*/ 2391079 w 2391079"/>
              <a:gd name="connsiteY1" fmla="*/ 335381 h 518659"/>
              <a:gd name="connsiteX2" fmla="*/ 2261507 w 2391079"/>
              <a:gd name="connsiteY2" fmla="*/ 0 h 518659"/>
              <a:gd name="connsiteX3" fmla="*/ 0 w 2391079"/>
              <a:gd name="connsiteY3" fmla="*/ 193470 h 518659"/>
              <a:gd name="connsiteX4" fmla="*/ 159047 w 2391079"/>
              <a:gd name="connsiteY4" fmla="*/ 518659 h 518659"/>
              <a:gd name="connsiteX0" fmla="*/ 159047 w 2513813"/>
              <a:gd name="connsiteY0" fmla="*/ 498511 h 498511"/>
              <a:gd name="connsiteX1" fmla="*/ 2391079 w 2513813"/>
              <a:gd name="connsiteY1" fmla="*/ 315233 h 498511"/>
              <a:gd name="connsiteX2" fmla="*/ 2513813 w 2513813"/>
              <a:gd name="connsiteY2" fmla="*/ 0 h 498511"/>
              <a:gd name="connsiteX3" fmla="*/ 0 w 2513813"/>
              <a:gd name="connsiteY3" fmla="*/ 173322 h 498511"/>
              <a:gd name="connsiteX4" fmla="*/ 159047 w 2513813"/>
              <a:gd name="connsiteY4" fmla="*/ 498511 h 498511"/>
              <a:gd name="connsiteX0" fmla="*/ 159047 w 2547383"/>
              <a:gd name="connsiteY0" fmla="*/ 498511 h 498511"/>
              <a:gd name="connsiteX1" fmla="*/ 2547383 w 2547383"/>
              <a:gd name="connsiteY1" fmla="*/ 252623 h 498511"/>
              <a:gd name="connsiteX2" fmla="*/ 2513813 w 2547383"/>
              <a:gd name="connsiteY2" fmla="*/ 0 h 498511"/>
              <a:gd name="connsiteX3" fmla="*/ 0 w 2547383"/>
              <a:gd name="connsiteY3" fmla="*/ 173322 h 498511"/>
              <a:gd name="connsiteX4" fmla="*/ 159047 w 2547383"/>
              <a:gd name="connsiteY4" fmla="*/ 498511 h 498511"/>
              <a:gd name="connsiteX0" fmla="*/ 164772 w 2553108"/>
              <a:gd name="connsiteY0" fmla="*/ 498511 h 498511"/>
              <a:gd name="connsiteX1" fmla="*/ 2553108 w 2553108"/>
              <a:gd name="connsiteY1" fmla="*/ 252623 h 498511"/>
              <a:gd name="connsiteX2" fmla="*/ 2519538 w 2553108"/>
              <a:gd name="connsiteY2" fmla="*/ 0 h 498511"/>
              <a:gd name="connsiteX3" fmla="*/ 0 w 2553108"/>
              <a:gd name="connsiteY3" fmla="*/ 237627 h 498511"/>
              <a:gd name="connsiteX4" fmla="*/ 164772 w 2553108"/>
              <a:gd name="connsiteY4" fmla="*/ 498511 h 498511"/>
              <a:gd name="connsiteX0" fmla="*/ 102113 w 2553108"/>
              <a:gd name="connsiteY0" fmla="*/ 460662 h 460662"/>
              <a:gd name="connsiteX1" fmla="*/ 2553108 w 2553108"/>
              <a:gd name="connsiteY1" fmla="*/ 252623 h 460662"/>
              <a:gd name="connsiteX2" fmla="*/ 2519538 w 2553108"/>
              <a:gd name="connsiteY2" fmla="*/ 0 h 460662"/>
              <a:gd name="connsiteX3" fmla="*/ 0 w 2553108"/>
              <a:gd name="connsiteY3" fmla="*/ 237627 h 460662"/>
              <a:gd name="connsiteX4" fmla="*/ 102113 w 2553108"/>
              <a:gd name="connsiteY4" fmla="*/ 460662 h 460662"/>
              <a:gd name="connsiteX0" fmla="*/ 102113 w 2553108"/>
              <a:gd name="connsiteY0" fmla="*/ 424537 h 424537"/>
              <a:gd name="connsiteX1" fmla="*/ 2553108 w 2553108"/>
              <a:gd name="connsiteY1" fmla="*/ 216498 h 424537"/>
              <a:gd name="connsiteX2" fmla="*/ 2498106 w 2553108"/>
              <a:gd name="connsiteY2" fmla="*/ 0 h 424537"/>
              <a:gd name="connsiteX3" fmla="*/ 0 w 2553108"/>
              <a:gd name="connsiteY3" fmla="*/ 201502 h 424537"/>
              <a:gd name="connsiteX4" fmla="*/ 102113 w 2553108"/>
              <a:gd name="connsiteY4" fmla="*/ 424537 h 424537"/>
              <a:gd name="connsiteX0" fmla="*/ 90333 w 2553108"/>
              <a:gd name="connsiteY0" fmla="*/ 403402 h 403402"/>
              <a:gd name="connsiteX1" fmla="*/ 2553108 w 2553108"/>
              <a:gd name="connsiteY1" fmla="*/ 216498 h 403402"/>
              <a:gd name="connsiteX2" fmla="*/ 2498106 w 2553108"/>
              <a:gd name="connsiteY2" fmla="*/ 0 h 403402"/>
              <a:gd name="connsiteX3" fmla="*/ 0 w 2553108"/>
              <a:gd name="connsiteY3" fmla="*/ 201502 h 403402"/>
              <a:gd name="connsiteX4" fmla="*/ 90333 w 2553108"/>
              <a:gd name="connsiteY4" fmla="*/ 403402 h 403402"/>
              <a:gd name="connsiteX0" fmla="*/ 60951 w 2523726"/>
              <a:gd name="connsiteY0" fmla="*/ 403402 h 403402"/>
              <a:gd name="connsiteX1" fmla="*/ 2523726 w 2523726"/>
              <a:gd name="connsiteY1" fmla="*/ 216498 h 403402"/>
              <a:gd name="connsiteX2" fmla="*/ 2468724 w 2523726"/>
              <a:gd name="connsiteY2" fmla="*/ 0 h 403402"/>
              <a:gd name="connsiteX3" fmla="*/ 0 w 2523726"/>
              <a:gd name="connsiteY3" fmla="*/ 224392 h 403402"/>
              <a:gd name="connsiteX4" fmla="*/ 60951 w 2523726"/>
              <a:gd name="connsiteY4" fmla="*/ 403402 h 40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3726" h="403402">
                <a:moveTo>
                  <a:pt x="60951" y="403402"/>
                </a:moveTo>
                <a:lnTo>
                  <a:pt x="2523726" y="216498"/>
                </a:lnTo>
                <a:lnTo>
                  <a:pt x="2468724" y="0"/>
                </a:lnTo>
                <a:lnTo>
                  <a:pt x="0" y="224392"/>
                </a:lnTo>
                <a:lnTo>
                  <a:pt x="60951" y="403402"/>
                </a:lnTo>
                <a:close/>
              </a:path>
            </a:pathLst>
          </a:custGeom>
          <a:solidFill>
            <a:schemeClr val="bg1"/>
          </a:solidFill>
          <a:ln>
            <a:noFill/>
          </a:ln>
          <a:effectLst>
            <a:outerShdw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solidFill>
                <a:schemeClr val="accent4"/>
              </a:solidFill>
            </a:endParaRPr>
          </a:p>
        </p:txBody>
      </p:sp>
      <p:sp>
        <p:nvSpPr>
          <p:cNvPr id="12" name="TextBox 9">
            <a:extLst>
              <a:ext uri="{FF2B5EF4-FFF2-40B4-BE49-F238E27FC236}">
                <a16:creationId xmlns:a16="http://schemas.microsoft.com/office/drawing/2014/main" id="{C3944AA2-7FD8-4EED-A32C-A9F6411C21EC}"/>
              </a:ext>
            </a:extLst>
          </p:cNvPr>
          <p:cNvSpPr txBox="1">
            <a:spLocks noChangeArrowheads="1"/>
          </p:cNvSpPr>
          <p:nvPr/>
        </p:nvSpPr>
        <p:spPr bwMode="auto">
          <a:xfrm>
            <a:off x="224576" y="678307"/>
            <a:ext cx="2485989" cy="369332"/>
          </a:xfrm>
          <a:prstGeom prst="rect">
            <a:avLst/>
          </a:prstGeom>
          <a:noFill/>
          <a:ln w="9525">
            <a:noFill/>
            <a:miter lim="800000"/>
            <a:headEnd/>
            <a:tailEnd/>
          </a:ln>
          <a:effectLst/>
        </p:spPr>
        <p:txBody>
          <a:bodyPr wrap="square" lIns="0">
            <a:spAutoFit/>
          </a:bodyPr>
          <a:lstStyle/>
          <a:p>
            <a:pPr marL="3174">
              <a:lnSpc>
                <a:spcPct val="90000"/>
              </a:lnSpc>
              <a:spcBef>
                <a:spcPts val="1200"/>
              </a:spcBef>
              <a:buClr>
                <a:srgbClr val="5C5C5C"/>
              </a:buClr>
              <a:buSzPct val="80000"/>
            </a:pPr>
            <a:r>
              <a:rPr lang="nl-BE" sz="2000" b="1" dirty="0">
                <a:solidFill>
                  <a:srgbClr val="FFC000"/>
                </a:solidFill>
                <a:latin typeface="Amaranth" panose="02000503000000020004" pitchFamily="50" charset="0"/>
                <a:cs typeface="Arial" panose="020B0604020202020204" pitchFamily="34" charset="0"/>
              </a:rPr>
              <a:t>Software</a:t>
            </a:r>
          </a:p>
        </p:txBody>
      </p:sp>
      <p:pic>
        <p:nvPicPr>
          <p:cNvPr id="11" name="Afbeelding 10">
            <a:hlinkClick r:id="rId7"/>
            <a:extLst>
              <a:ext uri="{FF2B5EF4-FFF2-40B4-BE49-F238E27FC236}">
                <a16:creationId xmlns:a16="http://schemas.microsoft.com/office/drawing/2014/main" id="{455C1C91-4927-443F-923F-E508D55F70C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279426" y="3196397"/>
            <a:ext cx="2393945" cy="1944483"/>
          </a:xfrm>
          <a:prstGeom prst="rect">
            <a:avLst/>
          </a:prstGeom>
        </p:spPr>
      </p:pic>
      <p:sp>
        <p:nvSpPr>
          <p:cNvPr id="16" name="Rechthoek 12">
            <a:extLst>
              <a:ext uri="{FF2B5EF4-FFF2-40B4-BE49-F238E27FC236}">
                <a16:creationId xmlns:a16="http://schemas.microsoft.com/office/drawing/2014/main" id="{F245CB20-FC2C-47BA-9137-D1550C07CFBC}"/>
              </a:ext>
            </a:extLst>
          </p:cNvPr>
          <p:cNvSpPr/>
          <p:nvPr/>
        </p:nvSpPr>
        <p:spPr>
          <a:xfrm>
            <a:off x="1695101" y="5099758"/>
            <a:ext cx="3232274" cy="377010"/>
          </a:xfrm>
          <a:prstGeom prst="rect">
            <a:avLst/>
          </a:prstGeom>
        </p:spPr>
        <p:txBody>
          <a:bodyPr wrap="square" lIns="91424" tIns="45712" rIns="91424" bIns="45712">
            <a:spAutoFit/>
          </a:bodyPr>
          <a:lstStyle/>
          <a:p>
            <a:pPr algn="ctr" fontAlgn="ctr">
              <a:lnSpc>
                <a:spcPct val="90000"/>
              </a:lnSpc>
            </a:pPr>
            <a:r>
              <a:rPr lang="nl-BE" sz="2000" dirty="0">
                <a:solidFill>
                  <a:schemeClr val="bg1"/>
                </a:solidFill>
                <a:cs typeface="Arial" panose="020B0604020202020204" pitchFamily="34" charset="0"/>
              </a:rPr>
              <a:t>Leerkrachtassistent</a:t>
            </a:r>
          </a:p>
        </p:txBody>
      </p:sp>
      <p:pic>
        <p:nvPicPr>
          <p:cNvPr id="18" name="Afbeelding 17">
            <a:extLst>
              <a:ext uri="{FF2B5EF4-FFF2-40B4-BE49-F238E27FC236}">
                <a16:creationId xmlns:a16="http://schemas.microsoft.com/office/drawing/2014/main" id="{9A9E02A9-F92E-4BC5-B429-AC4D18D2E66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912140" y="1379795"/>
            <a:ext cx="2393945" cy="1944483"/>
          </a:xfrm>
          <a:prstGeom prst="rect">
            <a:avLst/>
          </a:prstGeom>
        </p:spPr>
      </p:pic>
      <p:sp>
        <p:nvSpPr>
          <p:cNvPr id="19" name="Rechthoek 12">
            <a:extLst>
              <a:ext uri="{FF2B5EF4-FFF2-40B4-BE49-F238E27FC236}">
                <a16:creationId xmlns:a16="http://schemas.microsoft.com/office/drawing/2014/main" id="{5FC65C68-3CB0-4729-BFE2-ECF3938EEE18}"/>
              </a:ext>
            </a:extLst>
          </p:cNvPr>
          <p:cNvSpPr/>
          <p:nvPr/>
        </p:nvSpPr>
        <p:spPr>
          <a:xfrm>
            <a:off x="4425865" y="3324278"/>
            <a:ext cx="3232274" cy="377010"/>
          </a:xfrm>
          <a:prstGeom prst="rect">
            <a:avLst/>
          </a:prstGeom>
        </p:spPr>
        <p:txBody>
          <a:bodyPr wrap="square" lIns="91424" tIns="45712" rIns="91424" bIns="45712">
            <a:spAutoFit/>
          </a:bodyPr>
          <a:lstStyle/>
          <a:p>
            <a:pPr algn="ctr" fontAlgn="ctr">
              <a:lnSpc>
                <a:spcPct val="90000"/>
              </a:lnSpc>
            </a:pPr>
            <a:r>
              <a:rPr lang="nl-BE" sz="2000" dirty="0">
                <a:solidFill>
                  <a:schemeClr val="bg1"/>
                </a:solidFill>
                <a:cs typeface="Arial" panose="020B0604020202020204" pitchFamily="34" charset="0"/>
              </a:rPr>
              <a:t>Digiregie</a:t>
            </a:r>
          </a:p>
        </p:txBody>
      </p:sp>
      <p:pic>
        <p:nvPicPr>
          <p:cNvPr id="2" name="Afbeelding 1">
            <a:hlinkClick r:id="rId9"/>
            <a:extLst>
              <a:ext uri="{FF2B5EF4-FFF2-40B4-BE49-F238E27FC236}">
                <a16:creationId xmlns:a16="http://schemas.microsoft.com/office/drawing/2014/main" id="{2F806CE0-1787-496B-A2B7-A05FC62DBE13}"/>
              </a:ext>
            </a:extLst>
          </p:cNvPr>
          <p:cNvPicPr>
            <a:picLocks noChangeAspect="1"/>
          </p:cNvPicPr>
          <p:nvPr/>
        </p:nvPicPr>
        <p:blipFill>
          <a:blip r:embed="rId10"/>
          <a:stretch>
            <a:fillRect/>
          </a:stretch>
        </p:blipFill>
        <p:spPr>
          <a:xfrm>
            <a:off x="5027225" y="1455358"/>
            <a:ext cx="2202915" cy="1317709"/>
          </a:xfrm>
          <a:prstGeom prst="rect">
            <a:avLst/>
          </a:prstGeom>
        </p:spPr>
      </p:pic>
      <p:pic>
        <p:nvPicPr>
          <p:cNvPr id="24" name="Afbeelding 23">
            <a:extLst>
              <a:ext uri="{FF2B5EF4-FFF2-40B4-BE49-F238E27FC236}">
                <a16:creationId xmlns:a16="http://schemas.microsoft.com/office/drawing/2014/main" id="{EA0A281B-1471-4C91-BA45-BAF54C22CE52}"/>
              </a:ext>
            </a:extLst>
          </p:cNvPr>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11229831" y="6234480"/>
            <a:ext cx="661508" cy="556592"/>
          </a:xfrm>
          <a:prstGeom prst="rect">
            <a:avLst/>
          </a:prstGeom>
        </p:spPr>
      </p:pic>
      <p:pic>
        <p:nvPicPr>
          <p:cNvPr id="25" name="Afbeelding 24" descr="Lijnpijl: curve rechtsom">
            <a:extLst>
              <a:ext uri="{FF2B5EF4-FFF2-40B4-BE49-F238E27FC236}">
                <a16:creationId xmlns:a16="http://schemas.microsoft.com/office/drawing/2014/main" id="{42805CEA-C4C0-45BF-BF77-FF6B819EE845}"/>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5216909">
            <a:off x="3477972" y="1895823"/>
            <a:ext cx="827975" cy="827975"/>
          </a:xfrm>
          <a:prstGeom prst="rect">
            <a:avLst/>
          </a:prstGeom>
        </p:spPr>
      </p:pic>
      <p:pic>
        <p:nvPicPr>
          <p:cNvPr id="26" name="Afbeelding 25" descr="Lijnpijl: curve rechtsom">
            <a:extLst>
              <a:ext uri="{FF2B5EF4-FFF2-40B4-BE49-F238E27FC236}">
                <a16:creationId xmlns:a16="http://schemas.microsoft.com/office/drawing/2014/main" id="{FD8FD5A6-8CC7-43A4-945A-477F3EE8C08D}"/>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15801600">
            <a:off x="3697831" y="2316102"/>
            <a:ext cx="868406" cy="868406"/>
          </a:xfrm>
          <a:prstGeom prst="rect">
            <a:avLst/>
          </a:prstGeom>
        </p:spPr>
      </p:pic>
      <p:pic>
        <p:nvPicPr>
          <p:cNvPr id="21" name="Afbeelding 20">
            <a:hlinkClick r:id="rId7"/>
            <a:extLst>
              <a:ext uri="{FF2B5EF4-FFF2-40B4-BE49-F238E27FC236}">
                <a16:creationId xmlns:a16="http://schemas.microsoft.com/office/drawing/2014/main" id="{156D0CE1-3B40-42D2-9024-A7E7AF35C12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258596" y="3771135"/>
            <a:ext cx="2444194" cy="1985298"/>
          </a:xfrm>
          <a:prstGeom prst="rect">
            <a:avLst/>
          </a:prstGeom>
        </p:spPr>
      </p:pic>
      <p:sp>
        <p:nvSpPr>
          <p:cNvPr id="23" name="Rechthoek 12">
            <a:extLst>
              <a:ext uri="{FF2B5EF4-FFF2-40B4-BE49-F238E27FC236}">
                <a16:creationId xmlns:a16="http://schemas.microsoft.com/office/drawing/2014/main" id="{4DAA2DE8-A8EA-404B-90B6-E19A2EF964D4}"/>
              </a:ext>
            </a:extLst>
          </p:cNvPr>
          <p:cNvSpPr/>
          <p:nvPr/>
        </p:nvSpPr>
        <p:spPr>
          <a:xfrm>
            <a:off x="5908704" y="5708447"/>
            <a:ext cx="4714774" cy="377010"/>
          </a:xfrm>
          <a:prstGeom prst="rect">
            <a:avLst/>
          </a:prstGeom>
        </p:spPr>
        <p:txBody>
          <a:bodyPr wrap="square" lIns="91424" tIns="45712" rIns="91424" bIns="45712">
            <a:spAutoFit/>
          </a:bodyPr>
          <a:lstStyle/>
          <a:p>
            <a:pPr algn="ctr" fontAlgn="ctr">
              <a:lnSpc>
                <a:spcPct val="90000"/>
              </a:lnSpc>
            </a:pPr>
            <a:r>
              <a:rPr lang="nl-BE" sz="2000" dirty="0">
                <a:solidFill>
                  <a:schemeClr val="bg1"/>
                </a:solidFill>
                <a:cs typeface="Arial" panose="020B0604020202020204" pitchFamily="34" charset="0"/>
              </a:rPr>
              <a:t>Leerlingsoftware: voor op school én thuis</a:t>
            </a:r>
          </a:p>
        </p:txBody>
      </p:sp>
      <p:pic>
        <p:nvPicPr>
          <p:cNvPr id="27" name="Afbeelding 26" descr="Lijnpijl: curve rechtsom">
            <a:extLst>
              <a:ext uri="{FF2B5EF4-FFF2-40B4-BE49-F238E27FC236}">
                <a16:creationId xmlns:a16="http://schemas.microsoft.com/office/drawing/2014/main" id="{1EEF6130-3A10-4D45-98AF-DD64E903B64F}"/>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9598286">
            <a:off x="7822884" y="2577944"/>
            <a:ext cx="827975" cy="827975"/>
          </a:xfrm>
          <a:prstGeom prst="rect">
            <a:avLst/>
          </a:prstGeom>
        </p:spPr>
      </p:pic>
      <p:pic>
        <p:nvPicPr>
          <p:cNvPr id="28" name="Afbeelding 27" descr="Lijnpijl: curve rechtsom">
            <a:extLst>
              <a:ext uri="{FF2B5EF4-FFF2-40B4-BE49-F238E27FC236}">
                <a16:creationId xmlns:a16="http://schemas.microsoft.com/office/drawing/2014/main" id="{71DF8B63-120D-4AB8-B723-AF7FD792FE0E}"/>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20500247">
            <a:off x="7363724" y="2899657"/>
            <a:ext cx="827975" cy="827975"/>
          </a:xfrm>
          <a:prstGeom prst="rect">
            <a:avLst/>
          </a:prstGeom>
        </p:spPr>
      </p:pic>
      <p:pic>
        <p:nvPicPr>
          <p:cNvPr id="29" name="Afbeelding 28" descr="Lijnpijl: curve rechtsom">
            <a:extLst>
              <a:ext uri="{FF2B5EF4-FFF2-40B4-BE49-F238E27FC236}">
                <a16:creationId xmlns:a16="http://schemas.microsoft.com/office/drawing/2014/main" id="{51B6F682-95FA-419C-8841-9F3EFA49670B}"/>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18853677">
            <a:off x="4784958" y="5170058"/>
            <a:ext cx="827975" cy="827975"/>
          </a:xfrm>
          <a:prstGeom prst="rect">
            <a:avLst/>
          </a:prstGeom>
        </p:spPr>
      </p:pic>
      <p:pic>
        <p:nvPicPr>
          <p:cNvPr id="30" name="Afbeelding 29" descr="Lijnpijl: curve rechtsom">
            <a:extLst>
              <a:ext uri="{FF2B5EF4-FFF2-40B4-BE49-F238E27FC236}">
                <a16:creationId xmlns:a16="http://schemas.microsoft.com/office/drawing/2014/main" id="{06C3F366-CB42-4B24-BFFF-7F50B7DECAE9}"/>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8252453">
            <a:off x="5009732" y="4686803"/>
            <a:ext cx="827975" cy="827975"/>
          </a:xfrm>
          <a:prstGeom prst="rect">
            <a:avLst/>
          </a:prstGeom>
        </p:spPr>
      </p:pic>
      <p:pic>
        <p:nvPicPr>
          <p:cNvPr id="31" name="Afbeelding 30">
            <a:extLst>
              <a:ext uri="{FF2B5EF4-FFF2-40B4-BE49-F238E27FC236}">
                <a16:creationId xmlns:a16="http://schemas.microsoft.com/office/drawing/2014/main" id="{3E1CF25F-64DE-4FDF-8ACE-C0A82BC95E41}"/>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369102" y="3851944"/>
            <a:ext cx="2273216" cy="1386880"/>
          </a:xfrm>
          <a:prstGeom prst="rect">
            <a:avLst/>
          </a:prstGeom>
        </p:spPr>
      </p:pic>
      <p:pic>
        <p:nvPicPr>
          <p:cNvPr id="32" name="Afbeelding 6">
            <a:extLst>
              <a:ext uri="{FF2B5EF4-FFF2-40B4-BE49-F238E27FC236}">
                <a16:creationId xmlns:a16="http://schemas.microsoft.com/office/drawing/2014/main" id="{4B42EC1C-7B16-400C-A210-73EE5AD6AD33}"/>
              </a:ext>
            </a:extLst>
          </p:cNvPr>
          <p:cNvPicPr>
            <a:picLocks noChangeAspect="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10138" y="5874186"/>
            <a:ext cx="714261" cy="720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45124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hoek 12">
            <a:extLst>
              <a:ext uri="{FF2B5EF4-FFF2-40B4-BE49-F238E27FC236}">
                <a16:creationId xmlns:a16="http://schemas.microsoft.com/office/drawing/2014/main" id="{CECEAB52-2BFE-4DB7-83D8-2B3EABF14D7F}"/>
              </a:ext>
            </a:extLst>
          </p:cNvPr>
          <p:cNvSpPr/>
          <p:nvPr/>
        </p:nvSpPr>
        <p:spPr>
          <a:xfrm>
            <a:off x="0" y="1598972"/>
            <a:ext cx="12192000" cy="4453958"/>
          </a:xfrm>
          <a:prstGeom prst="rect">
            <a:avLst/>
          </a:prstGeom>
          <a:solidFill>
            <a:srgbClr val="FFC00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36" name="think-cell Slide" r:id="rId5" imgW="353" imgH="353" progId="TCLayout.ActiveDocument.1">
                  <p:embed/>
                </p:oleObj>
              </mc:Choice>
              <mc:Fallback>
                <p:oleObj name="think-cell Slide" r:id="rId5" imgW="353" imgH="353"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extBox 14"/>
          <p:cNvSpPr txBox="1"/>
          <p:nvPr/>
        </p:nvSpPr>
        <p:spPr>
          <a:xfrm>
            <a:off x="6758789" y="670601"/>
            <a:ext cx="6233070" cy="646331"/>
          </a:xfrm>
          <a:prstGeom prst="rect">
            <a:avLst/>
          </a:prstGeom>
          <a:noFill/>
        </p:spPr>
        <p:txBody>
          <a:bodyPr wrap="square" rtlCol="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tab pos="1971675" algn="l"/>
              </a:tabLst>
              <a:defRPr/>
            </a:pPr>
            <a:r>
              <a:rPr kumimoji="0" lang="nl-BE" sz="4000" b="0" i="0" u="none" strike="noStrike" kern="1200" cap="none" spc="0" normalizeH="0" baseline="0" noProof="0" dirty="0">
                <a:ln>
                  <a:noFill/>
                </a:ln>
                <a:solidFill>
                  <a:srgbClr val="FFC000"/>
                </a:solidFill>
                <a:effectLst/>
                <a:uLnTx/>
                <a:uFillTx/>
                <a:latin typeface="Amaranth" panose="02000503000000020004" pitchFamily="50" charset="0"/>
                <a:ea typeface="+mn-ea"/>
                <a:cs typeface="Arial" panose="020B0604020202020204" pitchFamily="34" charset="0"/>
              </a:rPr>
              <a:t>Leerkrachtassistent</a:t>
            </a:r>
          </a:p>
        </p:txBody>
      </p:sp>
      <p:sp>
        <p:nvSpPr>
          <p:cNvPr id="33" name="Rechthoek 12">
            <a:extLst>
              <a:ext uri="{FF2B5EF4-FFF2-40B4-BE49-F238E27FC236}">
                <a16:creationId xmlns:a16="http://schemas.microsoft.com/office/drawing/2014/main" id="{316ACA97-44B8-42BF-BB2A-D44205C8AD70}"/>
              </a:ext>
            </a:extLst>
          </p:cNvPr>
          <p:cNvSpPr/>
          <p:nvPr/>
        </p:nvSpPr>
        <p:spPr>
          <a:xfrm>
            <a:off x="6881475" y="1544652"/>
            <a:ext cx="5555226" cy="595035"/>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22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342900" marR="0" lvl="0" indent="-342900" algn="l" defTabSz="914400" rtl="0" eaLnBrk="1" fontAlgn="auto" latinLnBrk="0" hangingPunct="1">
              <a:lnSpc>
                <a:spcPts val="2000"/>
              </a:lnSpc>
              <a:spcBef>
                <a:spcPts val="0"/>
              </a:spcBef>
              <a:spcAft>
                <a:spcPts val="600"/>
              </a:spcAft>
              <a:buClrTx/>
              <a:buSzTx/>
              <a:buFont typeface="Arial" panose="020B0604020202020204" pitchFamily="34" charset="0"/>
              <a:buChar char="•"/>
              <a:tabLst/>
              <a:defRPr/>
            </a:pPr>
            <a:endParaRPr kumimoji="0" lang="nl-BE" sz="22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20" name="TextBox 9">
            <a:extLst>
              <a:ext uri="{FF2B5EF4-FFF2-40B4-BE49-F238E27FC236}">
                <a16:creationId xmlns:a16="http://schemas.microsoft.com/office/drawing/2014/main" id="{C7AA8425-6DE2-48BD-9D9B-550BF08EB454}"/>
              </a:ext>
            </a:extLst>
          </p:cNvPr>
          <p:cNvSpPr txBox="1">
            <a:spLocks noChangeArrowheads="1"/>
          </p:cNvSpPr>
          <p:nvPr/>
        </p:nvSpPr>
        <p:spPr bwMode="auto">
          <a:xfrm>
            <a:off x="414395" y="682432"/>
            <a:ext cx="1429916" cy="369332"/>
          </a:xfrm>
          <a:prstGeom prst="rect">
            <a:avLst/>
          </a:prstGeom>
          <a:noFill/>
          <a:ln w="9525">
            <a:noFill/>
            <a:miter lim="800000"/>
            <a:headEnd/>
            <a:tailEnd/>
          </a:ln>
        </p:spPr>
        <p:txBody>
          <a:bodyPr wrap="square" lIns="0">
            <a:spAutoFit/>
          </a:bodyPr>
          <a:lstStyle/>
          <a:p>
            <a:pPr marL="3174" marR="0" lvl="0" indent="0" algn="l" defTabSz="914400" rtl="0" eaLnBrk="1" fontAlgn="auto" latinLnBrk="0" hangingPunct="1">
              <a:lnSpc>
                <a:spcPct val="90000"/>
              </a:lnSpc>
              <a:spcBef>
                <a:spcPts val="1200"/>
              </a:spcBef>
              <a:spcAft>
                <a:spcPts val="0"/>
              </a:spcAft>
              <a:buClr>
                <a:srgbClr val="5C5C5C"/>
              </a:buClr>
              <a:buSzPct val="80000"/>
              <a:buFontTx/>
              <a:buNone/>
              <a:tabLst/>
              <a:defRPr/>
            </a:pPr>
            <a:r>
              <a:rPr kumimoji="0" lang="nl-BE" sz="2000" b="1" i="0" u="none" strike="noStrike" kern="1200" cap="none" spc="0" normalizeH="0" baseline="0" noProof="0" dirty="0">
                <a:ln>
                  <a:noFill/>
                </a:ln>
                <a:solidFill>
                  <a:prstClr val="white"/>
                </a:solidFill>
                <a:effectLst/>
                <a:uLnTx/>
                <a:uFillTx/>
                <a:latin typeface="Amaranth" panose="02000503000000020004" pitchFamily="50" charset="0"/>
                <a:ea typeface="+mn-ea"/>
                <a:cs typeface="Arial" panose="020B0604020202020204" pitchFamily="34" charset="0"/>
              </a:rPr>
              <a:t>Software</a:t>
            </a:r>
          </a:p>
        </p:txBody>
      </p:sp>
      <p:sp>
        <p:nvSpPr>
          <p:cNvPr id="9" name="Rechthoek 12">
            <a:extLst>
              <a:ext uri="{FF2B5EF4-FFF2-40B4-BE49-F238E27FC236}">
                <a16:creationId xmlns:a16="http://schemas.microsoft.com/office/drawing/2014/main" id="{73D93AD0-8570-4B78-80D5-7D30FDF361D5}"/>
              </a:ext>
            </a:extLst>
          </p:cNvPr>
          <p:cNvSpPr/>
          <p:nvPr/>
        </p:nvSpPr>
        <p:spPr>
          <a:xfrm>
            <a:off x="7875885" y="1817473"/>
            <a:ext cx="4560816" cy="4257576"/>
          </a:xfrm>
          <a:prstGeom prst="rect">
            <a:avLst/>
          </a:prstGeom>
        </p:spPr>
        <p:txBody>
          <a:bodyPr wrap="square" lIns="0" tIns="0" rIns="0" bIns="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2600" b="0" i="0" u="none" strike="noStrike" kern="1200" cap="none" spc="0" normalizeH="0" baseline="0" noProof="0" dirty="0">
                <a:ln>
                  <a:noFill/>
                </a:ln>
                <a:solidFill>
                  <a:schemeClr val="bg1"/>
                </a:solidFill>
                <a:effectLst/>
                <a:uLnTx/>
                <a:uFillTx/>
                <a:latin typeface="Calibri" panose="020F0502020204030204"/>
                <a:ea typeface="+mn-ea"/>
                <a:cs typeface="+mn-cs"/>
              </a:rPr>
              <a:t>Animatiefilmpje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2600" dirty="0" err="1">
                <a:solidFill>
                  <a:schemeClr val="bg1"/>
                </a:solidFill>
                <a:latin typeface="Calibri" panose="020F0502020204030204"/>
              </a:rPr>
              <a:t>Preteaching</a:t>
            </a:r>
            <a:r>
              <a:rPr lang="nl-NL" sz="2600" dirty="0">
                <a:solidFill>
                  <a:schemeClr val="bg1"/>
                </a:solidFill>
                <a:latin typeface="Calibri" panose="020F0502020204030204"/>
              </a:rPr>
              <a:t>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2600" dirty="0">
                <a:solidFill>
                  <a:schemeClr val="bg1"/>
                </a:solidFill>
                <a:latin typeface="Calibri" panose="020F0502020204030204"/>
              </a:rPr>
              <a:t>Geanimeerde ankerverhale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2600" dirty="0">
                <a:solidFill>
                  <a:schemeClr val="bg1"/>
                </a:solidFill>
                <a:latin typeface="Calibri" panose="020F0502020204030204"/>
              </a:rPr>
              <a:t>Letterfilmpjes bij elke letter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2600" dirty="0">
                <a:solidFill>
                  <a:schemeClr val="bg1"/>
                </a:solidFill>
                <a:latin typeface="Calibri" panose="020F0502020204030204"/>
              </a:rPr>
              <a:t>Woordenschathulp</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2600" dirty="0">
                <a:solidFill>
                  <a:schemeClr val="bg1"/>
                </a:solidFill>
                <a:latin typeface="Calibri" panose="020F0502020204030204"/>
              </a:rPr>
              <a:t>Wie – Wat – Waar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2600" dirty="0">
                <a:solidFill>
                  <a:schemeClr val="bg1"/>
                </a:solidFill>
                <a:latin typeface="Calibri" panose="020F0502020204030204"/>
              </a:rPr>
              <a:t>Informatieve platen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2600" dirty="0">
                <a:solidFill>
                  <a:schemeClr val="bg1"/>
                </a:solidFill>
                <a:latin typeface="Calibri" panose="020F0502020204030204"/>
              </a:rPr>
              <a:t>Illustraties voorleesboek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2600" dirty="0">
                <a:solidFill>
                  <a:schemeClr val="bg1"/>
                </a:solidFill>
                <a:latin typeface="Calibri" panose="020F0502020204030204"/>
              </a:rPr>
              <a:t>Routekaarten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2600" dirty="0">
                <a:solidFill>
                  <a:schemeClr val="bg1"/>
                </a:solidFill>
                <a:latin typeface="Calibri" panose="020F0502020204030204"/>
              </a:rPr>
              <a:t>Kopieerbladen </a:t>
            </a:r>
          </a:p>
          <a:p>
            <a:pPr marL="342900" marR="0" lvl="0" indent="-342900" algn="l" defTabSz="914400" rtl="0" eaLnBrk="1" fontAlgn="auto" latinLnBrk="0" hangingPunct="1">
              <a:lnSpc>
                <a:spcPts val="2000"/>
              </a:lnSpc>
              <a:spcBef>
                <a:spcPts val="0"/>
              </a:spcBef>
              <a:spcAft>
                <a:spcPts val="600"/>
              </a:spcAft>
              <a:buClrTx/>
              <a:buSzTx/>
              <a:buFont typeface="Arial" panose="020B0604020202020204" pitchFamily="34" charset="0"/>
              <a:buChar char="•"/>
              <a:tabLst/>
              <a:defRPr/>
            </a:pPr>
            <a:endParaRPr kumimoji="0" lang="nl-BE" sz="2200" b="0" i="0" u="none" strike="noStrike" kern="1200" cap="none" spc="0" normalizeH="0" baseline="0" noProof="0" dirty="0">
              <a:ln>
                <a:noFill/>
              </a:ln>
              <a:solidFill>
                <a:schemeClr val="bg1"/>
              </a:solidFill>
              <a:effectLst/>
              <a:uLnTx/>
              <a:uFillTx/>
              <a:latin typeface="Calibri" panose="020F0502020204030204"/>
              <a:ea typeface="+mn-ea"/>
              <a:cs typeface="Arial" panose="020B0604020202020204" pitchFamily="34" charset="0"/>
            </a:endParaRPr>
          </a:p>
        </p:txBody>
      </p:sp>
      <p:sp>
        <p:nvSpPr>
          <p:cNvPr id="10" name="Freeform 41">
            <a:extLst>
              <a:ext uri="{FF2B5EF4-FFF2-40B4-BE49-F238E27FC236}">
                <a16:creationId xmlns:a16="http://schemas.microsoft.com/office/drawing/2014/main" id="{19C4BFF1-338F-4238-B984-12D30DA19C04}"/>
              </a:ext>
            </a:extLst>
          </p:cNvPr>
          <p:cNvSpPr/>
          <p:nvPr/>
        </p:nvSpPr>
        <p:spPr>
          <a:xfrm rot="845560">
            <a:off x="-82083" y="352836"/>
            <a:ext cx="2164079" cy="1020274"/>
          </a:xfrm>
          <a:custGeom>
            <a:avLst/>
            <a:gdLst>
              <a:gd name="connsiteX0" fmla="*/ 45720 w 1267097"/>
              <a:gd name="connsiteY0" fmla="*/ 378823 h 378823"/>
              <a:gd name="connsiteX1" fmla="*/ 1267097 w 1267097"/>
              <a:gd name="connsiteY1" fmla="*/ 182880 h 378823"/>
              <a:gd name="connsiteX2" fmla="*/ 1267097 w 1267097"/>
              <a:gd name="connsiteY2" fmla="*/ 0 h 378823"/>
              <a:gd name="connsiteX3" fmla="*/ 0 w 1267097"/>
              <a:gd name="connsiteY3" fmla="*/ 189412 h 378823"/>
              <a:gd name="connsiteX4" fmla="*/ 45720 w 1267097"/>
              <a:gd name="connsiteY4" fmla="*/ 378823 h 378823"/>
              <a:gd name="connsiteX0" fmla="*/ 71845 w 1293222"/>
              <a:gd name="connsiteY0" fmla="*/ 378823 h 378823"/>
              <a:gd name="connsiteX1" fmla="*/ 1293222 w 1293222"/>
              <a:gd name="connsiteY1" fmla="*/ 182880 h 378823"/>
              <a:gd name="connsiteX2" fmla="*/ 1293222 w 1293222"/>
              <a:gd name="connsiteY2" fmla="*/ 0 h 378823"/>
              <a:gd name="connsiteX3" fmla="*/ 0 w 1293222"/>
              <a:gd name="connsiteY3" fmla="*/ 130629 h 378823"/>
              <a:gd name="connsiteX4" fmla="*/ 71845 w 1293222"/>
              <a:gd name="connsiteY4" fmla="*/ 378823 h 378823"/>
              <a:gd name="connsiteX0" fmla="*/ 65313 w 1293222"/>
              <a:gd name="connsiteY0" fmla="*/ 398417 h 398417"/>
              <a:gd name="connsiteX1" fmla="*/ 1293222 w 1293222"/>
              <a:gd name="connsiteY1" fmla="*/ 182880 h 398417"/>
              <a:gd name="connsiteX2" fmla="*/ 1293222 w 1293222"/>
              <a:gd name="connsiteY2" fmla="*/ 0 h 398417"/>
              <a:gd name="connsiteX3" fmla="*/ 0 w 1293222"/>
              <a:gd name="connsiteY3" fmla="*/ 130629 h 398417"/>
              <a:gd name="connsiteX4" fmla="*/ 65313 w 1293222"/>
              <a:gd name="connsiteY4" fmla="*/ 398417 h 398417"/>
              <a:gd name="connsiteX0" fmla="*/ 104663 w 1332572"/>
              <a:gd name="connsiteY0" fmla="*/ 488407 h 488407"/>
              <a:gd name="connsiteX1" fmla="*/ 1332572 w 1332572"/>
              <a:gd name="connsiteY1" fmla="*/ 272870 h 488407"/>
              <a:gd name="connsiteX2" fmla="*/ 1332572 w 1332572"/>
              <a:gd name="connsiteY2" fmla="*/ 89990 h 488407"/>
              <a:gd name="connsiteX3" fmla="*/ 0 w 1332572"/>
              <a:gd name="connsiteY3" fmla="*/ 0 h 488407"/>
              <a:gd name="connsiteX4" fmla="*/ 104663 w 1332572"/>
              <a:gd name="connsiteY4" fmla="*/ 488407 h 488407"/>
              <a:gd name="connsiteX0" fmla="*/ 58754 w 1286663"/>
              <a:gd name="connsiteY0" fmla="*/ 488407 h 488407"/>
              <a:gd name="connsiteX1" fmla="*/ 1286663 w 1286663"/>
              <a:gd name="connsiteY1" fmla="*/ 272870 h 488407"/>
              <a:gd name="connsiteX2" fmla="*/ 1286663 w 1286663"/>
              <a:gd name="connsiteY2" fmla="*/ 89990 h 488407"/>
              <a:gd name="connsiteX3" fmla="*/ 0 w 1286663"/>
              <a:gd name="connsiteY3" fmla="*/ 0 h 488407"/>
              <a:gd name="connsiteX4" fmla="*/ 58754 w 1286663"/>
              <a:gd name="connsiteY4" fmla="*/ 488407 h 488407"/>
              <a:gd name="connsiteX0" fmla="*/ 58754 w 1293221"/>
              <a:gd name="connsiteY0" fmla="*/ 574912 h 574912"/>
              <a:gd name="connsiteX1" fmla="*/ 1286663 w 1293221"/>
              <a:gd name="connsiteY1" fmla="*/ 359375 h 574912"/>
              <a:gd name="connsiteX2" fmla="*/ 1293221 w 1293221"/>
              <a:gd name="connsiteY2" fmla="*/ 0 h 574912"/>
              <a:gd name="connsiteX3" fmla="*/ 0 w 1293221"/>
              <a:gd name="connsiteY3" fmla="*/ 86505 h 574912"/>
              <a:gd name="connsiteX4" fmla="*/ 58754 w 1293221"/>
              <a:gd name="connsiteY4" fmla="*/ 574912 h 574912"/>
              <a:gd name="connsiteX0" fmla="*/ 58754 w 1470298"/>
              <a:gd name="connsiteY0" fmla="*/ 574912 h 574912"/>
              <a:gd name="connsiteX1" fmla="*/ 1470298 w 1470298"/>
              <a:gd name="connsiteY1" fmla="*/ 561083 h 574912"/>
              <a:gd name="connsiteX2" fmla="*/ 1293221 w 1470298"/>
              <a:gd name="connsiteY2" fmla="*/ 0 h 574912"/>
              <a:gd name="connsiteX3" fmla="*/ 0 w 1470298"/>
              <a:gd name="connsiteY3" fmla="*/ 86505 h 574912"/>
              <a:gd name="connsiteX4" fmla="*/ 58754 w 1470298"/>
              <a:gd name="connsiteY4" fmla="*/ 574912 h 574912"/>
              <a:gd name="connsiteX0" fmla="*/ 65313 w 1470298"/>
              <a:gd name="connsiteY0" fmla="*/ 795531 h 795531"/>
              <a:gd name="connsiteX1" fmla="*/ 1470298 w 1470298"/>
              <a:gd name="connsiteY1" fmla="*/ 561083 h 795531"/>
              <a:gd name="connsiteX2" fmla="*/ 1293221 w 1470298"/>
              <a:gd name="connsiteY2" fmla="*/ 0 h 795531"/>
              <a:gd name="connsiteX3" fmla="*/ 0 w 1470298"/>
              <a:gd name="connsiteY3" fmla="*/ 86505 h 795531"/>
              <a:gd name="connsiteX4" fmla="*/ 65313 w 1470298"/>
              <a:gd name="connsiteY4" fmla="*/ 795531 h 795531"/>
              <a:gd name="connsiteX0" fmla="*/ 65313 w 1844126"/>
              <a:gd name="connsiteY0" fmla="*/ 795531 h 795531"/>
              <a:gd name="connsiteX1" fmla="*/ 1844126 w 1844126"/>
              <a:gd name="connsiteY1" fmla="*/ 504352 h 795531"/>
              <a:gd name="connsiteX2" fmla="*/ 1293221 w 1844126"/>
              <a:gd name="connsiteY2" fmla="*/ 0 h 795531"/>
              <a:gd name="connsiteX3" fmla="*/ 0 w 1844126"/>
              <a:gd name="connsiteY3" fmla="*/ 86505 h 795531"/>
              <a:gd name="connsiteX4" fmla="*/ 65313 w 1844126"/>
              <a:gd name="connsiteY4" fmla="*/ 795531 h 795531"/>
              <a:gd name="connsiteX0" fmla="*/ 65313 w 1844126"/>
              <a:gd name="connsiteY0" fmla="*/ 845958 h 845958"/>
              <a:gd name="connsiteX1" fmla="*/ 1844126 w 1844126"/>
              <a:gd name="connsiteY1" fmla="*/ 554779 h 845958"/>
              <a:gd name="connsiteX2" fmla="*/ 1621141 w 1844126"/>
              <a:gd name="connsiteY2" fmla="*/ 0 h 845958"/>
              <a:gd name="connsiteX3" fmla="*/ 0 w 1844126"/>
              <a:gd name="connsiteY3" fmla="*/ 136932 h 845958"/>
              <a:gd name="connsiteX4" fmla="*/ 65313 w 1844126"/>
              <a:gd name="connsiteY4" fmla="*/ 845958 h 845958"/>
              <a:gd name="connsiteX0" fmla="*/ 65313 w 1844126"/>
              <a:gd name="connsiteY0" fmla="*/ 864868 h 864868"/>
              <a:gd name="connsiteX1" fmla="*/ 1844126 w 1844126"/>
              <a:gd name="connsiteY1" fmla="*/ 573689 h 864868"/>
              <a:gd name="connsiteX2" fmla="*/ 1621141 w 1844126"/>
              <a:gd name="connsiteY2" fmla="*/ 0 h 864868"/>
              <a:gd name="connsiteX3" fmla="*/ 0 w 1844126"/>
              <a:gd name="connsiteY3" fmla="*/ 155842 h 864868"/>
              <a:gd name="connsiteX4" fmla="*/ 65313 w 1844126"/>
              <a:gd name="connsiteY4" fmla="*/ 864868 h 864868"/>
              <a:gd name="connsiteX0" fmla="*/ 65313 w 1686724"/>
              <a:gd name="connsiteY0" fmla="*/ 864868 h 864868"/>
              <a:gd name="connsiteX1" fmla="*/ 1686724 w 1686724"/>
              <a:gd name="connsiteY1" fmla="*/ 561082 h 864868"/>
              <a:gd name="connsiteX2" fmla="*/ 1621141 w 1686724"/>
              <a:gd name="connsiteY2" fmla="*/ 0 h 864868"/>
              <a:gd name="connsiteX3" fmla="*/ 0 w 1686724"/>
              <a:gd name="connsiteY3" fmla="*/ 155842 h 864868"/>
              <a:gd name="connsiteX4" fmla="*/ 65313 w 1686724"/>
              <a:gd name="connsiteY4" fmla="*/ 864868 h 864868"/>
              <a:gd name="connsiteX0" fmla="*/ 39079 w 1660490"/>
              <a:gd name="connsiteY0" fmla="*/ 864868 h 864868"/>
              <a:gd name="connsiteX1" fmla="*/ 1660490 w 1660490"/>
              <a:gd name="connsiteY1" fmla="*/ 561082 h 864868"/>
              <a:gd name="connsiteX2" fmla="*/ 1594907 w 1660490"/>
              <a:gd name="connsiteY2" fmla="*/ 0 h 864868"/>
              <a:gd name="connsiteX3" fmla="*/ 0 w 1660490"/>
              <a:gd name="connsiteY3" fmla="*/ 351248 h 864868"/>
              <a:gd name="connsiteX4" fmla="*/ 39079 w 1660490"/>
              <a:gd name="connsiteY4" fmla="*/ 864868 h 864868"/>
              <a:gd name="connsiteX0" fmla="*/ 39079 w 1857243"/>
              <a:gd name="connsiteY0" fmla="*/ 719889 h 719889"/>
              <a:gd name="connsiteX1" fmla="*/ 1660490 w 1857243"/>
              <a:gd name="connsiteY1" fmla="*/ 416103 h 719889"/>
              <a:gd name="connsiteX2" fmla="*/ 1857243 w 1857243"/>
              <a:gd name="connsiteY2" fmla="*/ 0 h 719889"/>
              <a:gd name="connsiteX3" fmla="*/ 0 w 1857243"/>
              <a:gd name="connsiteY3" fmla="*/ 206269 h 719889"/>
              <a:gd name="connsiteX4" fmla="*/ 39079 w 1857243"/>
              <a:gd name="connsiteY4" fmla="*/ 719889 h 719889"/>
              <a:gd name="connsiteX0" fmla="*/ 39079 w 1909709"/>
              <a:gd name="connsiteY0" fmla="*/ 719889 h 719889"/>
              <a:gd name="connsiteX1" fmla="*/ 1909709 w 1909709"/>
              <a:gd name="connsiteY1" fmla="*/ 208090 h 719889"/>
              <a:gd name="connsiteX2" fmla="*/ 1857243 w 1909709"/>
              <a:gd name="connsiteY2" fmla="*/ 0 h 719889"/>
              <a:gd name="connsiteX3" fmla="*/ 0 w 1909709"/>
              <a:gd name="connsiteY3" fmla="*/ 206269 h 719889"/>
              <a:gd name="connsiteX4" fmla="*/ 39079 w 1909709"/>
              <a:gd name="connsiteY4" fmla="*/ 719889 h 719889"/>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206269 h 511876"/>
              <a:gd name="connsiteX4" fmla="*/ 39079 w 1909709"/>
              <a:gd name="connsiteY4" fmla="*/ 511876 h 511876"/>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121173 h 511876"/>
              <a:gd name="connsiteX4" fmla="*/ 39079 w 1909709"/>
              <a:gd name="connsiteY4" fmla="*/ 511876 h 511876"/>
              <a:gd name="connsiteX0" fmla="*/ 39079 w 1857243"/>
              <a:gd name="connsiteY0" fmla="*/ 511876 h 511876"/>
              <a:gd name="connsiteX1" fmla="*/ 1748372 w 1857243"/>
              <a:gd name="connsiteY1" fmla="*/ 309201 h 511876"/>
              <a:gd name="connsiteX2" fmla="*/ 1857243 w 1857243"/>
              <a:gd name="connsiteY2" fmla="*/ 0 h 511876"/>
              <a:gd name="connsiteX3" fmla="*/ 0 w 1857243"/>
              <a:gd name="connsiteY3" fmla="*/ 121173 h 511876"/>
              <a:gd name="connsiteX4" fmla="*/ 39079 w 1857243"/>
              <a:gd name="connsiteY4" fmla="*/ 511876 h 511876"/>
              <a:gd name="connsiteX0" fmla="*/ 39079 w 1748372"/>
              <a:gd name="connsiteY0" fmla="*/ 499237 h 499237"/>
              <a:gd name="connsiteX1" fmla="*/ 1748372 w 1748372"/>
              <a:gd name="connsiteY1" fmla="*/ 296562 h 499237"/>
              <a:gd name="connsiteX2" fmla="*/ 1723965 w 1748372"/>
              <a:gd name="connsiteY2" fmla="*/ 0 h 499237"/>
              <a:gd name="connsiteX3" fmla="*/ 0 w 1748372"/>
              <a:gd name="connsiteY3" fmla="*/ 108534 h 499237"/>
              <a:gd name="connsiteX4" fmla="*/ 39079 w 1748372"/>
              <a:gd name="connsiteY4" fmla="*/ 499237 h 499237"/>
              <a:gd name="connsiteX0" fmla="*/ 95196 w 1748372"/>
              <a:gd name="connsiteY0" fmla="*/ 451841 h 451841"/>
              <a:gd name="connsiteX1" fmla="*/ 1748372 w 1748372"/>
              <a:gd name="connsiteY1" fmla="*/ 296562 h 451841"/>
              <a:gd name="connsiteX2" fmla="*/ 1723965 w 1748372"/>
              <a:gd name="connsiteY2" fmla="*/ 0 h 451841"/>
              <a:gd name="connsiteX3" fmla="*/ 0 w 1748372"/>
              <a:gd name="connsiteY3" fmla="*/ 108534 h 451841"/>
              <a:gd name="connsiteX4" fmla="*/ 95196 w 1748372"/>
              <a:gd name="connsiteY4" fmla="*/ 451841 h 451841"/>
              <a:gd name="connsiteX0" fmla="*/ 95196 w 1723965"/>
              <a:gd name="connsiteY0" fmla="*/ 451841 h 451841"/>
              <a:gd name="connsiteX1" fmla="*/ 1713299 w 1723965"/>
              <a:gd name="connsiteY1" fmla="*/ 315520 h 451841"/>
              <a:gd name="connsiteX2" fmla="*/ 1723965 w 1723965"/>
              <a:gd name="connsiteY2" fmla="*/ 0 h 451841"/>
              <a:gd name="connsiteX3" fmla="*/ 0 w 1723965"/>
              <a:gd name="connsiteY3" fmla="*/ 108534 h 451841"/>
              <a:gd name="connsiteX4" fmla="*/ 95196 w 1723965"/>
              <a:gd name="connsiteY4" fmla="*/ 451841 h 451841"/>
              <a:gd name="connsiteX0" fmla="*/ 95196 w 1713299"/>
              <a:gd name="connsiteY0" fmla="*/ 455001 h 455001"/>
              <a:gd name="connsiteX1" fmla="*/ 1713299 w 1713299"/>
              <a:gd name="connsiteY1" fmla="*/ 318680 h 455001"/>
              <a:gd name="connsiteX2" fmla="*/ 1667848 w 1713299"/>
              <a:gd name="connsiteY2" fmla="*/ 0 h 455001"/>
              <a:gd name="connsiteX3" fmla="*/ 0 w 1713299"/>
              <a:gd name="connsiteY3" fmla="*/ 111694 h 455001"/>
              <a:gd name="connsiteX4" fmla="*/ 95196 w 1713299"/>
              <a:gd name="connsiteY4" fmla="*/ 455001 h 455001"/>
              <a:gd name="connsiteX0" fmla="*/ 67137 w 1685240"/>
              <a:gd name="connsiteY0" fmla="*/ 455001 h 455001"/>
              <a:gd name="connsiteX1" fmla="*/ 1685240 w 1685240"/>
              <a:gd name="connsiteY1" fmla="*/ 318680 h 455001"/>
              <a:gd name="connsiteX2" fmla="*/ 1639789 w 1685240"/>
              <a:gd name="connsiteY2" fmla="*/ 0 h 455001"/>
              <a:gd name="connsiteX3" fmla="*/ 0 w 1685240"/>
              <a:gd name="connsiteY3" fmla="*/ 130652 h 455001"/>
              <a:gd name="connsiteX4" fmla="*/ 67137 w 1685240"/>
              <a:gd name="connsiteY4" fmla="*/ 455001 h 455001"/>
              <a:gd name="connsiteX0" fmla="*/ 67137 w 1667473"/>
              <a:gd name="connsiteY0" fmla="*/ 455001 h 455001"/>
              <a:gd name="connsiteX1" fmla="*/ 1667473 w 1667473"/>
              <a:gd name="connsiteY1" fmla="*/ 242054 h 455001"/>
              <a:gd name="connsiteX2" fmla="*/ 1639789 w 1667473"/>
              <a:gd name="connsiteY2" fmla="*/ 0 h 455001"/>
              <a:gd name="connsiteX3" fmla="*/ 0 w 1667473"/>
              <a:gd name="connsiteY3" fmla="*/ 130652 h 455001"/>
              <a:gd name="connsiteX4" fmla="*/ 67137 w 1667473"/>
              <a:gd name="connsiteY4" fmla="*/ 455001 h 455001"/>
              <a:gd name="connsiteX0" fmla="*/ 100217 w 1700553"/>
              <a:gd name="connsiteY0" fmla="*/ 455001 h 455001"/>
              <a:gd name="connsiteX1" fmla="*/ 1700553 w 1700553"/>
              <a:gd name="connsiteY1" fmla="*/ 242054 h 455001"/>
              <a:gd name="connsiteX2" fmla="*/ 1672869 w 1700553"/>
              <a:gd name="connsiteY2" fmla="*/ 0 h 455001"/>
              <a:gd name="connsiteX3" fmla="*/ 0 w 1700553"/>
              <a:gd name="connsiteY3" fmla="*/ 205540 h 455001"/>
              <a:gd name="connsiteX4" fmla="*/ 100217 w 1700553"/>
              <a:gd name="connsiteY4" fmla="*/ 455001 h 455001"/>
              <a:gd name="connsiteX0" fmla="*/ 100217 w 1700553"/>
              <a:gd name="connsiteY0" fmla="*/ 366878 h 366878"/>
              <a:gd name="connsiteX1" fmla="*/ 1700553 w 1700553"/>
              <a:gd name="connsiteY1" fmla="*/ 153931 h 366878"/>
              <a:gd name="connsiteX2" fmla="*/ 1588975 w 1700553"/>
              <a:gd name="connsiteY2" fmla="*/ 0 h 366878"/>
              <a:gd name="connsiteX3" fmla="*/ 0 w 1700553"/>
              <a:gd name="connsiteY3" fmla="*/ 117417 h 366878"/>
              <a:gd name="connsiteX4" fmla="*/ 100217 w 1700553"/>
              <a:gd name="connsiteY4" fmla="*/ 366878 h 366878"/>
              <a:gd name="connsiteX0" fmla="*/ 115726 w 1700553"/>
              <a:gd name="connsiteY0" fmla="*/ 305211 h 305211"/>
              <a:gd name="connsiteX1" fmla="*/ 1700553 w 1700553"/>
              <a:gd name="connsiteY1" fmla="*/ 153931 h 305211"/>
              <a:gd name="connsiteX2" fmla="*/ 1588975 w 1700553"/>
              <a:gd name="connsiteY2" fmla="*/ 0 h 305211"/>
              <a:gd name="connsiteX3" fmla="*/ 0 w 1700553"/>
              <a:gd name="connsiteY3" fmla="*/ 117417 h 305211"/>
              <a:gd name="connsiteX4" fmla="*/ 115726 w 1700553"/>
              <a:gd name="connsiteY4" fmla="*/ 305211 h 305211"/>
              <a:gd name="connsiteX0" fmla="*/ 115726 w 1700553"/>
              <a:gd name="connsiteY0" fmla="*/ 321895 h 321895"/>
              <a:gd name="connsiteX1" fmla="*/ 1700553 w 1700553"/>
              <a:gd name="connsiteY1" fmla="*/ 170615 h 321895"/>
              <a:gd name="connsiteX2" fmla="*/ 1471607 w 1700553"/>
              <a:gd name="connsiteY2" fmla="*/ 0 h 321895"/>
              <a:gd name="connsiteX3" fmla="*/ 0 w 1700553"/>
              <a:gd name="connsiteY3" fmla="*/ 134101 h 321895"/>
              <a:gd name="connsiteX4" fmla="*/ 115726 w 1700553"/>
              <a:gd name="connsiteY4" fmla="*/ 321895 h 321895"/>
              <a:gd name="connsiteX0" fmla="*/ 115726 w 1581352"/>
              <a:gd name="connsiteY0" fmla="*/ 321895 h 321895"/>
              <a:gd name="connsiteX1" fmla="*/ 1581352 w 1581352"/>
              <a:gd name="connsiteY1" fmla="*/ 210307 h 321895"/>
              <a:gd name="connsiteX2" fmla="*/ 1471607 w 1581352"/>
              <a:gd name="connsiteY2" fmla="*/ 0 h 321895"/>
              <a:gd name="connsiteX3" fmla="*/ 0 w 1581352"/>
              <a:gd name="connsiteY3" fmla="*/ 134101 h 321895"/>
              <a:gd name="connsiteX4" fmla="*/ 115726 w 1581352"/>
              <a:gd name="connsiteY4" fmla="*/ 321895 h 321895"/>
              <a:gd name="connsiteX0" fmla="*/ 92298 w 1557924"/>
              <a:gd name="connsiteY0" fmla="*/ 321895 h 321895"/>
              <a:gd name="connsiteX1" fmla="*/ 1557924 w 1557924"/>
              <a:gd name="connsiteY1" fmla="*/ 210307 h 321895"/>
              <a:gd name="connsiteX2" fmla="*/ 1448179 w 1557924"/>
              <a:gd name="connsiteY2" fmla="*/ 0 h 321895"/>
              <a:gd name="connsiteX3" fmla="*/ 0 w 1557924"/>
              <a:gd name="connsiteY3" fmla="*/ 116473 h 321895"/>
              <a:gd name="connsiteX4" fmla="*/ 92298 w 1557924"/>
              <a:gd name="connsiteY4" fmla="*/ 321895 h 321895"/>
              <a:gd name="connsiteX0" fmla="*/ 152961 w 1557924"/>
              <a:gd name="connsiteY0" fmla="*/ 341247 h 341247"/>
              <a:gd name="connsiteX1" fmla="*/ 1557924 w 1557924"/>
              <a:gd name="connsiteY1" fmla="*/ 210307 h 341247"/>
              <a:gd name="connsiteX2" fmla="*/ 1448179 w 1557924"/>
              <a:gd name="connsiteY2" fmla="*/ 0 h 341247"/>
              <a:gd name="connsiteX3" fmla="*/ 0 w 1557924"/>
              <a:gd name="connsiteY3" fmla="*/ 116473 h 341247"/>
              <a:gd name="connsiteX4" fmla="*/ 152961 w 1557924"/>
              <a:gd name="connsiteY4" fmla="*/ 341247 h 341247"/>
              <a:gd name="connsiteX0" fmla="*/ 135357 w 1557924"/>
              <a:gd name="connsiteY0" fmla="*/ 339493 h 339493"/>
              <a:gd name="connsiteX1" fmla="*/ 1557924 w 1557924"/>
              <a:gd name="connsiteY1" fmla="*/ 210307 h 339493"/>
              <a:gd name="connsiteX2" fmla="*/ 1448179 w 1557924"/>
              <a:gd name="connsiteY2" fmla="*/ 0 h 339493"/>
              <a:gd name="connsiteX3" fmla="*/ 0 w 1557924"/>
              <a:gd name="connsiteY3" fmla="*/ 116473 h 339493"/>
              <a:gd name="connsiteX4" fmla="*/ 135357 w 1557924"/>
              <a:gd name="connsiteY4" fmla="*/ 339493 h 339493"/>
              <a:gd name="connsiteX0" fmla="*/ 109934 w 1532501"/>
              <a:gd name="connsiteY0" fmla="*/ 339493 h 339493"/>
              <a:gd name="connsiteX1" fmla="*/ 1532501 w 1532501"/>
              <a:gd name="connsiteY1" fmla="*/ 210307 h 339493"/>
              <a:gd name="connsiteX2" fmla="*/ 1422756 w 1532501"/>
              <a:gd name="connsiteY2" fmla="*/ 0 h 339493"/>
              <a:gd name="connsiteX3" fmla="*/ 0 w 1532501"/>
              <a:gd name="connsiteY3" fmla="*/ 117343 h 339493"/>
              <a:gd name="connsiteX4" fmla="*/ 109934 w 1532501"/>
              <a:gd name="connsiteY4" fmla="*/ 339493 h 339493"/>
              <a:gd name="connsiteX0" fmla="*/ 133525 w 1556092"/>
              <a:gd name="connsiteY0" fmla="*/ 339493 h 339493"/>
              <a:gd name="connsiteX1" fmla="*/ 1556092 w 1556092"/>
              <a:gd name="connsiteY1" fmla="*/ 210307 h 339493"/>
              <a:gd name="connsiteX2" fmla="*/ 1446347 w 1556092"/>
              <a:gd name="connsiteY2" fmla="*/ 0 h 339493"/>
              <a:gd name="connsiteX3" fmla="*/ 0 w 1556092"/>
              <a:gd name="connsiteY3" fmla="*/ 60098 h 339493"/>
              <a:gd name="connsiteX4" fmla="*/ 133525 w 1556092"/>
              <a:gd name="connsiteY4" fmla="*/ 339493 h 339493"/>
              <a:gd name="connsiteX0" fmla="*/ 133525 w 2343667"/>
              <a:gd name="connsiteY0" fmla="*/ 459688 h 459688"/>
              <a:gd name="connsiteX1" fmla="*/ 1556092 w 2343667"/>
              <a:gd name="connsiteY1" fmla="*/ 330502 h 459688"/>
              <a:gd name="connsiteX2" fmla="*/ 2343667 w 2343667"/>
              <a:gd name="connsiteY2" fmla="*/ 0 h 459688"/>
              <a:gd name="connsiteX3" fmla="*/ 0 w 2343667"/>
              <a:gd name="connsiteY3" fmla="*/ 180293 h 459688"/>
              <a:gd name="connsiteX4" fmla="*/ 133525 w 2343667"/>
              <a:gd name="connsiteY4" fmla="*/ 459688 h 459688"/>
              <a:gd name="connsiteX0" fmla="*/ 133525 w 2391079"/>
              <a:gd name="connsiteY0" fmla="*/ 459688 h 459688"/>
              <a:gd name="connsiteX1" fmla="*/ 2391079 w 2391079"/>
              <a:gd name="connsiteY1" fmla="*/ 322204 h 459688"/>
              <a:gd name="connsiteX2" fmla="*/ 2343667 w 2391079"/>
              <a:gd name="connsiteY2" fmla="*/ 0 h 459688"/>
              <a:gd name="connsiteX3" fmla="*/ 0 w 2391079"/>
              <a:gd name="connsiteY3" fmla="*/ 180293 h 459688"/>
              <a:gd name="connsiteX4" fmla="*/ 133525 w 2391079"/>
              <a:gd name="connsiteY4" fmla="*/ 459688 h 459688"/>
              <a:gd name="connsiteX0" fmla="*/ 159047 w 2391079"/>
              <a:gd name="connsiteY0" fmla="*/ 505482 h 505482"/>
              <a:gd name="connsiteX1" fmla="*/ 2391079 w 2391079"/>
              <a:gd name="connsiteY1" fmla="*/ 322204 h 505482"/>
              <a:gd name="connsiteX2" fmla="*/ 2343667 w 2391079"/>
              <a:gd name="connsiteY2" fmla="*/ 0 h 505482"/>
              <a:gd name="connsiteX3" fmla="*/ 0 w 2391079"/>
              <a:gd name="connsiteY3" fmla="*/ 180293 h 505482"/>
              <a:gd name="connsiteX4" fmla="*/ 159047 w 2391079"/>
              <a:gd name="connsiteY4" fmla="*/ 505482 h 505482"/>
              <a:gd name="connsiteX0" fmla="*/ 159047 w 2391079"/>
              <a:gd name="connsiteY0" fmla="*/ 518659 h 518659"/>
              <a:gd name="connsiteX1" fmla="*/ 2391079 w 2391079"/>
              <a:gd name="connsiteY1" fmla="*/ 335381 h 518659"/>
              <a:gd name="connsiteX2" fmla="*/ 2261507 w 2391079"/>
              <a:gd name="connsiteY2" fmla="*/ 0 h 518659"/>
              <a:gd name="connsiteX3" fmla="*/ 0 w 2391079"/>
              <a:gd name="connsiteY3" fmla="*/ 193470 h 518659"/>
              <a:gd name="connsiteX4" fmla="*/ 159047 w 2391079"/>
              <a:gd name="connsiteY4" fmla="*/ 518659 h 518659"/>
              <a:gd name="connsiteX0" fmla="*/ 159047 w 2513813"/>
              <a:gd name="connsiteY0" fmla="*/ 498511 h 498511"/>
              <a:gd name="connsiteX1" fmla="*/ 2391079 w 2513813"/>
              <a:gd name="connsiteY1" fmla="*/ 315233 h 498511"/>
              <a:gd name="connsiteX2" fmla="*/ 2513813 w 2513813"/>
              <a:gd name="connsiteY2" fmla="*/ 0 h 498511"/>
              <a:gd name="connsiteX3" fmla="*/ 0 w 2513813"/>
              <a:gd name="connsiteY3" fmla="*/ 173322 h 498511"/>
              <a:gd name="connsiteX4" fmla="*/ 159047 w 2513813"/>
              <a:gd name="connsiteY4" fmla="*/ 498511 h 498511"/>
              <a:gd name="connsiteX0" fmla="*/ 159047 w 2547383"/>
              <a:gd name="connsiteY0" fmla="*/ 498511 h 498511"/>
              <a:gd name="connsiteX1" fmla="*/ 2547383 w 2547383"/>
              <a:gd name="connsiteY1" fmla="*/ 252623 h 498511"/>
              <a:gd name="connsiteX2" fmla="*/ 2513813 w 2547383"/>
              <a:gd name="connsiteY2" fmla="*/ 0 h 498511"/>
              <a:gd name="connsiteX3" fmla="*/ 0 w 2547383"/>
              <a:gd name="connsiteY3" fmla="*/ 173322 h 498511"/>
              <a:gd name="connsiteX4" fmla="*/ 159047 w 2547383"/>
              <a:gd name="connsiteY4" fmla="*/ 498511 h 498511"/>
              <a:gd name="connsiteX0" fmla="*/ 164772 w 2553108"/>
              <a:gd name="connsiteY0" fmla="*/ 498511 h 498511"/>
              <a:gd name="connsiteX1" fmla="*/ 2553108 w 2553108"/>
              <a:gd name="connsiteY1" fmla="*/ 252623 h 498511"/>
              <a:gd name="connsiteX2" fmla="*/ 2519538 w 2553108"/>
              <a:gd name="connsiteY2" fmla="*/ 0 h 498511"/>
              <a:gd name="connsiteX3" fmla="*/ 0 w 2553108"/>
              <a:gd name="connsiteY3" fmla="*/ 237627 h 498511"/>
              <a:gd name="connsiteX4" fmla="*/ 164772 w 2553108"/>
              <a:gd name="connsiteY4" fmla="*/ 498511 h 498511"/>
              <a:gd name="connsiteX0" fmla="*/ 102113 w 2553108"/>
              <a:gd name="connsiteY0" fmla="*/ 460662 h 460662"/>
              <a:gd name="connsiteX1" fmla="*/ 2553108 w 2553108"/>
              <a:gd name="connsiteY1" fmla="*/ 252623 h 460662"/>
              <a:gd name="connsiteX2" fmla="*/ 2519538 w 2553108"/>
              <a:gd name="connsiteY2" fmla="*/ 0 h 460662"/>
              <a:gd name="connsiteX3" fmla="*/ 0 w 2553108"/>
              <a:gd name="connsiteY3" fmla="*/ 237627 h 460662"/>
              <a:gd name="connsiteX4" fmla="*/ 102113 w 2553108"/>
              <a:gd name="connsiteY4" fmla="*/ 460662 h 460662"/>
              <a:gd name="connsiteX0" fmla="*/ 102113 w 2553108"/>
              <a:gd name="connsiteY0" fmla="*/ 424537 h 424537"/>
              <a:gd name="connsiteX1" fmla="*/ 2553108 w 2553108"/>
              <a:gd name="connsiteY1" fmla="*/ 216498 h 424537"/>
              <a:gd name="connsiteX2" fmla="*/ 2498106 w 2553108"/>
              <a:gd name="connsiteY2" fmla="*/ 0 h 424537"/>
              <a:gd name="connsiteX3" fmla="*/ 0 w 2553108"/>
              <a:gd name="connsiteY3" fmla="*/ 201502 h 424537"/>
              <a:gd name="connsiteX4" fmla="*/ 102113 w 2553108"/>
              <a:gd name="connsiteY4" fmla="*/ 424537 h 424537"/>
              <a:gd name="connsiteX0" fmla="*/ 90333 w 2553108"/>
              <a:gd name="connsiteY0" fmla="*/ 403402 h 403402"/>
              <a:gd name="connsiteX1" fmla="*/ 2553108 w 2553108"/>
              <a:gd name="connsiteY1" fmla="*/ 216498 h 403402"/>
              <a:gd name="connsiteX2" fmla="*/ 2498106 w 2553108"/>
              <a:gd name="connsiteY2" fmla="*/ 0 h 403402"/>
              <a:gd name="connsiteX3" fmla="*/ 0 w 2553108"/>
              <a:gd name="connsiteY3" fmla="*/ 201502 h 403402"/>
              <a:gd name="connsiteX4" fmla="*/ 90333 w 2553108"/>
              <a:gd name="connsiteY4" fmla="*/ 403402 h 403402"/>
              <a:gd name="connsiteX0" fmla="*/ 60951 w 2523726"/>
              <a:gd name="connsiteY0" fmla="*/ 403402 h 403402"/>
              <a:gd name="connsiteX1" fmla="*/ 2523726 w 2523726"/>
              <a:gd name="connsiteY1" fmla="*/ 216498 h 403402"/>
              <a:gd name="connsiteX2" fmla="*/ 2468724 w 2523726"/>
              <a:gd name="connsiteY2" fmla="*/ 0 h 403402"/>
              <a:gd name="connsiteX3" fmla="*/ 0 w 2523726"/>
              <a:gd name="connsiteY3" fmla="*/ 224392 h 403402"/>
              <a:gd name="connsiteX4" fmla="*/ 60951 w 2523726"/>
              <a:gd name="connsiteY4" fmla="*/ 403402 h 40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3726" h="403402">
                <a:moveTo>
                  <a:pt x="60951" y="403402"/>
                </a:moveTo>
                <a:lnTo>
                  <a:pt x="2523726" y="216498"/>
                </a:lnTo>
                <a:lnTo>
                  <a:pt x="2468724" y="0"/>
                </a:lnTo>
                <a:lnTo>
                  <a:pt x="0" y="224392"/>
                </a:lnTo>
                <a:lnTo>
                  <a:pt x="60951" y="403402"/>
                </a:lnTo>
                <a:close/>
              </a:path>
            </a:pathLst>
          </a:custGeom>
          <a:solidFill>
            <a:schemeClr val="bg1"/>
          </a:solidFill>
          <a:ln>
            <a:noFill/>
          </a:ln>
          <a:effectLst>
            <a:outerShdw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solidFill>
                <a:schemeClr val="accent4"/>
              </a:solidFill>
            </a:endParaRPr>
          </a:p>
        </p:txBody>
      </p:sp>
      <p:sp>
        <p:nvSpPr>
          <p:cNvPr id="12" name="TextBox 9">
            <a:extLst>
              <a:ext uri="{FF2B5EF4-FFF2-40B4-BE49-F238E27FC236}">
                <a16:creationId xmlns:a16="http://schemas.microsoft.com/office/drawing/2014/main" id="{C3944AA2-7FD8-4EED-A32C-A9F6411C21EC}"/>
              </a:ext>
            </a:extLst>
          </p:cNvPr>
          <p:cNvSpPr txBox="1">
            <a:spLocks noChangeArrowheads="1"/>
          </p:cNvSpPr>
          <p:nvPr/>
        </p:nvSpPr>
        <p:spPr bwMode="auto">
          <a:xfrm>
            <a:off x="224576" y="678307"/>
            <a:ext cx="2485989" cy="369332"/>
          </a:xfrm>
          <a:prstGeom prst="rect">
            <a:avLst/>
          </a:prstGeom>
          <a:noFill/>
          <a:ln w="9525">
            <a:noFill/>
            <a:miter lim="800000"/>
            <a:headEnd/>
            <a:tailEnd/>
          </a:ln>
          <a:effectLst/>
        </p:spPr>
        <p:txBody>
          <a:bodyPr wrap="square" lIns="0">
            <a:spAutoFit/>
          </a:bodyPr>
          <a:lstStyle/>
          <a:p>
            <a:pPr marL="3174">
              <a:lnSpc>
                <a:spcPct val="90000"/>
              </a:lnSpc>
              <a:spcBef>
                <a:spcPts val="1200"/>
              </a:spcBef>
              <a:buClr>
                <a:srgbClr val="5C5C5C"/>
              </a:buClr>
              <a:buSzPct val="80000"/>
            </a:pPr>
            <a:r>
              <a:rPr lang="nl-BE" sz="2000" b="1" dirty="0">
                <a:solidFill>
                  <a:srgbClr val="FFC000"/>
                </a:solidFill>
                <a:latin typeface="Amaranth" panose="02000503000000020004" pitchFamily="50" charset="0"/>
                <a:cs typeface="Arial" panose="020B0604020202020204" pitchFamily="34" charset="0"/>
              </a:rPr>
              <a:t>Software</a:t>
            </a:r>
          </a:p>
        </p:txBody>
      </p:sp>
      <p:pic>
        <p:nvPicPr>
          <p:cNvPr id="14" name="Afbeelding 13">
            <a:extLst>
              <a:ext uri="{FF2B5EF4-FFF2-40B4-BE49-F238E27FC236}">
                <a16:creationId xmlns:a16="http://schemas.microsoft.com/office/drawing/2014/main" id="{55EF2168-7779-48D5-839D-D9CDEA2B2758}"/>
              </a:ext>
            </a:extLst>
          </p:cNvPr>
          <p:cNvPicPr>
            <a:picLocks noChangeAspect="1"/>
          </p:cNvPicPr>
          <p:nvPr/>
        </p:nvPicPr>
        <p:blipFill>
          <a:blip r:embed="rId7"/>
          <a:stretch>
            <a:fillRect/>
          </a:stretch>
        </p:blipFill>
        <p:spPr>
          <a:xfrm>
            <a:off x="414395" y="1903263"/>
            <a:ext cx="7072255" cy="3787227"/>
          </a:xfrm>
          <a:prstGeom prst="rect">
            <a:avLst/>
          </a:prstGeom>
        </p:spPr>
      </p:pic>
      <p:pic>
        <p:nvPicPr>
          <p:cNvPr id="17" name="Afbeelding 16">
            <a:extLst>
              <a:ext uri="{FF2B5EF4-FFF2-40B4-BE49-F238E27FC236}">
                <a16:creationId xmlns:a16="http://schemas.microsoft.com/office/drawing/2014/main" id="{CC74526C-91E5-4356-9F09-02B38EF18E16}"/>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1241707" y="6052930"/>
            <a:ext cx="661508" cy="556592"/>
          </a:xfrm>
          <a:prstGeom prst="rect">
            <a:avLst/>
          </a:prstGeom>
        </p:spPr>
      </p:pic>
    </p:spTree>
    <p:extLst>
      <p:ext uri="{BB962C8B-B14F-4D97-AF65-F5344CB8AC3E}">
        <p14:creationId xmlns:p14="http://schemas.microsoft.com/office/powerpoint/2010/main" val="27533806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26" name="think-cell Slide" r:id="rId5" imgW="353" imgH="353" progId="TCLayout.ActiveDocument.1">
                  <p:embed/>
                </p:oleObj>
              </mc:Choice>
              <mc:Fallback>
                <p:oleObj name="think-cell Slide" r:id="rId5" imgW="353" imgH="353"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2" name="Group 1"/>
          <p:cNvGrpSpPr/>
          <p:nvPr/>
        </p:nvGrpSpPr>
        <p:grpSpPr>
          <a:xfrm>
            <a:off x="5118538" y="3558"/>
            <a:ext cx="7873321" cy="6873765"/>
            <a:chOff x="5118538" y="-10510"/>
            <a:chExt cx="7873321" cy="6873765"/>
          </a:xfrm>
          <a:solidFill>
            <a:srgbClr val="FBBA00"/>
          </a:solidFill>
        </p:grpSpPr>
        <p:sp>
          <p:nvSpPr>
            <p:cNvPr id="11" name="Freeform: Shape 10"/>
            <p:cNvSpPr/>
            <p:nvPr/>
          </p:nvSpPr>
          <p:spPr>
            <a:xfrm flipH="1">
              <a:off x="5118538" y="-10510"/>
              <a:ext cx="7094481" cy="6873765"/>
            </a:xfrm>
            <a:custGeom>
              <a:avLst/>
              <a:gdLst>
                <a:gd name="connsiteX0" fmla="*/ 0 w 6768662"/>
                <a:gd name="connsiteY0" fmla="*/ 0 h 6873765"/>
                <a:gd name="connsiteX1" fmla="*/ 6001407 w 6768662"/>
                <a:gd name="connsiteY1" fmla="*/ 0 h 6873765"/>
                <a:gd name="connsiteX2" fmla="*/ 6768662 w 6768662"/>
                <a:gd name="connsiteY2" fmla="*/ 0 h 6873765"/>
                <a:gd name="connsiteX3" fmla="*/ 5570482 w 6768662"/>
                <a:gd name="connsiteY3" fmla="*/ 6873765 h 6873765"/>
                <a:gd name="connsiteX4" fmla="*/ 10510 w 6768662"/>
                <a:gd name="connsiteY4" fmla="*/ 6873765 h 6873765"/>
                <a:gd name="connsiteX5" fmla="*/ 10510 w 6768662"/>
                <a:gd name="connsiteY5" fmla="*/ 0 h 6873765"/>
                <a:gd name="connsiteX6" fmla="*/ 0 w 6768662"/>
                <a:gd name="connsiteY6" fmla="*/ 0 h 6873765"/>
                <a:gd name="connsiteX0" fmla="*/ 0 w 6768662"/>
                <a:gd name="connsiteY0" fmla="*/ 0 h 6873765"/>
                <a:gd name="connsiteX1" fmla="*/ 6001407 w 6768662"/>
                <a:gd name="connsiteY1" fmla="*/ 0 h 6873765"/>
                <a:gd name="connsiteX2" fmla="*/ 6768662 w 6768662"/>
                <a:gd name="connsiteY2" fmla="*/ 0 h 6873765"/>
                <a:gd name="connsiteX3" fmla="*/ 5202620 w 6768662"/>
                <a:gd name="connsiteY3" fmla="*/ 6863255 h 6873765"/>
                <a:gd name="connsiteX4" fmla="*/ 10510 w 6768662"/>
                <a:gd name="connsiteY4" fmla="*/ 6873765 h 6873765"/>
                <a:gd name="connsiteX5" fmla="*/ 10510 w 6768662"/>
                <a:gd name="connsiteY5" fmla="*/ 0 h 6873765"/>
                <a:gd name="connsiteX6" fmla="*/ 0 w 6768662"/>
                <a:gd name="connsiteY6" fmla="*/ 0 h 6873765"/>
                <a:gd name="connsiteX0" fmla="*/ 0 w 6768662"/>
                <a:gd name="connsiteY0" fmla="*/ 0 h 6873765"/>
                <a:gd name="connsiteX1" fmla="*/ 6001407 w 6768662"/>
                <a:gd name="connsiteY1" fmla="*/ 0 h 6873765"/>
                <a:gd name="connsiteX2" fmla="*/ 6768662 w 6768662"/>
                <a:gd name="connsiteY2" fmla="*/ 0 h 6873765"/>
                <a:gd name="connsiteX3" fmla="*/ 5160579 w 6768662"/>
                <a:gd name="connsiteY3" fmla="*/ 6873765 h 6873765"/>
                <a:gd name="connsiteX4" fmla="*/ 10510 w 6768662"/>
                <a:gd name="connsiteY4" fmla="*/ 6873765 h 6873765"/>
                <a:gd name="connsiteX5" fmla="*/ 10510 w 6768662"/>
                <a:gd name="connsiteY5" fmla="*/ 0 h 6873765"/>
                <a:gd name="connsiteX6" fmla="*/ 0 w 6768662"/>
                <a:gd name="connsiteY6" fmla="*/ 0 h 6873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8662" h="6873765">
                  <a:moveTo>
                    <a:pt x="0" y="0"/>
                  </a:moveTo>
                  <a:lnTo>
                    <a:pt x="6001407" y="0"/>
                  </a:lnTo>
                  <a:lnTo>
                    <a:pt x="6768662" y="0"/>
                  </a:lnTo>
                  <a:lnTo>
                    <a:pt x="5160579" y="6873765"/>
                  </a:lnTo>
                  <a:lnTo>
                    <a:pt x="10510" y="6873765"/>
                  </a:lnTo>
                  <a:lnTo>
                    <a:pt x="10510" y="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TextBox 14"/>
            <p:cNvSpPr txBox="1"/>
            <p:nvPr/>
          </p:nvSpPr>
          <p:spPr>
            <a:xfrm>
              <a:off x="6758789" y="656533"/>
              <a:ext cx="6233070" cy="646331"/>
            </a:xfrm>
            <a:prstGeom prst="rect">
              <a:avLst/>
            </a:prstGeom>
            <a:noFill/>
          </p:spPr>
          <p:txBody>
            <a:bodyPr wrap="square" rtlCol="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tab pos="1971675" algn="l"/>
                </a:tabLst>
                <a:defRPr/>
              </a:pPr>
              <a:r>
                <a:rPr kumimoji="0" lang="nl-BE" sz="4000" b="0" i="0" u="none" strike="noStrike" kern="1200" cap="none" spc="0" normalizeH="0" baseline="0" noProof="0" dirty="0">
                  <a:ln>
                    <a:noFill/>
                  </a:ln>
                  <a:solidFill>
                    <a:prstClr val="white"/>
                  </a:solidFill>
                  <a:effectLst/>
                  <a:uLnTx/>
                  <a:uFillTx/>
                  <a:latin typeface="Amaranth" panose="02000503000000020004" pitchFamily="50" charset="0"/>
                  <a:ea typeface="+mn-ea"/>
                  <a:cs typeface="Arial" panose="020B0604020202020204" pitchFamily="34" charset="0"/>
                </a:rPr>
                <a:t>Digiregie – planning </a:t>
              </a:r>
            </a:p>
          </p:txBody>
        </p:sp>
      </p:grpSp>
      <p:sp>
        <p:nvSpPr>
          <p:cNvPr id="33" name="Rechthoek 12">
            <a:extLst>
              <a:ext uri="{FF2B5EF4-FFF2-40B4-BE49-F238E27FC236}">
                <a16:creationId xmlns:a16="http://schemas.microsoft.com/office/drawing/2014/main" id="{316ACA97-44B8-42BF-BB2A-D44205C8AD70}"/>
              </a:ext>
            </a:extLst>
          </p:cNvPr>
          <p:cNvSpPr/>
          <p:nvPr/>
        </p:nvSpPr>
        <p:spPr>
          <a:xfrm>
            <a:off x="6881475" y="1544652"/>
            <a:ext cx="5555226" cy="595035"/>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22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342900" marR="0" lvl="0" indent="-342900" algn="l" defTabSz="914400" rtl="0" eaLnBrk="1" fontAlgn="auto" latinLnBrk="0" hangingPunct="1">
              <a:lnSpc>
                <a:spcPts val="2000"/>
              </a:lnSpc>
              <a:spcBef>
                <a:spcPts val="0"/>
              </a:spcBef>
              <a:spcAft>
                <a:spcPts val="600"/>
              </a:spcAft>
              <a:buClrTx/>
              <a:buSzTx/>
              <a:buFont typeface="Arial" panose="020B0604020202020204" pitchFamily="34" charset="0"/>
              <a:buChar char="•"/>
              <a:tabLst/>
              <a:defRPr/>
            </a:pPr>
            <a:endParaRPr kumimoji="0" lang="nl-BE" sz="22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20" name="TextBox 9">
            <a:extLst>
              <a:ext uri="{FF2B5EF4-FFF2-40B4-BE49-F238E27FC236}">
                <a16:creationId xmlns:a16="http://schemas.microsoft.com/office/drawing/2014/main" id="{C7AA8425-6DE2-48BD-9D9B-550BF08EB454}"/>
              </a:ext>
            </a:extLst>
          </p:cNvPr>
          <p:cNvSpPr txBox="1">
            <a:spLocks noChangeArrowheads="1"/>
          </p:cNvSpPr>
          <p:nvPr/>
        </p:nvSpPr>
        <p:spPr bwMode="auto">
          <a:xfrm>
            <a:off x="414395" y="682432"/>
            <a:ext cx="1429916" cy="369332"/>
          </a:xfrm>
          <a:prstGeom prst="rect">
            <a:avLst/>
          </a:prstGeom>
          <a:noFill/>
          <a:ln w="9525">
            <a:noFill/>
            <a:miter lim="800000"/>
            <a:headEnd/>
            <a:tailEnd/>
          </a:ln>
        </p:spPr>
        <p:txBody>
          <a:bodyPr wrap="square" lIns="0">
            <a:spAutoFit/>
          </a:bodyPr>
          <a:lstStyle/>
          <a:p>
            <a:pPr marL="3174" marR="0" lvl="0" indent="0" algn="l" defTabSz="914400" rtl="0" eaLnBrk="1" fontAlgn="auto" latinLnBrk="0" hangingPunct="1">
              <a:lnSpc>
                <a:spcPct val="90000"/>
              </a:lnSpc>
              <a:spcBef>
                <a:spcPts val="1200"/>
              </a:spcBef>
              <a:spcAft>
                <a:spcPts val="0"/>
              </a:spcAft>
              <a:buClr>
                <a:srgbClr val="5C5C5C"/>
              </a:buClr>
              <a:buSzPct val="80000"/>
              <a:buFontTx/>
              <a:buNone/>
              <a:tabLst/>
              <a:defRPr/>
            </a:pPr>
            <a:r>
              <a:rPr kumimoji="0" lang="nl-BE" sz="2000" b="1" i="0" u="none" strike="noStrike" kern="1200" cap="none" spc="0" normalizeH="0" baseline="0" noProof="0" dirty="0">
                <a:ln>
                  <a:noFill/>
                </a:ln>
                <a:solidFill>
                  <a:prstClr val="white"/>
                </a:solidFill>
                <a:effectLst/>
                <a:uLnTx/>
                <a:uFillTx/>
                <a:latin typeface="Amaranth" panose="02000503000000020004" pitchFamily="50" charset="0"/>
                <a:ea typeface="+mn-ea"/>
                <a:cs typeface="Arial" panose="020B0604020202020204" pitchFamily="34" charset="0"/>
              </a:rPr>
              <a:t>Software</a:t>
            </a:r>
          </a:p>
        </p:txBody>
      </p:sp>
      <p:sp>
        <p:nvSpPr>
          <p:cNvPr id="9" name="Rechthoek 12">
            <a:extLst>
              <a:ext uri="{FF2B5EF4-FFF2-40B4-BE49-F238E27FC236}">
                <a16:creationId xmlns:a16="http://schemas.microsoft.com/office/drawing/2014/main" id="{73D93AD0-8570-4B78-80D5-7D30FDF361D5}"/>
              </a:ext>
            </a:extLst>
          </p:cNvPr>
          <p:cNvSpPr/>
          <p:nvPr/>
        </p:nvSpPr>
        <p:spPr>
          <a:xfrm>
            <a:off x="6881475" y="1657881"/>
            <a:ext cx="5555226" cy="3211135"/>
          </a:xfrm>
          <a:prstGeom prst="rect">
            <a:avLst/>
          </a:prstGeom>
        </p:spPr>
        <p:txBody>
          <a:bodyPr wrap="square" lIns="0" tIns="0" rIns="0" bIns="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2600" b="0" i="0" u="none" strike="noStrike" kern="1200" cap="none" spc="0" normalizeH="0" baseline="0" noProof="0" dirty="0">
                <a:ln>
                  <a:noFill/>
                </a:ln>
                <a:solidFill>
                  <a:prstClr val="white"/>
                </a:solidFill>
                <a:effectLst/>
                <a:uLnTx/>
                <a:uFillTx/>
                <a:latin typeface="Calibri" panose="020F0502020204030204"/>
                <a:ea typeface="+mn-ea"/>
                <a:cs typeface="+mn-cs"/>
              </a:rPr>
              <a:t>Automatisch je jaar plannen, of handmatig indien wenselijk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l-NL" sz="2600" dirty="0">
              <a:solidFill>
                <a:prstClr val="white"/>
              </a:solidFill>
              <a:latin typeface="Calibri" panose="020F0502020204030204"/>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2600" b="0" i="0" u="none" strike="noStrike" kern="1200" cap="none" spc="0" normalizeH="0" baseline="0" noProof="0" dirty="0">
                <a:ln>
                  <a:noFill/>
                </a:ln>
                <a:solidFill>
                  <a:prstClr val="white"/>
                </a:solidFill>
                <a:effectLst/>
                <a:uLnTx/>
                <a:uFillTx/>
                <a:latin typeface="Calibri" panose="020F0502020204030204"/>
                <a:ea typeface="+mn-ea"/>
                <a:cs typeface="+mn-cs"/>
              </a:rPr>
              <a:t>Oók je eigen thema’s </a:t>
            </a:r>
            <a:r>
              <a:rPr lang="nl-NL" sz="2600" dirty="0">
                <a:solidFill>
                  <a:prstClr val="white"/>
                </a:solidFill>
                <a:latin typeface="Calibri" panose="020F0502020204030204"/>
              </a:rPr>
              <a:t>(in)plannen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22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R="0" lvl="0" algn="l" defTabSz="914400" rtl="0" eaLnBrk="1" fontAlgn="auto" latinLnBrk="0" hangingPunct="1">
              <a:lnSpc>
                <a:spcPct val="100000"/>
              </a:lnSpc>
              <a:spcBef>
                <a:spcPts val="0"/>
              </a:spcBef>
              <a:spcAft>
                <a:spcPts val="0"/>
              </a:spcAft>
              <a:buClrTx/>
              <a:buSzTx/>
              <a:tabLst/>
              <a:defRPr/>
            </a:pPr>
            <a:endParaRPr kumimoji="0" lang="nl-NL" sz="22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l-NL" sz="2200" dirty="0">
              <a:solidFill>
                <a:prstClr val="white"/>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22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342900" marR="0" lvl="0" indent="-342900" algn="l" defTabSz="914400" rtl="0" eaLnBrk="1" fontAlgn="auto" latinLnBrk="0" hangingPunct="1">
              <a:lnSpc>
                <a:spcPts val="2000"/>
              </a:lnSpc>
              <a:spcBef>
                <a:spcPts val="0"/>
              </a:spcBef>
              <a:spcAft>
                <a:spcPts val="600"/>
              </a:spcAft>
              <a:buClrTx/>
              <a:buSzTx/>
              <a:buFont typeface="Arial" panose="020B0604020202020204" pitchFamily="34" charset="0"/>
              <a:buChar char="•"/>
              <a:tabLst/>
              <a:defRPr/>
            </a:pPr>
            <a:endParaRPr kumimoji="0" lang="nl-BE" sz="22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10" name="Freeform 41">
            <a:extLst>
              <a:ext uri="{FF2B5EF4-FFF2-40B4-BE49-F238E27FC236}">
                <a16:creationId xmlns:a16="http://schemas.microsoft.com/office/drawing/2014/main" id="{8CFF3866-4764-4EA0-AFA7-6A6244F7C2F2}"/>
              </a:ext>
            </a:extLst>
          </p:cNvPr>
          <p:cNvSpPr/>
          <p:nvPr/>
        </p:nvSpPr>
        <p:spPr>
          <a:xfrm rot="845560">
            <a:off x="-82083" y="352836"/>
            <a:ext cx="2164079" cy="1020274"/>
          </a:xfrm>
          <a:custGeom>
            <a:avLst/>
            <a:gdLst>
              <a:gd name="connsiteX0" fmla="*/ 45720 w 1267097"/>
              <a:gd name="connsiteY0" fmla="*/ 378823 h 378823"/>
              <a:gd name="connsiteX1" fmla="*/ 1267097 w 1267097"/>
              <a:gd name="connsiteY1" fmla="*/ 182880 h 378823"/>
              <a:gd name="connsiteX2" fmla="*/ 1267097 w 1267097"/>
              <a:gd name="connsiteY2" fmla="*/ 0 h 378823"/>
              <a:gd name="connsiteX3" fmla="*/ 0 w 1267097"/>
              <a:gd name="connsiteY3" fmla="*/ 189412 h 378823"/>
              <a:gd name="connsiteX4" fmla="*/ 45720 w 1267097"/>
              <a:gd name="connsiteY4" fmla="*/ 378823 h 378823"/>
              <a:gd name="connsiteX0" fmla="*/ 71845 w 1293222"/>
              <a:gd name="connsiteY0" fmla="*/ 378823 h 378823"/>
              <a:gd name="connsiteX1" fmla="*/ 1293222 w 1293222"/>
              <a:gd name="connsiteY1" fmla="*/ 182880 h 378823"/>
              <a:gd name="connsiteX2" fmla="*/ 1293222 w 1293222"/>
              <a:gd name="connsiteY2" fmla="*/ 0 h 378823"/>
              <a:gd name="connsiteX3" fmla="*/ 0 w 1293222"/>
              <a:gd name="connsiteY3" fmla="*/ 130629 h 378823"/>
              <a:gd name="connsiteX4" fmla="*/ 71845 w 1293222"/>
              <a:gd name="connsiteY4" fmla="*/ 378823 h 378823"/>
              <a:gd name="connsiteX0" fmla="*/ 65313 w 1293222"/>
              <a:gd name="connsiteY0" fmla="*/ 398417 h 398417"/>
              <a:gd name="connsiteX1" fmla="*/ 1293222 w 1293222"/>
              <a:gd name="connsiteY1" fmla="*/ 182880 h 398417"/>
              <a:gd name="connsiteX2" fmla="*/ 1293222 w 1293222"/>
              <a:gd name="connsiteY2" fmla="*/ 0 h 398417"/>
              <a:gd name="connsiteX3" fmla="*/ 0 w 1293222"/>
              <a:gd name="connsiteY3" fmla="*/ 130629 h 398417"/>
              <a:gd name="connsiteX4" fmla="*/ 65313 w 1293222"/>
              <a:gd name="connsiteY4" fmla="*/ 398417 h 398417"/>
              <a:gd name="connsiteX0" fmla="*/ 104663 w 1332572"/>
              <a:gd name="connsiteY0" fmla="*/ 488407 h 488407"/>
              <a:gd name="connsiteX1" fmla="*/ 1332572 w 1332572"/>
              <a:gd name="connsiteY1" fmla="*/ 272870 h 488407"/>
              <a:gd name="connsiteX2" fmla="*/ 1332572 w 1332572"/>
              <a:gd name="connsiteY2" fmla="*/ 89990 h 488407"/>
              <a:gd name="connsiteX3" fmla="*/ 0 w 1332572"/>
              <a:gd name="connsiteY3" fmla="*/ 0 h 488407"/>
              <a:gd name="connsiteX4" fmla="*/ 104663 w 1332572"/>
              <a:gd name="connsiteY4" fmla="*/ 488407 h 488407"/>
              <a:gd name="connsiteX0" fmla="*/ 58754 w 1286663"/>
              <a:gd name="connsiteY0" fmla="*/ 488407 h 488407"/>
              <a:gd name="connsiteX1" fmla="*/ 1286663 w 1286663"/>
              <a:gd name="connsiteY1" fmla="*/ 272870 h 488407"/>
              <a:gd name="connsiteX2" fmla="*/ 1286663 w 1286663"/>
              <a:gd name="connsiteY2" fmla="*/ 89990 h 488407"/>
              <a:gd name="connsiteX3" fmla="*/ 0 w 1286663"/>
              <a:gd name="connsiteY3" fmla="*/ 0 h 488407"/>
              <a:gd name="connsiteX4" fmla="*/ 58754 w 1286663"/>
              <a:gd name="connsiteY4" fmla="*/ 488407 h 488407"/>
              <a:gd name="connsiteX0" fmla="*/ 58754 w 1293221"/>
              <a:gd name="connsiteY0" fmla="*/ 574912 h 574912"/>
              <a:gd name="connsiteX1" fmla="*/ 1286663 w 1293221"/>
              <a:gd name="connsiteY1" fmla="*/ 359375 h 574912"/>
              <a:gd name="connsiteX2" fmla="*/ 1293221 w 1293221"/>
              <a:gd name="connsiteY2" fmla="*/ 0 h 574912"/>
              <a:gd name="connsiteX3" fmla="*/ 0 w 1293221"/>
              <a:gd name="connsiteY3" fmla="*/ 86505 h 574912"/>
              <a:gd name="connsiteX4" fmla="*/ 58754 w 1293221"/>
              <a:gd name="connsiteY4" fmla="*/ 574912 h 574912"/>
              <a:gd name="connsiteX0" fmla="*/ 58754 w 1470298"/>
              <a:gd name="connsiteY0" fmla="*/ 574912 h 574912"/>
              <a:gd name="connsiteX1" fmla="*/ 1470298 w 1470298"/>
              <a:gd name="connsiteY1" fmla="*/ 561083 h 574912"/>
              <a:gd name="connsiteX2" fmla="*/ 1293221 w 1470298"/>
              <a:gd name="connsiteY2" fmla="*/ 0 h 574912"/>
              <a:gd name="connsiteX3" fmla="*/ 0 w 1470298"/>
              <a:gd name="connsiteY3" fmla="*/ 86505 h 574912"/>
              <a:gd name="connsiteX4" fmla="*/ 58754 w 1470298"/>
              <a:gd name="connsiteY4" fmla="*/ 574912 h 574912"/>
              <a:gd name="connsiteX0" fmla="*/ 65313 w 1470298"/>
              <a:gd name="connsiteY0" fmla="*/ 795531 h 795531"/>
              <a:gd name="connsiteX1" fmla="*/ 1470298 w 1470298"/>
              <a:gd name="connsiteY1" fmla="*/ 561083 h 795531"/>
              <a:gd name="connsiteX2" fmla="*/ 1293221 w 1470298"/>
              <a:gd name="connsiteY2" fmla="*/ 0 h 795531"/>
              <a:gd name="connsiteX3" fmla="*/ 0 w 1470298"/>
              <a:gd name="connsiteY3" fmla="*/ 86505 h 795531"/>
              <a:gd name="connsiteX4" fmla="*/ 65313 w 1470298"/>
              <a:gd name="connsiteY4" fmla="*/ 795531 h 795531"/>
              <a:gd name="connsiteX0" fmla="*/ 65313 w 1844126"/>
              <a:gd name="connsiteY0" fmla="*/ 795531 h 795531"/>
              <a:gd name="connsiteX1" fmla="*/ 1844126 w 1844126"/>
              <a:gd name="connsiteY1" fmla="*/ 504352 h 795531"/>
              <a:gd name="connsiteX2" fmla="*/ 1293221 w 1844126"/>
              <a:gd name="connsiteY2" fmla="*/ 0 h 795531"/>
              <a:gd name="connsiteX3" fmla="*/ 0 w 1844126"/>
              <a:gd name="connsiteY3" fmla="*/ 86505 h 795531"/>
              <a:gd name="connsiteX4" fmla="*/ 65313 w 1844126"/>
              <a:gd name="connsiteY4" fmla="*/ 795531 h 795531"/>
              <a:gd name="connsiteX0" fmla="*/ 65313 w 1844126"/>
              <a:gd name="connsiteY0" fmla="*/ 845958 h 845958"/>
              <a:gd name="connsiteX1" fmla="*/ 1844126 w 1844126"/>
              <a:gd name="connsiteY1" fmla="*/ 554779 h 845958"/>
              <a:gd name="connsiteX2" fmla="*/ 1621141 w 1844126"/>
              <a:gd name="connsiteY2" fmla="*/ 0 h 845958"/>
              <a:gd name="connsiteX3" fmla="*/ 0 w 1844126"/>
              <a:gd name="connsiteY3" fmla="*/ 136932 h 845958"/>
              <a:gd name="connsiteX4" fmla="*/ 65313 w 1844126"/>
              <a:gd name="connsiteY4" fmla="*/ 845958 h 845958"/>
              <a:gd name="connsiteX0" fmla="*/ 65313 w 1844126"/>
              <a:gd name="connsiteY0" fmla="*/ 864868 h 864868"/>
              <a:gd name="connsiteX1" fmla="*/ 1844126 w 1844126"/>
              <a:gd name="connsiteY1" fmla="*/ 573689 h 864868"/>
              <a:gd name="connsiteX2" fmla="*/ 1621141 w 1844126"/>
              <a:gd name="connsiteY2" fmla="*/ 0 h 864868"/>
              <a:gd name="connsiteX3" fmla="*/ 0 w 1844126"/>
              <a:gd name="connsiteY3" fmla="*/ 155842 h 864868"/>
              <a:gd name="connsiteX4" fmla="*/ 65313 w 1844126"/>
              <a:gd name="connsiteY4" fmla="*/ 864868 h 864868"/>
              <a:gd name="connsiteX0" fmla="*/ 65313 w 1686724"/>
              <a:gd name="connsiteY0" fmla="*/ 864868 h 864868"/>
              <a:gd name="connsiteX1" fmla="*/ 1686724 w 1686724"/>
              <a:gd name="connsiteY1" fmla="*/ 561082 h 864868"/>
              <a:gd name="connsiteX2" fmla="*/ 1621141 w 1686724"/>
              <a:gd name="connsiteY2" fmla="*/ 0 h 864868"/>
              <a:gd name="connsiteX3" fmla="*/ 0 w 1686724"/>
              <a:gd name="connsiteY3" fmla="*/ 155842 h 864868"/>
              <a:gd name="connsiteX4" fmla="*/ 65313 w 1686724"/>
              <a:gd name="connsiteY4" fmla="*/ 864868 h 864868"/>
              <a:gd name="connsiteX0" fmla="*/ 39079 w 1660490"/>
              <a:gd name="connsiteY0" fmla="*/ 864868 h 864868"/>
              <a:gd name="connsiteX1" fmla="*/ 1660490 w 1660490"/>
              <a:gd name="connsiteY1" fmla="*/ 561082 h 864868"/>
              <a:gd name="connsiteX2" fmla="*/ 1594907 w 1660490"/>
              <a:gd name="connsiteY2" fmla="*/ 0 h 864868"/>
              <a:gd name="connsiteX3" fmla="*/ 0 w 1660490"/>
              <a:gd name="connsiteY3" fmla="*/ 351248 h 864868"/>
              <a:gd name="connsiteX4" fmla="*/ 39079 w 1660490"/>
              <a:gd name="connsiteY4" fmla="*/ 864868 h 864868"/>
              <a:gd name="connsiteX0" fmla="*/ 39079 w 1857243"/>
              <a:gd name="connsiteY0" fmla="*/ 719889 h 719889"/>
              <a:gd name="connsiteX1" fmla="*/ 1660490 w 1857243"/>
              <a:gd name="connsiteY1" fmla="*/ 416103 h 719889"/>
              <a:gd name="connsiteX2" fmla="*/ 1857243 w 1857243"/>
              <a:gd name="connsiteY2" fmla="*/ 0 h 719889"/>
              <a:gd name="connsiteX3" fmla="*/ 0 w 1857243"/>
              <a:gd name="connsiteY3" fmla="*/ 206269 h 719889"/>
              <a:gd name="connsiteX4" fmla="*/ 39079 w 1857243"/>
              <a:gd name="connsiteY4" fmla="*/ 719889 h 719889"/>
              <a:gd name="connsiteX0" fmla="*/ 39079 w 1909709"/>
              <a:gd name="connsiteY0" fmla="*/ 719889 h 719889"/>
              <a:gd name="connsiteX1" fmla="*/ 1909709 w 1909709"/>
              <a:gd name="connsiteY1" fmla="*/ 208090 h 719889"/>
              <a:gd name="connsiteX2" fmla="*/ 1857243 w 1909709"/>
              <a:gd name="connsiteY2" fmla="*/ 0 h 719889"/>
              <a:gd name="connsiteX3" fmla="*/ 0 w 1909709"/>
              <a:gd name="connsiteY3" fmla="*/ 206269 h 719889"/>
              <a:gd name="connsiteX4" fmla="*/ 39079 w 1909709"/>
              <a:gd name="connsiteY4" fmla="*/ 719889 h 719889"/>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206269 h 511876"/>
              <a:gd name="connsiteX4" fmla="*/ 39079 w 1909709"/>
              <a:gd name="connsiteY4" fmla="*/ 511876 h 511876"/>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121173 h 511876"/>
              <a:gd name="connsiteX4" fmla="*/ 39079 w 1909709"/>
              <a:gd name="connsiteY4" fmla="*/ 511876 h 511876"/>
              <a:gd name="connsiteX0" fmla="*/ 39079 w 1857243"/>
              <a:gd name="connsiteY0" fmla="*/ 511876 h 511876"/>
              <a:gd name="connsiteX1" fmla="*/ 1748372 w 1857243"/>
              <a:gd name="connsiteY1" fmla="*/ 309201 h 511876"/>
              <a:gd name="connsiteX2" fmla="*/ 1857243 w 1857243"/>
              <a:gd name="connsiteY2" fmla="*/ 0 h 511876"/>
              <a:gd name="connsiteX3" fmla="*/ 0 w 1857243"/>
              <a:gd name="connsiteY3" fmla="*/ 121173 h 511876"/>
              <a:gd name="connsiteX4" fmla="*/ 39079 w 1857243"/>
              <a:gd name="connsiteY4" fmla="*/ 511876 h 511876"/>
              <a:gd name="connsiteX0" fmla="*/ 39079 w 1748372"/>
              <a:gd name="connsiteY0" fmla="*/ 499237 h 499237"/>
              <a:gd name="connsiteX1" fmla="*/ 1748372 w 1748372"/>
              <a:gd name="connsiteY1" fmla="*/ 296562 h 499237"/>
              <a:gd name="connsiteX2" fmla="*/ 1723965 w 1748372"/>
              <a:gd name="connsiteY2" fmla="*/ 0 h 499237"/>
              <a:gd name="connsiteX3" fmla="*/ 0 w 1748372"/>
              <a:gd name="connsiteY3" fmla="*/ 108534 h 499237"/>
              <a:gd name="connsiteX4" fmla="*/ 39079 w 1748372"/>
              <a:gd name="connsiteY4" fmla="*/ 499237 h 499237"/>
              <a:gd name="connsiteX0" fmla="*/ 95196 w 1748372"/>
              <a:gd name="connsiteY0" fmla="*/ 451841 h 451841"/>
              <a:gd name="connsiteX1" fmla="*/ 1748372 w 1748372"/>
              <a:gd name="connsiteY1" fmla="*/ 296562 h 451841"/>
              <a:gd name="connsiteX2" fmla="*/ 1723965 w 1748372"/>
              <a:gd name="connsiteY2" fmla="*/ 0 h 451841"/>
              <a:gd name="connsiteX3" fmla="*/ 0 w 1748372"/>
              <a:gd name="connsiteY3" fmla="*/ 108534 h 451841"/>
              <a:gd name="connsiteX4" fmla="*/ 95196 w 1748372"/>
              <a:gd name="connsiteY4" fmla="*/ 451841 h 451841"/>
              <a:gd name="connsiteX0" fmla="*/ 95196 w 1723965"/>
              <a:gd name="connsiteY0" fmla="*/ 451841 h 451841"/>
              <a:gd name="connsiteX1" fmla="*/ 1713299 w 1723965"/>
              <a:gd name="connsiteY1" fmla="*/ 315520 h 451841"/>
              <a:gd name="connsiteX2" fmla="*/ 1723965 w 1723965"/>
              <a:gd name="connsiteY2" fmla="*/ 0 h 451841"/>
              <a:gd name="connsiteX3" fmla="*/ 0 w 1723965"/>
              <a:gd name="connsiteY3" fmla="*/ 108534 h 451841"/>
              <a:gd name="connsiteX4" fmla="*/ 95196 w 1723965"/>
              <a:gd name="connsiteY4" fmla="*/ 451841 h 451841"/>
              <a:gd name="connsiteX0" fmla="*/ 95196 w 1713299"/>
              <a:gd name="connsiteY0" fmla="*/ 455001 h 455001"/>
              <a:gd name="connsiteX1" fmla="*/ 1713299 w 1713299"/>
              <a:gd name="connsiteY1" fmla="*/ 318680 h 455001"/>
              <a:gd name="connsiteX2" fmla="*/ 1667848 w 1713299"/>
              <a:gd name="connsiteY2" fmla="*/ 0 h 455001"/>
              <a:gd name="connsiteX3" fmla="*/ 0 w 1713299"/>
              <a:gd name="connsiteY3" fmla="*/ 111694 h 455001"/>
              <a:gd name="connsiteX4" fmla="*/ 95196 w 1713299"/>
              <a:gd name="connsiteY4" fmla="*/ 455001 h 455001"/>
              <a:gd name="connsiteX0" fmla="*/ 67137 w 1685240"/>
              <a:gd name="connsiteY0" fmla="*/ 455001 h 455001"/>
              <a:gd name="connsiteX1" fmla="*/ 1685240 w 1685240"/>
              <a:gd name="connsiteY1" fmla="*/ 318680 h 455001"/>
              <a:gd name="connsiteX2" fmla="*/ 1639789 w 1685240"/>
              <a:gd name="connsiteY2" fmla="*/ 0 h 455001"/>
              <a:gd name="connsiteX3" fmla="*/ 0 w 1685240"/>
              <a:gd name="connsiteY3" fmla="*/ 130652 h 455001"/>
              <a:gd name="connsiteX4" fmla="*/ 67137 w 1685240"/>
              <a:gd name="connsiteY4" fmla="*/ 455001 h 455001"/>
              <a:gd name="connsiteX0" fmla="*/ 67137 w 1667473"/>
              <a:gd name="connsiteY0" fmla="*/ 455001 h 455001"/>
              <a:gd name="connsiteX1" fmla="*/ 1667473 w 1667473"/>
              <a:gd name="connsiteY1" fmla="*/ 242054 h 455001"/>
              <a:gd name="connsiteX2" fmla="*/ 1639789 w 1667473"/>
              <a:gd name="connsiteY2" fmla="*/ 0 h 455001"/>
              <a:gd name="connsiteX3" fmla="*/ 0 w 1667473"/>
              <a:gd name="connsiteY3" fmla="*/ 130652 h 455001"/>
              <a:gd name="connsiteX4" fmla="*/ 67137 w 1667473"/>
              <a:gd name="connsiteY4" fmla="*/ 455001 h 455001"/>
              <a:gd name="connsiteX0" fmla="*/ 100217 w 1700553"/>
              <a:gd name="connsiteY0" fmla="*/ 455001 h 455001"/>
              <a:gd name="connsiteX1" fmla="*/ 1700553 w 1700553"/>
              <a:gd name="connsiteY1" fmla="*/ 242054 h 455001"/>
              <a:gd name="connsiteX2" fmla="*/ 1672869 w 1700553"/>
              <a:gd name="connsiteY2" fmla="*/ 0 h 455001"/>
              <a:gd name="connsiteX3" fmla="*/ 0 w 1700553"/>
              <a:gd name="connsiteY3" fmla="*/ 205540 h 455001"/>
              <a:gd name="connsiteX4" fmla="*/ 100217 w 1700553"/>
              <a:gd name="connsiteY4" fmla="*/ 455001 h 455001"/>
              <a:gd name="connsiteX0" fmla="*/ 100217 w 1700553"/>
              <a:gd name="connsiteY0" fmla="*/ 366878 h 366878"/>
              <a:gd name="connsiteX1" fmla="*/ 1700553 w 1700553"/>
              <a:gd name="connsiteY1" fmla="*/ 153931 h 366878"/>
              <a:gd name="connsiteX2" fmla="*/ 1588975 w 1700553"/>
              <a:gd name="connsiteY2" fmla="*/ 0 h 366878"/>
              <a:gd name="connsiteX3" fmla="*/ 0 w 1700553"/>
              <a:gd name="connsiteY3" fmla="*/ 117417 h 366878"/>
              <a:gd name="connsiteX4" fmla="*/ 100217 w 1700553"/>
              <a:gd name="connsiteY4" fmla="*/ 366878 h 366878"/>
              <a:gd name="connsiteX0" fmla="*/ 115726 w 1700553"/>
              <a:gd name="connsiteY0" fmla="*/ 305211 h 305211"/>
              <a:gd name="connsiteX1" fmla="*/ 1700553 w 1700553"/>
              <a:gd name="connsiteY1" fmla="*/ 153931 h 305211"/>
              <a:gd name="connsiteX2" fmla="*/ 1588975 w 1700553"/>
              <a:gd name="connsiteY2" fmla="*/ 0 h 305211"/>
              <a:gd name="connsiteX3" fmla="*/ 0 w 1700553"/>
              <a:gd name="connsiteY3" fmla="*/ 117417 h 305211"/>
              <a:gd name="connsiteX4" fmla="*/ 115726 w 1700553"/>
              <a:gd name="connsiteY4" fmla="*/ 305211 h 305211"/>
              <a:gd name="connsiteX0" fmla="*/ 115726 w 1700553"/>
              <a:gd name="connsiteY0" fmla="*/ 321895 h 321895"/>
              <a:gd name="connsiteX1" fmla="*/ 1700553 w 1700553"/>
              <a:gd name="connsiteY1" fmla="*/ 170615 h 321895"/>
              <a:gd name="connsiteX2" fmla="*/ 1471607 w 1700553"/>
              <a:gd name="connsiteY2" fmla="*/ 0 h 321895"/>
              <a:gd name="connsiteX3" fmla="*/ 0 w 1700553"/>
              <a:gd name="connsiteY3" fmla="*/ 134101 h 321895"/>
              <a:gd name="connsiteX4" fmla="*/ 115726 w 1700553"/>
              <a:gd name="connsiteY4" fmla="*/ 321895 h 321895"/>
              <a:gd name="connsiteX0" fmla="*/ 115726 w 1581352"/>
              <a:gd name="connsiteY0" fmla="*/ 321895 h 321895"/>
              <a:gd name="connsiteX1" fmla="*/ 1581352 w 1581352"/>
              <a:gd name="connsiteY1" fmla="*/ 210307 h 321895"/>
              <a:gd name="connsiteX2" fmla="*/ 1471607 w 1581352"/>
              <a:gd name="connsiteY2" fmla="*/ 0 h 321895"/>
              <a:gd name="connsiteX3" fmla="*/ 0 w 1581352"/>
              <a:gd name="connsiteY3" fmla="*/ 134101 h 321895"/>
              <a:gd name="connsiteX4" fmla="*/ 115726 w 1581352"/>
              <a:gd name="connsiteY4" fmla="*/ 321895 h 321895"/>
              <a:gd name="connsiteX0" fmla="*/ 92298 w 1557924"/>
              <a:gd name="connsiteY0" fmla="*/ 321895 h 321895"/>
              <a:gd name="connsiteX1" fmla="*/ 1557924 w 1557924"/>
              <a:gd name="connsiteY1" fmla="*/ 210307 h 321895"/>
              <a:gd name="connsiteX2" fmla="*/ 1448179 w 1557924"/>
              <a:gd name="connsiteY2" fmla="*/ 0 h 321895"/>
              <a:gd name="connsiteX3" fmla="*/ 0 w 1557924"/>
              <a:gd name="connsiteY3" fmla="*/ 116473 h 321895"/>
              <a:gd name="connsiteX4" fmla="*/ 92298 w 1557924"/>
              <a:gd name="connsiteY4" fmla="*/ 321895 h 321895"/>
              <a:gd name="connsiteX0" fmla="*/ 152961 w 1557924"/>
              <a:gd name="connsiteY0" fmla="*/ 341247 h 341247"/>
              <a:gd name="connsiteX1" fmla="*/ 1557924 w 1557924"/>
              <a:gd name="connsiteY1" fmla="*/ 210307 h 341247"/>
              <a:gd name="connsiteX2" fmla="*/ 1448179 w 1557924"/>
              <a:gd name="connsiteY2" fmla="*/ 0 h 341247"/>
              <a:gd name="connsiteX3" fmla="*/ 0 w 1557924"/>
              <a:gd name="connsiteY3" fmla="*/ 116473 h 341247"/>
              <a:gd name="connsiteX4" fmla="*/ 152961 w 1557924"/>
              <a:gd name="connsiteY4" fmla="*/ 341247 h 341247"/>
              <a:gd name="connsiteX0" fmla="*/ 135357 w 1557924"/>
              <a:gd name="connsiteY0" fmla="*/ 339493 h 339493"/>
              <a:gd name="connsiteX1" fmla="*/ 1557924 w 1557924"/>
              <a:gd name="connsiteY1" fmla="*/ 210307 h 339493"/>
              <a:gd name="connsiteX2" fmla="*/ 1448179 w 1557924"/>
              <a:gd name="connsiteY2" fmla="*/ 0 h 339493"/>
              <a:gd name="connsiteX3" fmla="*/ 0 w 1557924"/>
              <a:gd name="connsiteY3" fmla="*/ 116473 h 339493"/>
              <a:gd name="connsiteX4" fmla="*/ 135357 w 1557924"/>
              <a:gd name="connsiteY4" fmla="*/ 339493 h 339493"/>
              <a:gd name="connsiteX0" fmla="*/ 109934 w 1532501"/>
              <a:gd name="connsiteY0" fmla="*/ 339493 h 339493"/>
              <a:gd name="connsiteX1" fmla="*/ 1532501 w 1532501"/>
              <a:gd name="connsiteY1" fmla="*/ 210307 h 339493"/>
              <a:gd name="connsiteX2" fmla="*/ 1422756 w 1532501"/>
              <a:gd name="connsiteY2" fmla="*/ 0 h 339493"/>
              <a:gd name="connsiteX3" fmla="*/ 0 w 1532501"/>
              <a:gd name="connsiteY3" fmla="*/ 117343 h 339493"/>
              <a:gd name="connsiteX4" fmla="*/ 109934 w 1532501"/>
              <a:gd name="connsiteY4" fmla="*/ 339493 h 339493"/>
              <a:gd name="connsiteX0" fmla="*/ 133525 w 1556092"/>
              <a:gd name="connsiteY0" fmla="*/ 339493 h 339493"/>
              <a:gd name="connsiteX1" fmla="*/ 1556092 w 1556092"/>
              <a:gd name="connsiteY1" fmla="*/ 210307 h 339493"/>
              <a:gd name="connsiteX2" fmla="*/ 1446347 w 1556092"/>
              <a:gd name="connsiteY2" fmla="*/ 0 h 339493"/>
              <a:gd name="connsiteX3" fmla="*/ 0 w 1556092"/>
              <a:gd name="connsiteY3" fmla="*/ 60098 h 339493"/>
              <a:gd name="connsiteX4" fmla="*/ 133525 w 1556092"/>
              <a:gd name="connsiteY4" fmla="*/ 339493 h 339493"/>
              <a:gd name="connsiteX0" fmla="*/ 133525 w 2343667"/>
              <a:gd name="connsiteY0" fmla="*/ 459688 h 459688"/>
              <a:gd name="connsiteX1" fmla="*/ 1556092 w 2343667"/>
              <a:gd name="connsiteY1" fmla="*/ 330502 h 459688"/>
              <a:gd name="connsiteX2" fmla="*/ 2343667 w 2343667"/>
              <a:gd name="connsiteY2" fmla="*/ 0 h 459688"/>
              <a:gd name="connsiteX3" fmla="*/ 0 w 2343667"/>
              <a:gd name="connsiteY3" fmla="*/ 180293 h 459688"/>
              <a:gd name="connsiteX4" fmla="*/ 133525 w 2343667"/>
              <a:gd name="connsiteY4" fmla="*/ 459688 h 459688"/>
              <a:gd name="connsiteX0" fmla="*/ 133525 w 2391079"/>
              <a:gd name="connsiteY0" fmla="*/ 459688 h 459688"/>
              <a:gd name="connsiteX1" fmla="*/ 2391079 w 2391079"/>
              <a:gd name="connsiteY1" fmla="*/ 322204 h 459688"/>
              <a:gd name="connsiteX2" fmla="*/ 2343667 w 2391079"/>
              <a:gd name="connsiteY2" fmla="*/ 0 h 459688"/>
              <a:gd name="connsiteX3" fmla="*/ 0 w 2391079"/>
              <a:gd name="connsiteY3" fmla="*/ 180293 h 459688"/>
              <a:gd name="connsiteX4" fmla="*/ 133525 w 2391079"/>
              <a:gd name="connsiteY4" fmla="*/ 459688 h 459688"/>
              <a:gd name="connsiteX0" fmla="*/ 159047 w 2391079"/>
              <a:gd name="connsiteY0" fmla="*/ 505482 h 505482"/>
              <a:gd name="connsiteX1" fmla="*/ 2391079 w 2391079"/>
              <a:gd name="connsiteY1" fmla="*/ 322204 h 505482"/>
              <a:gd name="connsiteX2" fmla="*/ 2343667 w 2391079"/>
              <a:gd name="connsiteY2" fmla="*/ 0 h 505482"/>
              <a:gd name="connsiteX3" fmla="*/ 0 w 2391079"/>
              <a:gd name="connsiteY3" fmla="*/ 180293 h 505482"/>
              <a:gd name="connsiteX4" fmla="*/ 159047 w 2391079"/>
              <a:gd name="connsiteY4" fmla="*/ 505482 h 505482"/>
              <a:gd name="connsiteX0" fmla="*/ 159047 w 2391079"/>
              <a:gd name="connsiteY0" fmla="*/ 518659 h 518659"/>
              <a:gd name="connsiteX1" fmla="*/ 2391079 w 2391079"/>
              <a:gd name="connsiteY1" fmla="*/ 335381 h 518659"/>
              <a:gd name="connsiteX2" fmla="*/ 2261507 w 2391079"/>
              <a:gd name="connsiteY2" fmla="*/ 0 h 518659"/>
              <a:gd name="connsiteX3" fmla="*/ 0 w 2391079"/>
              <a:gd name="connsiteY3" fmla="*/ 193470 h 518659"/>
              <a:gd name="connsiteX4" fmla="*/ 159047 w 2391079"/>
              <a:gd name="connsiteY4" fmla="*/ 518659 h 518659"/>
              <a:gd name="connsiteX0" fmla="*/ 159047 w 2513813"/>
              <a:gd name="connsiteY0" fmla="*/ 498511 h 498511"/>
              <a:gd name="connsiteX1" fmla="*/ 2391079 w 2513813"/>
              <a:gd name="connsiteY1" fmla="*/ 315233 h 498511"/>
              <a:gd name="connsiteX2" fmla="*/ 2513813 w 2513813"/>
              <a:gd name="connsiteY2" fmla="*/ 0 h 498511"/>
              <a:gd name="connsiteX3" fmla="*/ 0 w 2513813"/>
              <a:gd name="connsiteY3" fmla="*/ 173322 h 498511"/>
              <a:gd name="connsiteX4" fmla="*/ 159047 w 2513813"/>
              <a:gd name="connsiteY4" fmla="*/ 498511 h 498511"/>
              <a:gd name="connsiteX0" fmla="*/ 159047 w 2547383"/>
              <a:gd name="connsiteY0" fmla="*/ 498511 h 498511"/>
              <a:gd name="connsiteX1" fmla="*/ 2547383 w 2547383"/>
              <a:gd name="connsiteY1" fmla="*/ 252623 h 498511"/>
              <a:gd name="connsiteX2" fmla="*/ 2513813 w 2547383"/>
              <a:gd name="connsiteY2" fmla="*/ 0 h 498511"/>
              <a:gd name="connsiteX3" fmla="*/ 0 w 2547383"/>
              <a:gd name="connsiteY3" fmla="*/ 173322 h 498511"/>
              <a:gd name="connsiteX4" fmla="*/ 159047 w 2547383"/>
              <a:gd name="connsiteY4" fmla="*/ 498511 h 498511"/>
              <a:gd name="connsiteX0" fmla="*/ 164772 w 2553108"/>
              <a:gd name="connsiteY0" fmla="*/ 498511 h 498511"/>
              <a:gd name="connsiteX1" fmla="*/ 2553108 w 2553108"/>
              <a:gd name="connsiteY1" fmla="*/ 252623 h 498511"/>
              <a:gd name="connsiteX2" fmla="*/ 2519538 w 2553108"/>
              <a:gd name="connsiteY2" fmla="*/ 0 h 498511"/>
              <a:gd name="connsiteX3" fmla="*/ 0 w 2553108"/>
              <a:gd name="connsiteY3" fmla="*/ 237627 h 498511"/>
              <a:gd name="connsiteX4" fmla="*/ 164772 w 2553108"/>
              <a:gd name="connsiteY4" fmla="*/ 498511 h 498511"/>
              <a:gd name="connsiteX0" fmla="*/ 102113 w 2553108"/>
              <a:gd name="connsiteY0" fmla="*/ 460662 h 460662"/>
              <a:gd name="connsiteX1" fmla="*/ 2553108 w 2553108"/>
              <a:gd name="connsiteY1" fmla="*/ 252623 h 460662"/>
              <a:gd name="connsiteX2" fmla="*/ 2519538 w 2553108"/>
              <a:gd name="connsiteY2" fmla="*/ 0 h 460662"/>
              <a:gd name="connsiteX3" fmla="*/ 0 w 2553108"/>
              <a:gd name="connsiteY3" fmla="*/ 237627 h 460662"/>
              <a:gd name="connsiteX4" fmla="*/ 102113 w 2553108"/>
              <a:gd name="connsiteY4" fmla="*/ 460662 h 460662"/>
              <a:gd name="connsiteX0" fmla="*/ 102113 w 2553108"/>
              <a:gd name="connsiteY0" fmla="*/ 424537 h 424537"/>
              <a:gd name="connsiteX1" fmla="*/ 2553108 w 2553108"/>
              <a:gd name="connsiteY1" fmla="*/ 216498 h 424537"/>
              <a:gd name="connsiteX2" fmla="*/ 2498106 w 2553108"/>
              <a:gd name="connsiteY2" fmla="*/ 0 h 424537"/>
              <a:gd name="connsiteX3" fmla="*/ 0 w 2553108"/>
              <a:gd name="connsiteY3" fmla="*/ 201502 h 424537"/>
              <a:gd name="connsiteX4" fmla="*/ 102113 w 2553108"/>
              <a:gd name="connsiteY4" fmla="*/ 424537 h 424537"/>
              <a:gd name="connsiteX0" fmla="*/ 90333 w 2553108"/>
              <a:gd name="connsiteY0" fmla="*/ 403402 h 403402"/>
              <a:gd name="connsiteX1" fmla="*/ 2553108 w 2553108"/>
              <a:gd name="connsiteY1" fmla="*/ 216498 h 403402"/>
              <a:gd name="connsiteX2" fmla="*/ 2498106 w 2553108"/>
              <a:gd name="connsiteY2" fmla="*/ 0 h 403402"/>
              <a:gd name="connsiteX3" fmla="*/ 0 w 2553108"/>
              <a:gd name="connsiteY3" fmla="*/ 201502 h 403402"/>
              <a:gd name="connsiteX4" fmla="*/ 90333 w 2553108"/>
              <a:gd name="connsiteY4" fmla="*/ 403402 h 403402"/>
              <a:gd name="connsiteX0" fmla="*/ 60951 w 2523726"/>
              <a:gd name="connsiteY0" fmla="*/ 403402 h 403402"/>
              <a:gd name="connsiteX1" fmla="*/ 2523726 w 2523726"/>
              <a:gd name="connsiteY1" fmla="*/ 216498 h 403402"/>
              <a:gd name="connsiteX2" fmla="*/ 2468724 w 2523726"/>
              <a:gd name="connsiteY2" fmla="*/ 0 h 403402"/>
              <a:gd name="connsiteX3" fmla="*/ 0 w 2523726"/>
              <a:gd name="connsiteY3" fmla="*/ 224392 h 403402"/>
              <a:gd name="connsiteX4" fmla="*/ 60951 w 2523726"/>
              <a:gd name="connsiteY4" fmla="*/ 403402 h 40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3726" h="403402">
                <a:moveTo>
                  <a:pt x="60951" y="403402"/>
                </a:moveTo>
                <a:lnTo>
                  <a:pt x="2523726" y="216498"/>
                </a:lnTo>
                <a:lnTo>
                  <a:pt x="2468724" y="0"/>
                </a:lnTo>
                <a:lnTo>
                  <a:pt x="0" y="224392"/>
                </a:lnTo>
                <a:lnTo>
                  <a:pt x="60951" y="403402"/>
                </a:lnTo>
                <a:close/>
              </a:path>
            </a:pathLst>
          </a:custGeom>
          <a:solidFill>
            <a:schemeClr val="bg1"/>
          </a:solidFill>
          <a:ln>
            <a:noFill/>
          </a:ln>
          <a:effectLst>
            <a:outerShdw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solidFill>
                <a:schemeClr val="accent4"/>
              </a:solidFill>
            </a:endParaRPr>
          </a:p>
        </p:txBody>
      </p:sp>
      <p:sp>
        <p:nvSpPr>
          <p:cNvPr id="12" name="TextBox 9">
            <a:extLst>
              <a:ext uri="{FF2B5EF4-FFF2-40B4-BE49-F238E27FC236}">
                <a16:creationId xmlns:a16="http://schemas.microsoft.com/office/drawing/2014/main" id="{7EDF6C45-6EAA-4B49-BCD3-DCA1717571FA}"/>
              </a:ext>
            </a:extLst>
          </p:cNvPr>
          <p:cNvSpPr txBox="1">
            <a:spLocks noChangeArrowheads="1"/>
          </p:cNvSpPr>
          <p:nvPr/>
        </p:nvSpPr>
        <p:spPr bwMode="auto">
          <a:xfrm>
            <a:off x="224576" y="678307"/>
            <a:ext cx="2485989" cy="369332"/>
          </a:xfrm>
          <a:prstGeom prst="rect">
            <a:avLst/>
          </a:prstGeom>
          <a:noFill/>
          <a:ln w="9525">
            <a:noFill/>
            <a:miter lim="800000"/>
            <a:headEnd/>
            <a:tailEnd/>
          </a:ln>
          <a:effectLst/>
        </p:spPr>
        <p:txBody>
          <a:bodyPr wrap="square" lIns="0">
            <a:spAutoFit/>
          </a:bodyPr>
          <a:lstStyle/>
          <a:p>
            <a:pPr marL="3174">
              <a:lnSpc>
                <a:spcPct val="90000"/>
              </a:lnSpc>
              <a:spcBef>
                <a:spcPts val="1200"/>
              </a:spcBef>
              <a:buClr>
                <a:srgbClr val="5C5C5C"/>
              </a:buClr>
              <a:buSzPct val="80000"/>
            </a:pPr>
            <a:r>
              <a:rPr lang="nl-BE" sz="2000" b="1" dirty="0">
                <a:solidFill>
                  <a:srgbClr val="FFC000"/>
                </a:solidFill>
                <a:latin typeface="Amaranth" panose="02000503000000020004" pitchFamily="50" charset="0"/>
                <a:cs typeface="Arial" panose="020B0604020202020204" pitchFamily="34" charset="0"/>
              </a:rPr>
              <a:t>Software</a:t>
            </a:r>
          </a:p>
        </p:txBody>
      </p:sp>
      <p:pic>
        <p:nvPicPr>
          <p:cNvPr id="13" name="Afbeelding 12">
            <a:extLst>
              <a:ext uri="{FF2B5EF4-FFF2-40B4-BE49-F238E27FC236}">
                <a16:creationId xmlns:a16="http://schemas.microsoft.com/office/drawing/2014/main" id="{D7EB3C01-2649-4077-AEEC-6A8A7373BA3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294831" y="6164016"/>
            <a:ext cx="724228" cy="563044"/>
          </a:xfrm>
          <a:prstGeom prst="rect">
            <a:avLst/>
          </a:prstGeom>
        </p:spPr>
      </p:pic>
      <p:pic>
        <p:nvPicPr>
          <p:cNvPr id="4" name="Afbeelding 3">
            <a:extLst>
              <a:ext uri="{FF2B5EF4-FFF2-40B4-BE49-F238E27FC236}">
                <a16:creationId xmlns:a16="http://schemas.microsoft.com/office/drawing/2014/main" id="{343CC8FD-5538-4551-8004-F51FB029E334}"/>
              </a:ext>
            </a:extLst>
          </p:cNvPr>
          <p:cNvPicPr>
            <a:picLocks noChangeAspect="1"/>
          </p:cNvPicPr>
          <p:nvPr/>
        </p:nvPicPr>
        <p:blipFill rotWithShape="1">
          <a:blip r:embed="rId9"/>
          <a:srcRect b="5694"/>
          <a:stretch/>
        </p:blipFill>
        <p:spPr>
          <a:xfrm>
            <a:off x="224576" y="1657881"/>
            <a:ext cx="6415798" cy="5200119"/>
          </a:xfrm>
          <a:prstGeom prst="rect">
            <a:avLst/>
          </a:prstGeom>
        </p:spPr>
      </p:pic>
    </p:spTree>
    <p:extLst>
      <p:ext uri="{BB962C8B-B14F-4D97-AF65-F5344CB8AC3E}">
        <p14:creationId xmlns:p14="http://schemas.microsoft.com/office/powerpoint/2010/main" val="6520785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50" name="think-cell Slide" r:id="rId5" imgW="353" imgH="353" progId="TCLayout.ActiveDocument.1">
                  <p:embed/>
                </p:oleObj>
              </mc:Choice>
              <mc:Fallback>
                <p:oleObj name="think-cell Slide" r:id="rId5" imgW="353" imgH="353"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2" name="Group 1"/>
          <p:cNvGrpSpPr/>
          <p:nvPr/>
        </p:nvGrpSpPr>
        <p:grpSpPr>
          <a:xfrm>
            <a:off x="5118538" y="3558"/>
            <a:ext cx="7873321" cy="6873765"/>
            <a:chOff x="5118538" y="-10510"/>
            <a:chExt cx="7873321" cy="6873765"/>
          </a:xfrm>
          <a:solidFill>
            <a:srgbClr val="FBBA00"/>
          </a:solidFill>
        </p:grpSpPr>
        <p:sp>
          <p:nvSpPr>
            <p:cNvPr id="11" name="Freeform: Shape 10"/>
            <p:cNvSpPr/>
            <p:nvPr/>
          </p:nvSpPr>
          <p:spPr>
            <a:xfrm flipH="1">
              <a:off x="5118538" y="-10510"/>
              <a:ext cx="7094481" cy="6873765"/>
            </a:xfrm>
            <a:custGeom>
              <a:avLst/>
              <a:gdLst>
                <a:gd name="connsiteX0" fmla="*/ 0 w 6768662"/>
                <a:gd name="connsiteY0" fmla="*/ 0 h 6873765"/>
                <a:gd name="connsiteX1" fmla="*/ 6001407 w 6768662"/>
                <a:gd name="connsiteY1" fmla="*/ 0 h 6873765"/>
                <a:gd name="connsiteX2" fmla="*/ 6768662 w 6768662"/>
                <a:gd name="connsiteY2" fmla="*/ 0 h 6873765"/>
                <a:gd name="connsiteX3" fmla="*/ 5570482 w 6768662"/>
                <a:gd name="connsiteY3" fmla="*/ 6873765 h 6873765"/>
                <a:gd name="connsiteX4" fmla="*/ 10510 w 6768662"/>
                <a:gd name="connsiteY4" fmla="*/ 6873765 h 6873765"/>
                <a:gd name="connsiteX5" fmla="*/ 10510 w 6768662"/>
                <a:gd name="connsiteY5" fmla="*/ 0 h 6873765"/>
                <a:gd name="connsiteX6" fmla="*/ 0 w 6768662"/>
                <a:gd name="connsiteY6" fmla="*/ 0 h 6873765"/>
                <a:gd name="connsiteX0" fmla="*/ 0 w 6768662"/>
                <a:gd name="connsiteY0" fmla="*/ 0 h 6873765"/>
                <a:gd name="connsiteX1" fmla="*/ 6001407 w 6768662"/>
                <a:gd name="connsiteY1" fmla="*/ 0 h 6873765"/>
                <a:gd name="connsiteX2" fmla="*/ 6768662 w 6768662"/>
                <a:gd name="connsiteY2" fmla="*/ 0 h 6873765"/>
                <a:gd name="connsiteX3" fmla="*/ 5202620 w 6768662"/>
                <a:gd name="connsiteY3" fmla="*/ 6863255 h 6873765"/>
                <a:gd name="connsiteX4" fmla="*/ 10510 w 6768662"/>
                <a:gd name="connsiteY4" fmla="*/ 6873765 h 6873765"/>
                <a:gd name="connsiteX5" fmla="*/ 10510 w 6768662"/>
                <a:gd name="connsiteY5" fmla="*/ 0 h 6873765"/>
                <a:gd name="connsiteX6" fmla="*/ 0 w 6768662"/>
                <a:gd name="connsiteY6" fmla="*/ 0 h 6873765"/>
                <a:gd name="connsiteX0" fmla="*/ 0 w 6768662"/>
                <a:gd name="connsiteY0" fmla="*/ 0 h 6873765"/>
                <a:gd name="connsiteX1" fmla="*/ 6001407 w 6768662"/>
                <a:gd name="connsiteY1" fmla="*/ 0 h 6873765"/>
                <a:gd name="connsiteX2" fmla="*/ 6768662 w 6768662"/>
                <a:gd name="connsiteY2" fmla="*/ 0 h 6873765"/>
                <a:gd name="connsiteX3" fmla="*/ 5160579 w 6768662"/>
                <a:gd name="connsiteY3" fmla="*/ 6873765 h 6873765"/>
                <a:gd name="connsiteX4" fmla="*/ 10510 w 6768662"/>
                <a:gd name="connsiteY4" fmla="*/ 6873765 h 6873765"/>
                <a:gd name="connsiteX5" fmla="*/ 10510 w 6768662"/>
                <a:gd name="connsiteY5" fmla="*/ 0 h 6873765"/>
                <a:gd name="connsiteX6" fmla="*/ 0 w 6768662"/>
                <a:gd name="connsiteY6" fmla="*/ 0 h 6873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8662" h="6873765">
                  <a:moveTo>
                    <a:pt x="0" y="0"/>
                  </a:moveTo>
                  <a:lnTo>
                    <a:pt x="6001407" y="0"/>
                  </a:lnTo>
                  <a:lnTo>
                    <a:pt x="6768662" y="0"/>
                  </a:lnTo>
                  <a:lnTo>
                    <a:pt x="5160579" y="6873765"/>
                  </a:lnTo>
                  <a:lnTo>
                    <a:pt x="10510" y="6873765"/>
                  </a:lnTo>
                  <a:lnTo>
                    <a:pt x="10510" y="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TextBox 14"/>
            <p:cNvSpPr txBox="1"/>
            <p:nvPr/>
          </p:nvSpPr>
          <p:spPr>
            <a:xfrm>
              <a:off x="6758789" y="656533"/>
              <a:ext cx="6233070" cy="646331"/>
            </a:xfrm>
            <a:prstGeom prst="rect">
              <a:avLst/>
            </a:prstGeom>
            <a:noFill/>
          </p:spPr>
          <p:txBody>
            <a:bodyPr wrap="square" rtlCol="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tab pos="1971675" algn="l"/>
                </a:tabLst>
                <a:defRPr/>
              </a:pPr>
              <a:r>
                <a:rPr kumimoji="0" lang="nl-BE" sz="4000" b="0" i="0" u="none" strike="noStrike" kern="1200" cap="none" spc="0" normalizeH="0" baseline="0" noProof="0" dirty="0">
                  <a:ln>
                    <a:noFill/>
                  </a:ln>
                  <a:solidFill>
                    <a:prstClr val="white"/>
                  </a:solidFill>
                  <a:effectLst/>
                  <a:uLnTx/>
                  <a:uFillTx/>
                  <a:latin typeface="Amaranth" panose="02000503000000020004" pitchFamily="50" charset="0"/>
                  <a:ea typeface="+mn-ea"/>
                  <a:cs typeface="Arial" panose="020B0604020202020204" pitchFamily="34" charset="0"/>
                </a:rPr>
                <a:t>Digiregie – observatie </a:t>
              </a:r>
            </a:p>
          </p:txBody>
        </p:sp>
      </p:grpSp>
      <p:sp>
        <p:nvSpPr>
          <p:cNvPr id="33" name="Rechthoek 12">
            <a:extLst>
              <a:ext uri="{FF2B5EF4-FFF2-40B4-BE49-F238E27FC236}">
                <a16:creationId xmlns:a16="http://schemas.microsoft.com/office/drawing/2014/main" id="{316ACA97-44B8-42BF-BB2A-D44205C8AD70}"/>
              </a:ext>
            </a:extLst>
          </p:cNvPr>
          <p:cNvSpPr/>
          <p:nvPr/>
        </p:nvSpPr>
        <p:spPr>
          <a:xfrm>
            <a:off x="6881475" y="1544652"/>
            <a:ext cx="5555226" cy="595035"/>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22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342900" marR="0" lvl="0" indent="-342900" algn="l" defTabSz="914400" rtl="0" eaLnBrk="1" fontAlgn="auto" latinLnBrk="0" hangingPunct="1">
              <a:lnSpc>
                <a:spcPts val="2000"/>
              </a:lnSpc>
              <a:spcBef>
                <a:spcPts val="0"/>
              </a:spcBef>
              <a:spcAft>
                <a:spcPts val="600"/>
              </a:spcAft>
              <a:buClrTx/>
              <a:buSzTx/>
              <a:buFont typeface="Arial" panose="020B0604020202020204" pitchFamily="34" charset="0"/>
              <a:buChar char="•"/>
              <a:tabLst/>
              <a:defRPr/>
            </a:pPr>
            <a:endParaRPr kumimoji="0" lang="nl-BE" sz="22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20" name="TextBox 9">
            <a:extLst>
              <a:ext uri="{FF2B5EF4-FFF2-40B4-BE49-F238E27FC236}">
                <a16:creationId xmlns:a16="http://schemas.microsoft.com/office/drawing/2014/main" id="{C7AA8425-6DE2-48BD-9D9B-550BF08EB454}"/>
              </a:ext>
            </a:extLst>
          </p:cNvPr>
          <p:cNvSpPr txBox="1">
            <a:spLocks noChangeArrowheads="1"/>
          </p:cNvSpPr>
          <p:nvPr/>
        </p:nvSpPr>
        <p:spPr bwMode="auto">
          <a:xfrm>
            <a:off x="414395" y="682432"/>
            <a:ext cx="1429916" cy="369332"/>
          </a:xfrm>
          <a:prstGeom prst="rect">
            <a:avLst/>
          </a:prstGeom>
          <a:noFill/>
          <a:ln w="9525">
            <a:noFill/>
            <a:miter lim="800000"/>
            <a:headEnd/>
            <a:tailEnd/>
          </a:ln>
        </p:spPr>
        <p:txBody>
          <a:bodyPr wrap="square" lIns="0">
            <a:spAutoFit/>
          </a:bodyPr>
          <a:lstStyle/>
          <a:p>
            <a:pPr marL="3174" marR="0" lvl="0" indent="0" algn="l" defTabSz="914400" rtl="0" eaLnBrk="1" fontAlgn="auto" latinLnBrk="0" hangingPunct="1">
              <a:lnSpc>
                <a:spcPct val="90000"/>
              </a:lnSpc>
              <a:spcBef>
                <a:spcPts val="1200"/>
              </a:spcBef>
              <a:spcAft>
                <a:spcPts val="0"/>
              </a:spcAft>
              <a:buClr>
                <a:srgbClr val="5C5C5C"/>
              </a:buClr>
              <a:buSzPct val="80000"/>
              <a:buFontTx/>
              <a:buNone/>
              <a:tabLst/>
              <a:defRPr/>
            </a:pPr>
            <a:r>
              <a:rPr kumimoji="0" lang="nl-BE" sz="2000" b="1" i="0" u="none" strike="noStrike" kern="1200" cap="none" spc="0" normalizeH="0" baseline="0" noProof="0" dirty="0">
                <a:ln>
                  <a:noFill/>
                </a:ln>
                <a:solidFill>
                  <a:prstClr val="white"/>
                </a:solidFill>
                <a:effectLst/>
                <a:uLnTx/>
                <a:uFillTx/>
                <a:latin typeface="Amaranth" panose="02000503000000020004" pitchFamily="50" charset="0"/>
                <a:ea typeface="+mn-ea"/>
                <a:cs typeface="Arial" panose="020B0604020202020204" pitchFamily="34" charset="0"/>
              </a:rPr>
              <a:t>Software</a:t>
            </a:r>
          </a:p>
        </p:txBody>
      </p:sp>
      <p:sp>
        <p:nvSpPr>
          <p:cNvPr id="9" name="Rechthoek 12">
            <a:extLst>
              <a:ext uri="{FF2B5EF4-FFF2-40B4-BE49-F238E27FC236}">
                <a16:creationId xmlns:a16="http://schemas.microsoft.com/office/drawing/2014/main" id="{73D93AD0-8570-4B78-80D5-7D30FDF361D5}"/>
              </a:ext>
            </a:extLst>
          </p:cNvPr>
          <p:cNvSpPr/>
          <p:nvPr/>
        </p:nvSpPr>
        <p:spPr>
          <a:xfrm>
            <a:off x="6881475" y="1656389"/>
            <a:ext cx="5555226" cy="5334794"/>
          </a:xfrm>
          <a:prstGeom prst="rect">
            <a:avLst/>
          </a:prstGeom>
        </p:spPr>
        <p:txBody>
          <a:bodyPr wrap="square" lIns="0" tIns="0" rIns="0" bIns="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2200" dirty="0">
                <a:solidFill>
                  <a:prstClr val="white"/>
                </a:solidFill>
                <a:latin typeface="Calibri" panose="020F0502020204030204"/>
              </a:rPr>
              <a:t>Makkelijk in te voeren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l-NL" sz="2200" dirty="0">
              <a:solidFill>
                <a:prstClr val="white"/>
              </a:solidFill>
              <a:latin typeface="Calibri" panose="020F0502020204030204"/>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2200" dirty="0">
                <a:solidFill>
                  <a:prstClr val="white"/>
                </a:solidFill>
                <a:latin typeface="Calibri" panose="020F0502020204030204"/>
              </a:rPr>
              <a:t>Ook in grafiekweergave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l-NL" sz="2200" dirty="0">
              <a:solidFill>
                <a:prstClr val="white"/>
              </a:solidFill>
              <a:latin typeface="Calibri" panose="020F0502020204030204"/>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2200" dirty="0">
                <a:solidFill>
                  <a:prstClr val="white"/>
                </a:solidFill>
                <a:latin typeface="Calibri" panose="020F0502020204030204"/>
              </a:rPr>
              <a:t>Direct op </a:t>
            </a:r>
            <a:r>
              <a:rPr lang="nl-NL" sz="2200" dirty="0" err="1">
                <a:solidFill>
                  <a:prstClr val="white"/>
                </a:solidFill>
                <a:latin typeface="Calibri" panose="020F0502020204030204"/>
              </a:rPr>
              <a:t>leerlingniveau</a:t>
            </a:r>
            <a:r>
              <a:rPr lang="nl-NL" sz="2200" dirty="0">
                <a:solidFill>
                  <a:prstClr val="white"/>
                </a:solidFill>
                <a:latin typeface="Calibri" panose="020F0502020204030204"/>
              </a:rPr>
              <a:t> of de gehele kla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l-NL" sz="2200" dirty="0">
              <a:solidFill>
                <a:prstClr val="white"/>
              </a:solidFill>
              <a:latin typeface="Calibri" panose="020F0502020204030204"/>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2200" dirty="0">
                <a:solidFill>
                  <a:prstClr val="white"/>
                </a:solidFill>
                <a:latin typeface="Calibri" panose="020F0502020204030204"/>
              </a:rPr>
              <a:t>Per domein in te zien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l-NL" sz="2200" dirty="0">
              <a:solidFill>
                <a:prstClr val="white"/>
              </a:solidFill>
              <a:latin typeface="Calibri" panose="020F0502020204030204"/>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2200" dirty="0">
                <a:solidFill>
                  <a:prstClr val="white"/>
                </a:solidFill>
                <a:latin typeface="Calibri" panose="020F0502020204030204"/>
              </a:rPr>
              <a:t>Alle ontwikkelingsgebieden, domeinen en doelen van het SLO</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22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22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R="0" lvl="0" algn="l" defTabSz="914400" rtl="0" eaLnBrk="1" fontAlgn="auto" latinLnBrk="0" hangingPunct="1">
              <a:lnSpc>
                <a:spcPct val="100000"/>
              </a:lnSpc>
              <a:spcBef>
                <a:spcPts val="0"/>
              </a:spcBef>
              <a:spcAft>
                <a:spcPts val="0"/>
              </a:spcAft>
              <a:buClrTx/>
              <a:buSzTx/>
              <a:tabLst/>
              <a:defRPr/>
            </a:pPr>
            <a:endParaRPr kumimoji="0" lang="nl-NL" sz="22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l-NL" sz="2200" dirty="0">
              <a:solidFill>
                <a:prstClr val="white"/>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22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342900" marR="0" lvl="0" indent="-342900" algn="l" defTabSz="914400" rtl="0" eaLnBrk="1" fontAlgn="auto" latinLnBrk="0" hangingPunct="1">
              <a:lnSpc>
                <a:spcPts val="2000"/>
              </a:lnSpc>
              <a:spcBef>
                <a:spcPts val="0"/>
              </a:spcBef>
              <a:spcAft>
                <a:spcPts val="600"/>
              </a:spcAft>
              <a:buClrTx/>
              <a:buSzTx/>
              <a:buFont typeface="Arial" panose="020B0604020202020204" pitchFamily="34" charset="0"/>
              <a:buChar char="•"/>
              <a:tabLst/>
              <a:defRPr/>
            </a:pPr>
            <a:endParaRPr kumimoji="0" lang="nl-BE" sz="22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14" name="Freeform 41">
            <a:extLst>
              <a:ext uri="{FF2B5EF4-FFF2-40B4-BE49-F238E27FC236}">
                <a16:creationId xmlns:a16="http://schemas.microsoft.com/office/drawing/2014/main" id="{B4630E66-9BEF-49E7-9F85-C5548C30A377}"/>
              </a:ext>
            </a:extLst>
          </p:cNvPr>
          <p:cNvSpPr/>
          <p:nvPr/>
        </p:nvSpPr>
        <p:spPr>
          <a:xfrm rot="845560">
            <a:off x="-82083" y="352836"/>
            <a:ext cx="2164079" cy="1020274"/>
          </a:xfrm>
          <a:custGeom>
            <a:avLst/>
            <a:gdLst>
              <a:gd name="connsiteX0" fmla="*/ 45720 w 1267097"/>
              <a:gd name="connsiteY0" fmla="*/ 378823 h 378823"/>
              <a:gd name="connsiteX1" fmla="*/ 1267097 w 1267097"/>
              <a:gd name="connsiteY1" fmla="*/ 182880 h 378823"/>
              <a:gd name="connsiteX2" fmla="*/ 1267097 w 1267097"/>
              <a:gd name="connsiteY2" fmla="*/ 0 h 378823"/>
              <a:gd name="connsiteX3" fmla="*/ 0 w 1267097"/>
              <a:gd name="connsiteY3" fmla="*/ 189412 h 378823"/>
              <a:gd name="connsiteX4" fmla="*/ 45720 w 1267097"/>
              <a:gd name="connsiteY4" fmla="*/ 378823 h 378823"/>
              <a:gd name="connsiteX0" fmla="*/ 71845 w 1293222"/>
              <a:gd name="connsiteY0" fmla="*/ 378823 h 378823"/>
              <a:gd name="connsiteX1" fmla="*/ 1293222 w 1293222"/>
              <a:gd name="connsiteY1" fmla="*/ 182880 h 378823"/>
              <a:gd name="connsiteX2" fmla="*/ 1293222 w 1293222"/>
              <a:gd name="connsiteY2" fmla="*/ 0 h 378823"/>
              <a:gd name="connsiteX3" fmla="*/ 0 w 1293222"/>
              <a:gd name="connsiteY3" fmla="*/ 130629 h 378823"/>
              <a:gd name="connsiteX4" fmla="*/ 71845 w 1293222"/>
              <a:gd name="connsiteY4" fmla="*/ 378823 h 378823"/>
              <a:gd name="connsiteX0" fmla="*/ 65313 w 1293222"/>
              <a:gd name="connsiteY0" fmla="*/ 398417 h 398417"/>
              <a:gd name="connsiteX1" fmla="*/ 1293222 w 1293222"/>
              <a:gd name="connsiteY1" fmla="*/ 182880 h 398417"/>
              <a:gd name="connsiteX2" fmla="*/ 1293222 w 1293222"/>
              <a:gd name="connsiteY2" fmla="*/ 0 h 398417"/>
              <a:gd name="connsiteX3" fmla="*/ 0 w 1293222"/>
              <a:gd name="connsiteY3" fmla="*/ 130629 h 398417"/>
              <a:gd name="connsiteX4" fmla="*/ 65313 w 1293222"/>
              <a:gd name="connsiteY4" fmla="*/ 398417 h 398417"/>
              <a:gd name="connsiteX0" fmla="*/ 104663 w 1332572"/>
              <a:gd name="connsiteY0" fmla="*/ 488407 h 488407"/>
              <a:gd name="connsiteX1" fmla="*/ 1332572 w 1332572"/>
              <a:gd name="connsiteY1" fmla="*/ 272870 h 488407"/>
              <a:gd name="connsiteX2" fmla="*/ 1332572 w 1332572"/>
              <a:gd name="connsiteY2" fmla="*/ 89990 h 488407"/>
              <a:gd name="connsiteX3" fmla="*/ 0 w 1332572"/>
              <a:gd name="connsiteY3" fmla="*/ 0 h 488407"/>
              <a:gd name="connsiteX4" fmla="*/ 104663 w 1332572"/>
              <a:gd name="connsiteY4" fmla="*/ 488407 h 488407"/>
              <a:gd name="connsiteX0" fmla="*/ 58754 w 1286663"/>
              <a:gd name="connsiteY0" fmla="*/ 488407 h 488407"/>
              <a:gd name="connsiteX1" fmla="*/ 1286663 w 1286663"/>
              <a:gd name="connsiteY1" fmla="*/ 272870 h 488407"/>
              <a:gd name="connsiteX2" fmla="*/ 1286663 w 1286663"/>
              <a:gd name="connsiteY2" fmla="*/ 89990 h 488407"/>
              <a:gd name="connsiteX3" fmla="*/ 0 w 1286663"/>
              <a:gd name="connsiteY3" fmla="*/ 0 h 488407"/>
              <a:gd name="connsiteX4" fmla="*/ 58754 w 1286663"/>
              <a:gd name="connsiteY4" fmla="*/ 488407 h 488407"/>
              <a:gd name="connsiteX0" fmla="*/ 58754 w 1293221"/>
              <a:gd name="connsiteY0" fmla="*/ 574912 h 574912"/>
              <a:gd name="connsiteX1" fmla="*/ 1286663 w 1293221"/>
              <a:gd name="connsiteY1" fmla="*/ 359375 h 574912"/>
              <a:gd name="connsiteX2" fmla="*/ 1293221 w 1293221"/>
              <a:gd name="connsiteY2" fmla="*/ 0 h 574912"/>
              <a:gd name="connsiteX3" fmla="*/ 0 w 1293221"/>
              <a:gd name="connsiteY3" fmla="*/ 86505 h 574912"/>
              <a:gd name="connsiteX4" fmla="*/ 58754 w 1293221"/>
              <a:gd name="connsiteY4" fmla="*/ 574912 h 574912"/>
              <a:gd name="connsiteX0" fmla="*/ 58754 w 1470298"/>
              <a:gd name="connsiteY0" fmla="*/ 574912 h 574912"/>
              <a:gd name="connsiteX1" fmla="*/ 1470298 w 1470298"/>
              <a:gd name="connsiteY1" fmla="*/ 561083 h 574912"/>
              <a:gd name="connsiteX2" fmla="*/ 1293221 w 1470298"/>
              <a:gd name="connsiteY2" fmla="*/ 0 h 574912"/>
              <a:gd name="connsiteX3" fmla="*/ 0 w 1470298"/>
              <a:gd name="connsiteY3" fmla="*/ 86505 h 574912"/>
              <a:gd name="connsiteX4" fmla="*/ 58754 w 1470298"/>
              <a:gd name="connsiteY4" fmla="*/ 574912 h 574912"/>
              <a:gd name="connsiteX0" fmla="*/ 65313 w 1470298"/>
              <a:gd name="connsiteY0" fmla="*/ 795531 h 795531"/>
              <a:gd name="connsiteX1" fmla="*/ 1470298 w 1470298"/>
              <a:gd name="connsiteY1" fmla="*/ 561083 h 795531"/>
              <a:gd name="connsiteX2" fmla="*/ 1293221 w 1470298"/>
              <a:gd name="connsiteY2" fmla="*/ 0 h 795531"/>
              <a:gd name="connsiteX3" fmla="*/ 0 w 1470298"/>
              <a:gd name="connsiteY3" fmla="*/ 86505 h 795531"/>
              <a:gd name="connsiteX4" fmla="*/ 65313 w 1470298"/>
              <a:gd name="connsiteY4" fmla="*/ 795531 h 795531"/>
              <a:gd name="connsiteX0" fmla="*/ 65313 w 1844126"/>
              <a:gd name="connsiteY0" fmla="*/ 795531 h 795531"/>
              <a:gd name="connsiteX1" fmla="*/ 1844126 w 1844126"/>
              <a:gd name="connsiteY1" fmla="*/ 504352 h 795531"/>
              <a:gd name="connsiteX2" fmla="*/ 1293221 w 1844126"/>
              <a:gd name="connsiteY2" fmla="*/ 0 h 795531"/>
              <a:gd name="connsiteX3" fmla="*/ 0 w 1844126"/>
              <a:gd name="connsiteY3" fmla="*/ 86505 h 795531"/>
              <a:gd name="connsiteX4" fmla="*/ 65313 w 1844126"/>
              <a:gd name="connsiteY4" fmla="*/ 795531 h 795531"/>
              <a:gd name="connsiteX0" fmla="*/ 65313 w 1844126"/>
              <a:gd name="connsiteY0" fmla="*/ 845958 h 845958"/>
              <a:gd name="connsiteX1" fmla="*/ 1844126 w 1844126"/>
              <a:gd name="connsiteY1" fmla="*/ 554779 h 845958"/>
              <a:gd name="connsiteX2" fmla="*/ 1621141 w 1844126"/>
              <a:gd name="connsiteY2" fmla="*/ 0 h 845958"/>
              <a:gd name="connsiteX3" fmla="*/ 0 w 1844126"/>
              <a:gd name="connsiteY3" fmla="*/ 136932 h 845958"/>
              <a:gd name="connsiteX4" fmla="*/ 65313 w 1844126"/>
              <a:gd name="connsiteY4" fmla="*/ 845958 h 845958"/>
              <a:gd name="connsiteX0" fmla="*/ 65313 w 1844126"/>
              <a:gd name="connsiteY0" fmla="*/ 864868 h 864868"/>
              <a:gd name="connsiteX1" fmla="*/ 1844126 w 1844126"/>
              <a:gd name="connsiteY1" fmla="*/ 573689 h 864868"/>
              <a:gd name="connsiteX2" fmla="*/ 1621141 w 1844126"/>
              <a:gd name="connsiteY2" fmla="*/ 0 h 864868"/>
              <a:gd name="connsiteX3" fmla="*/ 0 w 1844126"/>
              <a:gd name="connsiteY3" fmla="*/ 155842 h 864868"/>
              <a:gd name="connsiteX4" fmla="*/ 65313 w 1844126"/>
              <a:gd name="connsiteY4" fmla="*/ 864868 h 864868"/>
              <a:gd name="connsiteX0" fmla="*/ 65313 w 1686724"/>
              <a:gd name="connsiteY0" fmla="*/ 864868 h 864868"/>
              <a:gd name="connsiteX1" fmla="*/ 1686724 w 1686724"/>
              <a:gd name="connsiteY1" fmla="*/ 561082 h 864868"/>
              <a:gd name="connsiteX2" fmla="*/ 1621141 w 1686724"/>
              <a:gd name="connsiteY2" fmla="*/ 0 h 864868"/>
              <a:gd name="connsiteX3" fmla="*/ 0 w 1686724"/>
              <a:gd name="connsiteY3" fmla="*/ 155842 h 864868"/>
              <a:gd name="connsiteX4" fmla="*/ 65313 w 1686724"/>
              <a:gd name="connsiteY4" fmla="*/ 864868 h 864868"/>
              <a:gd name="connsiteX0" fmla="*/ 39079 w 1660490"/>
              <a:gd name="connsiteY0" fmla="*/ 864868 h 864868"/>
              <a:gd name="connsiteX1" fmla="*/ 1660490 w 1660490"/>
              <a:gd name="connsiteY1" fmla="*/ 561082 h 864868"/>
              <a:gd name="connsiteX2" fmla="*/ 1594907 w 1660490"/>
              <a:gd name="connsiteY2" fmla="*/ 0 h 864868"/>
              <a:gd name="connsiteX3" fmla="*/ 0 w 1660490"/>
              <a:gd name="connsiteY3" fmla="*/ 351248 h 864868"/>
              <a:gd name="connsiteX4" fmla="*/ 39079 w 1660490"/>
              <a:gd name="connsiteY4" fmla="*/ 864868 h 864868"/>
              <a:gd name="connsiteX0" fmla="*/ 39079 w 1857243"/>
              <a:gd name="connsiteY0" fmla="*/ 719889 h 719889"/>
              <a:gd name="connsiteX1" fmla="*/ 1660490 w 1857243"/>
              <a:gd name="connsiteY1" fmla="*/ 416103 h 719889"/>
              <a:gd name="connsiteX2" fmla="*/ 1857243 w 1857243"/>
              <a:gd name="connsiteY2" fmla="*/ 0 h 719889"/>
              <a:gd name="connsiteX3" fmla="*/ 0 w 1857243"/>
              <a:gd name="connsiteY3" fmla="*/ 206269 h 719889"/>
              <a:gd name="connsiteX4" fmla="*/ 39079 w 1857243"/>
              <a:gd name="connsiteY4" fmla="*/ 719889 h 719889"/>
              <a:gd name="connsiteX0" fmla="*/ 39079 w 1909709"/>
              <a:gd name="connsiteY0" fmla="*/ 719889 h 719889"/>
              <a:gd name="connsiteX1" fmla="*/ 1909709 w 1909709"/>
              <a:gd name="connsiteY1" fmla="*/ 208090 h 719889"/>
              <a:gd name="connsiteX2" fmla="*/ 1857243 w 1909709"/>
              <a:gd name="connsiteY2" fmla="*/ 0 h 719889"/>
              <a:gd name="connsiteX3" fmla="*/ 0 w 1909709"/>
              <a:gd name="connsiteY3" fmla="*/ 206269 h 719889"/>
              <a:gd name="connsiteX4" fmla="*/ 39079 w 1909709"/>
              <a:gd name="connsiteY4" fmla="*/ 719889 h 719889"/>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206269 h 511876"/>
              <a:gd name="connsiteX4" fmla="*/ 39079 w 1909709"/>
              <a:gd name="connsiteY4" fmla="*/ 511876 h 511876"/>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121173 h 511876"/>
              <a:gd name="connsiteX4" fmla="*/ 39079 w 1909709"/>
              <a:gd name="connsiteY4" fmla="*/ 511876 h 511876"/>
              <a:gd name="connsiteX0" fmla="*/ 39079 w 1857243"/>
              <a:gd name="connsiteY0" fmla="*/ 511876 h 511876"/>
              <a:gd name="connsiteX1" fmla="*/ 1748372 w 1857243"/>
              <a:gd name="connsiteY1" fmla="*/ 309201 h 511876"/>
              <a:gd name="connsiteX2" fmla="*/ 1857243 w 1857243"/>
              <a:gd name="connsiteY2" fmla="*/ 0 h 511876"/>
              <a:gd name="connsiteX3" fmla="*/ 0 w 1857243"/>
              <a:gd name="connsiteY3" fmla="*/ 121173 h 511876"/>
              <a:gd name="connsiteX4" fmla="*/ 39079 w 1857243"/>
              <a:gd name="connsiteY4" fmla="*/ 511876 h 511876"/>
              <a:gd name="connsiteX0" fmla="*/ 39079 w 1748372"/>
              <a:gd name="connsiteY0" fmla="*/ 499237 h 499237"/>
              <a:gd name="connsiteX1" fmla="*/ 1748372 w 1748372"/>
              <a:gd name="connsiteY1" fmla="*/ 296562 h 499237"/>
              <a:gd name="connsiteX2" fmla="*/ 1723965 w 1748372"/>
              <a:gd name="connsiteY2" fmla="*/ 0 h 499237"/>
              <a:gd name="connsiteX3" fmla="*/ 0 w 1748372"/>
              <a:gd name="connsiteY3" fmla="*/ 108534 h 499237"/>
              <a:gd name="connsiteX4" fmla="*/ 39079 w 1748372"/>
              <a:gd name="connsiteY4" fmla="*/ 499237 h 499237"/>
              <a:gd name="connsiteX0" fmla="*/ 95196 w 1748372"/>
              <a:gd name="connsiteY0" fmla="*/ 451841 h 451841"/>
              <a:gd name="connsiteX1" fmla="*/ 1748372 w 1748372"/>
              <a:gd name="connsiteY1" fmla="*/ 296562 h 451841"/>
              <a:gd name="connsiteX2" fmla="*/ 1723965 w 1748372"/>
              <a:gd name="connsiteY2" fmla="*/ 0 h 451841"/>
              <a:gd name="connsiteX3" fmla="*/ 0 w 1748372"/>
              <a:gd name="connsiteY3" fmla="*/ 108534 h 451841"/>
              <a:gd name="connsiteX4" fmla="*/ 95196 w 1748372"/>
              <a:gd name="connsiteY4" fmla="*/ 451841 h 451841"/>
              <a:gd name="connsiteX0" fmla="*/ 95196 w 1723965"/>
              <a:gd name="connsiteY0" fmla="*/ 451841 h 451841"/>
              <a:gd name="connsiteX1" fmla="*/ 1713299 w 1723965"/>
              <a:gd name="connsiteY1" fmla="*/ 315520 h 451841"/>
              <a:gd name="connsiteX2" fmla="*/ 1723965 w 1723965"/>
              <a:gd name="connsiteY2" fmla="*/ 0 h 451841"/>
              <a:gd name="connsiteX3" fmla="*/ 0 w 1723965"/>
              <a:gd name="connsiteY3" fmla="*/ 108534 h 451841"/>
              <a:gd name="connsiteX4" fmla="*/ 95196 w 1723965"/>
              <a:gd name="connsiteY4" fmla="*/ 451841 h 451841"/>
              <a:gd name="connsiteX0" fmla="*/ 95196 w 1713299"/>
              <a:gd name="connsiteY0" fmla="*/ 455001 h 455001"/>
              <a:gd name="connsiteX1" fmla="*/ 1713299 w 1713299"/>
              <a:gd name="connsiteY1" fmla="*/ 318680 h 455001"/>
              <a:gd name="connsiteX2" fmla="*/ 1667848 w 1713299"/>
              <a:gd name="connsiteY2" fmla="*/ 0 h 455001"/>
              <a:gd name="connsiteX3" fmla="*/ 0 w 1713299"/>
              <a:gd name="connsiteY3" fmla="*/ 111694 h 455001"/>
              <a:gd name="connsiteX4" fmla="*/ 95196 w 1713299"/>
              <a:gd name="connsiteY4" fmla="*/ 455001 h 455001"/>
              <a:gd name="connsiteX0" fmla="*/ 67137 w 1685240"/>
              <a:gd name="connsiteY0" fmla="*/ 455001 h 455001"/>
              <a:gd name="connsiteX1" fmla="*/ 1685240 w 1685240"/>
              <a:gd name="connsiteY1" fmla="*/ 318680 h 455001"/>
              <a:gd name="connsiteX2" fmla="*/ 1639789 w 1685240"/>
              <a:gd name="connsiteY2" fmla="*/ 0 h 455001"/>
              <a:gd name="connsiteX3" fmla="*/ 0 w 1685240"/>
              <a:gd name="connsiteY3" fmla="*/ 130652 h 455001"/>
              <a:gd name="connsiteX4" fmla="*/ 67137 w 1685240"/>
              <a:gd name="connsiteY4" fmla="*/ 455001 h 455001"/>
              <a:gd name="connsiteX0" fmla="*/ 67137 w 1667473"/>
              <a:gd name="connsiteY0" fmla="*/ 455001 h 455001"/>
              <a:gd name="connsiteX1" fmla="*/ 1667473 w 1667473"/>
              <a:gd name="connsiteY1" fmla="*/ 242054 h 455001"/>
              <a:gd name="connsiteX2" fmla="*/ 1639789 w 1667473"/>
              <a:gd name="connsiteY2" fmla="*/ 0 h 455001"/>
              <a:gd name="connsiteX3" fmla="*/ 0 w 1667473"/>
              <a:gd name="connsiteY3" fmla="*/ 130652 h 455001"/>
              <a:gd name="connsiteX4" fmla="*/ 67137 w 1667473"/>
              <a:gd name="connsiteY4" fmla="*/ 455001 h 455001"/>
              <a:gd name="connsiteX0" fmla="*/ 100217 w 1700553"/>
              <a:gd name="connsiteY0" fmla="*/ 455001 h 455001"/>
              <a:gd name="connsiteX1" fmla="*/ 1700553 w 1700553"/>
              <a:gd name="connsiteY1" fmla="*/ 242054 h 455001"/>
              <a:gd name="connsiteX2" fmla="*/ 1672869 w 1700553"/>
              <a:gd name="connsiteY2" fmla="*/ 0 h 455001"/>
              <a:gd name="connsiteX3" fmla="*/ 0 w 1700553"/>
              <a:gd name="connsiteY3" fmla="*/ 205540 h 455001"/>
              <a:gd name="connsiteX4" fmla="*/ 100217 w 1700553"/>
              <a:gd name="connsiteY4" fmla="*/ 455001 h 455001"/>
              <a:gd name="connsiteX0" fmla="*/ 100217 w 1700553"/>
              <a:gd name="connsiteY0" fmla="*/ 366878 h 366878"/>
              <a:gd name="connsiteX1" fmla="*/ 1700553 w 1700553"/>
              <a:gd name="connsiteY1" fmla="*/ 153931 h 366878"/>
              <a:gd name="connsiteX2" fmla="*/ 1588975 w 1700553"/>
              <a:gd name="connsiteY2" fmla="*/ 0 h 366878"/>
              <a:gd name="connsiteX3" fmla="*/ 0 w 1700553"/>
              <a:gd name="connsiteY3" fmla="*/ 117417 h 366878"/>
              <a:gd name="connsiteX4" fmla="*/ 100217 w 1700553"/>
              <a:gd name="connsiteY4" fmla="*/ 366878 h 366878"/>
              <a:gd name="connsiteX0" fmla="*/ 115726 w 1700553"/>
              <a:gd name="connsiteY0" fmla="*/ 305211 h 305211"/>
              <a:gd name="connsiteX1" fmla="*/ 1700553 w 1700553"/>
              <a:gd name="connsiteY1" fmla="*/ 153931 h 305211"/>
              <a:gd name="connsiteX2" fmla="*/ 1588975 w 1700553"/>
              <a:gd name="connsiteY2" fmla="*/ 0 h 305211"/>
              <a:gd name="connsiteX3" fmla="*/ 0 w 1700553"/>
              <a:gd name="connsiteY3" fmla="*/ 117417 h 305211"/>
              <a:gd name="connsiteX4" fmla="*/ 115726 w 1700553"/>
              <a:gd name="connsiteY4" fmla="*/ 305211 h 305211"/>
              <a:gd name="connsiteX0" fmla="*/ 115726 w 1700553"/>
              <a:gd name="connsiteY0" fmla="*/ 321895 h 321895"/>
              <a:gd name="connsiteX1" fmla="*/ 1700553 w 1700553"/>
              <a:gd name="connsiteY1" fmla="*/ 170615 h 321895"/>
              <a:gd name="connsiteX2" fmla="*/ 1471607 w 1700553"/>
              <a:gd name="connsiteY2" fmla="*/ 0 h 321895"/>
              <a:gd name="connsiteX3" fmla="*/ 0 w 1700553"/>
              <a:gd name="connsiteY3" fmla="*/ 134101 h 321895"/>
              <a:gd name="connsiteX4" fmla="*/ 115726 w 1700553"/>
              <a:gd name="connsiteY4" fmla="*/ 321895 h 321895"/>
              <a:gd name="connsiteX0" fmla="*/ 115726 w 1581352"/>
              <a:gd name="connsiteY0" fmla="*/ 321895 h 321895"/>
              <a:gd name="connsiteX1" fmla="*/ 1581352 w 1581352"/>
              <a:gd name="connsiteY1" fmla="*/ 210307 h 321895"/>
              <a:gd name="connsiteX2" fmla="*/ 1471607 w 1581352"/>
              <a:gd name="connsiteY2" fmla="*/ 0 h 321895"/>
              <a:gd name="connsiteX3" fmla="*/ 0 w 1581352"/>
              <a:gd name="connsiteY3" fmla="*/ 134101 h 321895"/>
              <a:gd name="connsiteX4" fmla="*/ 115726 w 1581352"/>
              <a:gd name="connsiteY4" fmla="*/ 321895 h 321895"/>
              <a:gd name="connsiteX0" fmla="*/ 92298 w 1557924"/>
              <a:gd name="connsiteY0" fmla="*/ 321895 h 321895"/>
              <a:gd name="connsiteX1" fmla="*/ 1557924 w 1557924"/>
              <a:gd name="connsiteY1" fmla="*/ 210307 h 321895"/>
              <a:gd name="connsiteX2" fmla="*/ 1448179 w 1557924"/>
              <a:gd name="connsiteY2" fmla="*/ 0 h 321895"/>
              <a:gd name="connsiteX3" fmla="*/ 0 w 1557924"/>
              <a:gd name="connsiteY3" fmla="*/ 116473 h 321895"/>
              <a:gd name="connsiteX4" fmla="*/ 92298 w 1557924"/>
              <a:gd name="connsiteY4" fmla="*/ 321895 h 321895"/>
              <a:gd name="connsiteX0" fmla="*/ 152961 w 1557924"/>
              <a:gd name="connsiteY0" fmla="*/ 341247 h 341247"/>
              <a:gd name="connsiteX1" fmla="*/ 1557924 w 1557924"/>
              <a:gd name="connsiteY1" fmla="*/ 210307 h 341247"/>
              <a:gd name="connsiteX2" fmla="*/ 1448179 w 1557924"/>
              <a:gd name="connsiteY2" fmla="*/ 0 h 341247"/>
              <a:gd name="connsiteX3" fmla="*/ 0 w 1557924"/>
              <a:gd name="connsiteY3" fmla="*/ 116473 h 341247"/>
              <a:gd name="connsiteX4" fmla="*/ 152961 w 1557924"/>
              <a:gd name="connsiteY4" fmla="*/ 341247 h 341247"/>
              <a:gd name="connsiteX0" fmla="*/ 135357 w 1557924"/>
              <a:gd name="connsiteY0" fmla="*/ 339493 h 339493"/>
              <a:gd name="connsiteX1" fmla="*/ 1557924 w 1557924"/>
              <a:gd name="connsiteY1" fmla="*/ 210307 h 339493"/>
              <a:gd name="connsiteX2" fmla="*/ 1448179 w 1557924"/>
              <a:gd name="connsiteY2" fmla="*/ 0 h 339493"/>
              <a:gd name="connsiteX3" fmla="*/ 0 w 1557924"/>
              <a:gd name="connsiteY3" fmla="*/ 116473 h 339493"/>
              <a:gd name="connsiteX4" fmla="*/ 135357 w 1557924"/>
              <a:gd name="connsiteY4" fmla="*/ 339493 h 339493"/>
              <a:gd name="connsiteX0" fmla="*/ 109934 w 1532501"/>
              <a:gd name="connsiteY0" fmla="*/ 339493 h 339493"/>
              <a:gd name="connsiteX1" fmla="*/ 1532501 w 1532501"/>
              <a:gd name="connsiteY1" fmla="*/ 210307 h 339493"/>
              <a:gd name="connsiteX2" fmla="*/ 1422756 w 1532501"/>
              <a:gd name="connsiteY2" fmla="*/ 0 h 339493"/>
              <a:gd name="connsiteX3" fmla="*/ 0 w 1532501"/>
              <a:gd name="connsiteY3" fmla="*/ 117343 h 339493"/>
              <a:gd name="connsiteX4" fmla="*/ 109934 w 1532501"/>
              <a:gd name="connsiteY4" fmla="*/ 339493 h 339493"/>
              <a:gd name="connsiteX0" fmla="*/ 133525 w 1556092"/>
              <a:gd name="connsiteY0" fmla="*/ 339493 h 339493"/>
              <a:gd name="connsiteX1" fmla="*/ 1556092 w 1556092"/>
              <a:gd name="connsiteY1" fmla="*/ 210307 h 339493"/>
              <a:gd name="connsiteX2" fmla="*/ 1446347 w 1556092"/>
              <a:gd name="connsiteY2" fmla="*/ 0 h 339493"/>
              <a:gd name="connsiteX3" fmla="*/ 0 w 1556092"/>
              <a:gd name="connsiteY3" fmla="*/ 60098 h 339493"/>
              <a:gd name="connsiteX4" fmla="*/ 133525 w 1556092"/>
              <a:gd name="connsiteY4" fmla="*/ 339493 h 339493"/>
              <a:gd name="connsiteX0" fmla="*/ 133525 w 2343667"/>
              <a:gd name="connsiteY0" fmla="*/ 459688 h 459688"/>
              <a:gd name="connsiteX1" fmla="*/ 1556092 w 2343667"/>
              <a:gd name="connsiteY1" fmla="*/ 330502 h 459688"/>
              <a:gd name="connsiteX2" fmla="*/ 2343667 w 2343667"/>
              <a:gd name="connsiteY2" fmla="*/ 0 h 459688"/>
              <a:gd name="connsiteX3" fmla="*/ 0 w 2343667"/>
              <a:gd name="connsiteY3" fmla="*/ 180293 h 459688"/>
              <a:gd name="connsiteX4" fmla="*/ 133525 w 2343667"/>
              <a:gd name="connsiteY4" fmla="*/ 459688 h 459688"/>
              <a:gd name="connsiteX0" fmla="*/ 133525 w 2391079"/>
              <a:gd name="connsiteY0" fmla="*/ 459688 h 459688"/>
              <a:gd name="connsiteX1" fmla="*/ 2391079 w 2391079"/>
              <a:gd name="connsiteY1" fmla="*/ 322204 h 459688"/>
              <a:gd name="connsiteX2" fmla="*/ 2343667 w 2391079"/>
              <a:gd name="connsiteY2" fmla="*/ 0 h 459688"/>
              <a:gd name="connsiteX3" fmla="*/ 0 w 2391079"/>
              <a:gd name="connsiteY3" fmla="*/ 180293 h 459688"/>
              <a:gd name="connsiteX4" fmla="*/ 133525 w 2391079"/>
              <a:gd name="connsiteY4" fmla="*/ 459688 h 459688"/>
              <a:gd name="connsiteX0" fmla="*/ 159047 w 2391079"/>
              <a:gd name="connsiteY0" fmla="*/ 505482 h 505482"/>
              <a:gd name="connsiteX1" fmla="*/ 2391079 w 2391079"/>
              <a:gd name="connsiteY1" fmla="*/ 322204 h 505482"/>
              <a:gd name="connsiteX2" fmla="*/ 2343667 w 2391079"/>
              <a:gd name="connsiteY2" fmla="*/ 0 h 505482"/>
              <a:gd name="connsiteX3" fmla="*/ 0 w 2391079"/>
              <a:gd name="connsiteY3" fmla="*/ 180293 h 505482"/>
              <a:gd name="connsiteX4" fmla="*/ 159047 w 2391079"/>
              <a:gd name="connsiteY4" fmla="*/ 505482 h 505482"/>
              <a:gd name="connsiteX0" fmla="*/ 159047 w 2391079"/>
              <a:gd name="connsiteY0" fmla="*/ 518659 h 518659"/>
              <a:gd name="connsiteX1" fmla="*/ 2391079 w 2391079"/>
              <a:gd name="connsiteY1" fmla="*/ 335381 h 518659"/>
              <a:gd name="connsiteX2" fmla="*/ 2261507 w 2391079"/>
              <a:gd name="connsiteY2" fmla="*/ 0 h 518659"/>
              <a:gd name="connsiteX3" fmla="*/ 0 w 2391079"/>
              <a:gd name="connsiteY3" fmla="*/ 193470 h 518659"/>
              <a:gd name="connsiteX4" fmla="*/ 159047 w 2391079"/>
              <a:gd name="connsiteY4" fmla="*/ 518659 h 518659"/>
              <a:gd name="connsiteX0" fmla="*/ 159047 w 2513813"/>
              <a:gd name="connsiteY0" fmla="*/ 498511 h 498511"/>
              <a:gd name="connsiteX1" fmla="*/ 2391079 w 2513813"/>
              <a:gd name="connsiteY1" fmla="*/ 315233 h 498511"/>
              <a:gd name="connsiteX2" fmla="*/ 2513813 w 2513813"/>
              <a:gd name="connsiteY2" fmla="*/ 0 h 498511"/>
              <a:gd name="connsiteX3" fmla="*/ 0 w 2513813"/>
              <a:gd name="connsiteY3" fmla="*/ 173322 h 498511"/>
              <a:gd name="connsiteX4" fmla="*/ 159047 w 2513813"/>
              <a:gd name="connsiteY4" fmla="*/ 498511 h 498511"/>
              <a:gd name="connsiteX0" fmla="*/ 159047 w 2547383"/>
              <a:gd name="connsiteY0" fmla="*/ 498511 h 498511"/>
              <a:gd name="connsiteX1" fmla="*/ 2547383 w 2547383"/>
              <a:gd name="connsiteY1" fmla="*/ 252623 h 498511"/>
              <a:gd name="connsiteX2" fmla="*/ 2513813 w 2547383"/>
              <a:gd name="connsiteY2" fmla="*/ 0 h 498511"/>
              <a:gd name="connsiteX3" fmla="*/ 0 w 2547383"/>
              <a:gd name="connsiteY3" fmla="*/ 173322 h 498511"/>
              <a:gd name="connsiteX4" fmla="*/ 159047 w 2547383"/>
              <a:gd name="connsiteY4" fmla="*/ 498511 h 498511"/>
              <a:gd name="connsiteX0" fmla="*/ 164772 w 2553108"/>
              <a:gd name="connsiteY0" fmla="*/ 498511 h 498511"/>
              <a:gd name="connsiteX1" fmla="*/ 2553108 w 2553108"/>
              <a:gd name="connsiteY1" fmla="*/ 252623 h 498511"/>
              <a:gd name="connsiteX2" fmla="*/ 2519538 w 2553108"/>
              <a:gd name="connsiteY2" fmla="*/ 0 h 498511"/>
              <a:gd name="connsiteX3" fmla="*/ 0 w 2553108"/>
              <a:gd name="connsiteY3" fmla="*/ 237627 h 498511"/>
              <a:gd name="connsiteX4" fmla="*/ 164772 w 2553108"/>
              <a:gd name="connsiteY4" fmla="*/ 498511 h 498511"/>
              <a:gd name="connsiteX0" fmla="*/ 102113 w 2553108"/>
              <a:gd name="connsiteY0" fmla="*/ 460662 h 460662"/>
              <a:gd name="connsiteX1" fmla="*/ 2553108 w 2553108"/>
              <a:gd name="connsiteY1" fmla="*/ 252623 h 460662"/>
              <a:gd name="connsiteX2" fmla="*/ 2519538 w 2553108"/>
              <a:gd name="connsiteY2" fmla="*/ 0 h 460662"/>
              <a:gd name="connsiteX3" fmla="*/ 0 w 2553108"/>
              <a:gd name="connsiteY3" fmla="*/ 237627 h 460662"/>
              <a:gd name="connsiteX4" fmla="*/ 102113 w 2553108"/>
              <a:gd name="connsiteY4" fmla="*/ 460662 h 460662"/>
              <a:gd name="connsiteX0" fmla="*/ 102113 w 2553108"/>
              <a:gd name="connsiteY0" fmla="*/ 424537 h 424537"/>
              <a:gd name="connsiteX1" fmla="*/ 2553108 w 2553108"/>
              <a:gd name="connsiteY1" fmla="*/ 216498 h 424537"/>
              <a:gd name="connsiteX2" fmla="*/ 2498106 w 2553108"/>
              <a:gd name="connsiteY2" fmla="*/ 0 h 424537"/>
              <a:gd name="connsiteX3" fmla="*/ 0 w 2553108"/>
              <a:gd name="connsiteY3" fmla="*/ 201502 h 424537"/>
              <a:gd name="connsiteX4" fmla="*/ 102113 w 2553108"/>
              <a:gd name="connsiteY4" fmla="*/ 424537 h 424537"/>
              <a:gd name="connsiteX0" fmla="*/ 90333 w 2553108"/>
              <a:gd name="connsiteY0" fmla="*/ 403402 h 403402"/>
              <a:gd name="connsiteX1" fmla="*/ 2553108 w 2553108"/>
              <a:gd name="connsiteY1" fmla="*/ 216498 h 403402"/>
              <a:gd name="connsiteX2" fmla="*/ 2498106 w 2553108"/>
              <a:gd name="connsiteY2" fmla="*/ 0 h 403402"/>
              <a:gd name="connsiteX3" fmla="*/ 0 w 2553108"/>
              <a:gd name="connsiteY3" fmla="*/ 201502 h 403402"/>
              <a:gd name="connsiteX4" fmla="*/ 90333 w 2553108"/>
              <a:gd name="connsiteY4" fmla="*/ 403402 h 403402"/>
              <a:gd name="connsiteX0" fmla="*/ 60951 w 2523726"/>
              <a:gd name="connsiteY0" fmla="*/ 403402 h 403402"/>
              <a:gd name="connsiteX1" fmla="*/ 2523726 w 2523726"/>
              <a:gd name="connsiteY1" fmla="*/ 216498 h 403402"/>
              <a:gd name="connsiteX2" fmla="*/ 2468724 w 2523726"/>
              <a:gd name="connsiteY2" fmla="*/ 0 h 403402"/>
              <a:gd name="connsiteX3" fmla="*/ 0 w 2523726"/>
              <a:gd name="connsiteY3" fmla="*/ 224392 h 403402"/>
              <a:gd name="connsiteX4" fmla="*/ 60951 w 2523726"/>
              <a:gd name="connsiteY4" fmla="*/ 403402 h 40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3726" h="403402">
                <a:moveTo>
                  <a:pt x="60951" y="403402"/>
                </a:moveTo>
                <a:lnTo>
                  <a:pt x="2523726" y="216498"/>
                </a:lnTo>
                <a:lnTo>
                  <a:pt x="2468724" y="0"/>
                </a:lnTo>
                <a:lnTo>
                  <a:pt x="0" y="224392"/>
                </a:lnTo>
                <a:lnTo>
                  <a:pt x="60951" y="403402"/>
                </a:lnTo>
                <a:close/>
              </a:path>
            </a:pathLst>
          </a:custGeom>
          <a:solidFill>
            <a:schemeClr val="bg1"/>
          </a:solidFill>
          <a:ln>
            <a:noFill/>
          </a:ln>
          <a:effectLst>
            <a:outerShdw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solidFill>
                <a:schemeClr val="accent4"/>
              </a:solidFill>
            </a:endParaRPr>
          </a:p>
        </p:txBody>
      </p:sp>
      <p:sp>
        <p:nvSpPr>
          <p:cNvPr id="16" name="TextBox 9">
            <a:extLst>
              <a:ext uri="{FF2B5EF4-FFF2-40B4-BE49-F238E27FC236}">
                <a16:creationId xmlns:a16="http://schemas.microsoft.com/office/drawing/2014/main" id="{7C401291-329A-4D2A-ADEC-1F72AB09E2EC}"/>
              </a:ext>
            </a:extLst>
          </p:cNvPr>
          <p:cNvSpPr txBox="1">
            <a:spLocks noChangeArrowheads="1"/>
          </p:cNvSpPr>
          <p:nvPr/>
        </p:nvSpPr>
        <p:spPr bwMode="auto">
          <a:xfrm>
            <a:off x="224576" y="678307"/>
            <a:ext cx="2485989" cy="369332"/>
          </a:xfrm>
          <a:prstGeom prst="rect">
            <a:avLst/>
          </a:prstGeom>
          <a:noFill/>
          <a:ln w="9525">
            <a:noFill/>
            <a:miter lim="800000"/>
            <a:headEnd/>
            <a:tailEnd/>
          </a:ln>
          <a:effectLst/>
        </p:spPr>
        <p:txBody>
          <a:bodyPr wrap="square" lIns="0">
            <a:spAutoFit/>
          </a:bodyPr>
          <a:lstStyle/>
          <a:p>
            <a:pPr marL="3174">
              <a:lnSpc>
                <a:spcPct val="90000"/>
              </a:lnSpc>
              <a:spcBef>
                <a:spcPts val="1200"/>
              </a:spcBef>
              <a:buClr>
                <a:srgbClr val="5C5C5C"/>
              </a:buClr>
              <a:buSzPct val="80000"/>
            </a:pPr>
            <a:r>
              <a:rPr lang="nl-BE" sz="2000" b="1" dirty="0">
                <a:solidFill>
                  <a:srgbClr val="FFC000"/>
                </a:solidFill>
                <a:latin typeface="Amaranth" panose="02000503000000020004" pitchFamily="50" charset="0"/>
                <a:cs typeface="Arial" panose="020B0604020202020204" pitchFamily="34" charset="0"/>
              </a:rPr>
              <a:t>Software</a:t>
            </a:r>
          </a:p>
        </p:txBody>
      </p:sp>
      <p:pic>
        <p:nvPicPr>
          <p:cNvPr id="17" name="Afbeelding 16">
            <a:extLst>
              <a:ext uri="{FF2B5EF4-FFF2-40B4-BE49-F238E27FC236}">
                <a16:creationId xmlns:a16="http://schemas.microsoft.com/office/drawing/2014/main" id="{6114030F-0EA3-457D-9806-D76DF030D36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294831" y="6164016"/>
            <a:ext cx="724228" cy="563044"/>
          </a:xfrm>
          <a:prstGeom prst="rect">
            <a:avLst/>
          </a:prstGeom>
        </p:spPr>
      </p:pic>
      <p:pic>
        <p:nvPicPr>
          <p:cNvPr id="13" name="Afbeelding 12">
            <a:extLst>
              <a:ext uri="{FF2B5EF4-FFF2-40B4-BE49-F238E27FC236}">
                <a16:creationId xmlns:a16="http://schemas.microsoft.com/office/drawing/2014/main" id="{AD67F6E9-B26F-487E-A9C5-C85E1DA23840}"/>
              </a:ext>
            </a:extLst>
          </p:cNvPr>
          <p:cNvPicPr>
            <a:picLocks noChangeAspect="1"/>
          </p:cNvPicPr>
          <p:nvPr/>
        </p:nvPicPr>
        <p:blipFill>
          <a:blip r:embed="rId9"/>
          <a:stretch>
            <a:fillRect/>
          </a:stretch>
        </p:blipFill>
        <p:spPr>
          <a:xfrm>
            <a:off x="243588" y="1746686"/>
            <a:ext cx="6475674" cy="3869610"/>
          </a:xfrm>
          <a:prstGeom prst="rect">
            <a:avLst/>
          </a:prstGeom>
        </p:spPr>
      </p:pic>
      <p:pic>
        <p:nvPicPr>
          <p:cNvPr id="18" name="Afbeelding 17">
            <a:extLst>
              <a:ext uri="{FF2B5EF4-FFF2-40B4-BE49-F238E27FC236}">
                <a16:creationId xmlns:a16="http://schemas.microsoft.com/office/drawing/2014/main" id="{9F1B1C38-3BE7-417F-A619-DDDF45227449}"/>
              </a:ext>
            </a:extLst>
          </p:cNvPr>
          <p:cNvPicPr>
            <a:picLocks noChangeAspect="1"/>
          </p:cNvPicPr>
          <p:nvPr/>
        </p:nvPicPr>
        <p:blipFill>
          <a:blip r:embed="rId10"/>
          <a:stretch>
            <a:fillRect/>
          </a:stretch>
        </p:blipFill>
        <p:spPr>
          <a:xfrm>
            <a:off x="243588" y="1730613"/>
            <a:ext cx="6475674" cy="3885683"/>
          </a:xfrm>
          <a:prstGeom prst="rect">
            <a:avLst/>
          </a:prstGeom>
        </p:spPr>
      </p:pic>
    </p:spTree>
    <p:extLst>
      <p:ext uri="{BB962C8B-B14F-4D97-AF65-F5344CB8AC3E}">
        <p14:creationId xmlns:p14="http://schemas.microsoft.com/office/powerpoint/2010/main" val="3047992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91" name="think-cell Slide" r:id="rId5" imgW="353" imgH="353" progId="TCLayout.ActiveDocument.1">
                  <p:embed/>
                </p:oleObj>
              </mc:Choice>
              <mc:Fallback>
                <p:oleObj name="think-cell Slide" r:id="rId5" imgW="353" imgH="353"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2" name="Group 1"/>
          <p:cNvGrpSpPr/>
          <p:nvPr/>
        </p:nvGrpSpPr>
        <p:grpSpPr>
          <a:xfrm>
            <a:off x="5118538" y="3558"/>
            <a:ext cx="7873321" cy="6873765"/>
            <a:chOff x="5118538" y="-10510"/>
            <a:chExt cx="7873321" cy="6873765"/>
          </a:xfrm>
          <a:solidFill>
            <a:srgbClr val="FBBA00"/>
          </a:solidFill>
        </p:grpSpPr>
        <p:sp>
          <p:nvSpPr>
            <p:cNvPr id="11" name="Freeform: Shape 10"/>
            <p:cNvSpPr/>
            <p:nvPr/>
          </p:nvSpPr>
          <p:spPr>
            <a:xfrm flipH="1">
              <a:off x="5118538" y="-10510"/>
              <a:ext cx="7094481" cy="6873765"/>
            </a:xfrm>
            <a:custGeom>
              <a:avLst/>
              <a:gdLst>
                <a:gd name="connsiteX0" fmla="*/ 0 w 6768662"/>
                <a:gd name="connsiteY0" fmla="*/ 0 h 6873765"/>
                <a:gd name="connsiteX1" fmla="*/ 6001407 w 6768662"/>
                <a:gd name="connsiteY1" fmla="*/ 0 h 6873765"/>
                <a:gd name="connsiteX2" fmla="*/ 6768662 w 6768662"/>
                <a:gd name="connsiteY2" fmla="*/ 0 h 6873765"/>
                <a:gd name="connsiteX3" fmla="*/ 5570482 w 6768662"/>
                <a:gd name="connsiteY3" fmla="*/ 6873765 h 6873765"/>
                <a:gd name="connsiteX4" fmla="*/ 10510 w 6768662"/>
                <a:gd name="connsiteY4" fmla="*/ 6873765 h 6873765"/>
                <a:gd name="connsiteX5" fmla="*/ 10510 w 6768662"/>
                <a:gd name="connsiteY5" fmla="*/ 0 h 6873765"/>
                <a:gd name="connsiteX6" fmla="*/ 0 w 6768662"/>
                <a:gd name="connsiteY6" fmla="*/ 0 h 6873765"/>
                <a:gd name="connsiteX0" fmla="*/ 0 w 6768662"/>
                <a:gd name="connsiteY0" fmla="*/ 0 h 6873765"/>
                <a:gd name="connsiteX1" fmla="*/ 6001407 w 6768662"/>
                <a:gd name="connsiteY1" fmla="*/ 0 h 6873765"/>
                <a:gd name="connsiteX2" fmla="*/ 6768662 w 6768662"/>
                <a:gd name="connsiteY2" fmla="*/ 0 h 6873765"/>
                <a:gd name="connsiteX3" fmla="*/ 5202620 w 6768662"/>
                <a:gd name="connsiteY3" fmla="*/ 6863255 h 6873765"/>
                <a:gd name="connsiteX4" fmla="*/ 10510 w 6768662"/>
                <a:gd name="connsiteY4" fmla="*/ 6873765 h 6873765"/>
                <a:gd name="connsiteX5" fmla="*/ 10510 w 6768662"/>
                <a:gd name="connsiteY5" fmla="*/ 0 h 6873765"/>
                <a:gd name="connsiteX6" fmla="*/ 0 w 6768662"/>
                <a:gd name="connsiteY6" fmla="*/ 0 h 6873765"/>
                <a:gd name="connsiteX0" fmla="*/ 0 w 6768662"/>
                <a:gd name="connsiteY0" fmla="*/ 0 h 6873765"/>
                <a:gd name="connsiteX1" fmla="*/ 6001407 w 6768662"/>
                <a:gd name="connsiteY1" fmla="*/ 0 h 6873765"/>
                <a:gd name="connsiteX2" fmla="*/ 6768662 w 6768662"/>
                <a:gd name="connsiteY2" fmla="*/ 0 h 6873765"/>
                <a:gd name="connsiteX3" fmla="*/ 5160579 w 6768662"/>
                <a:gd name="connsiteY3" fmla="*/ 6873765 h 6873765"/>
                <a:gd name="connsiteX4" fmla="*/ 10510 w 6768662"/>
                <a:gd name="connsiteY4" fmla="*/ 6873765 h 6873765"/>
                <a:gd name="connsiteX5" fmla="*/ 10510 w 6768662"/>
                <a:gd name="connsiteY5" fmla="*/ 0 h 6873765"/>
                <a:gd name="connsiteX6" fmla="*/ 0 w 6768662"/>
                <a:gd name="connsiteY6" fmla="*/ 0 h 6873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8662" h="6873765">
                  <a:moveTo>
                    <a:pt x="0" y="0"/>
                  </a:moveTo>
                  <a:lnTo>
                    <a:pt x="6001407" y="0"/>
                  </a:lnTo>
                  <a:lnTo>
                    <a:pt x="6768662" y="0"/>
                  </a:lnTo>
                  <a:lnTo>
                    <a:pt x="5160579" y="6873765"/>
                  </a:lnTo>
                  <a:lnTo>
                    <a:pt x="10510" y="6873765"/>
                  </a:lnTo>
                  <a:lnTo>
                    <a:pt x="10510" y="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TextBox 14"/>
            <p:cNvSpPr txBox="1"/>
            <p:nvPr/>
          </p:nvSpPr>
          <p:spPr>
            <a:xfrm>
              <a:off x="6758789" y="656533"/>
              <a:ext cx="6233070" cy="646331"/>
            </a:xfrm>
            <a:prstGeom prst="rect">
              <a:avLst/>
            </a:prstGeom>
            <a:noFill/>
          </p:spPr>
          <p:txBody>
            <a:bodyPr wrap="square" rtlCol="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tab pos="1971675" algn="l"/>
                </a:tabLst>
                <a:defRPr/>
              </a:pPr>
              <a:r>
                <a:rPr kumimoji="0" lang="nl-BE" sz="4000" b="0" i="0" u="none" strike="noStrike" kern="1200" cap="none" spc="0" normalizeH="0" baseline="0" noProof="0" dirty="0">
                  <a:ln>
                    <a:noFill/>
                  </a:ln>
                  <a:solidFill>
                    <a:prstClr val="white"/>
                  </a:solidFill>
                  <a:effectLst/>
                  <a:uLnTx/>
                  <a:uFillTx/>
                  <a:latin typeface="Amaranth" panose="02000503000000020004" pitchFamily="50" charset="0"/>
                  <a:ea typeface="+mn-ea"/>
                  <a:cs typeface="Arial" panose="020B0604020202020204" pitchFamily="34" charset="0"/>
                </a:rPr>
                <a:t>Digiregie – verrijking </a:t>
              </a:r>
            </a:p>
          </p:txBody>
        </p:sp>
      </p:grpSp>
      <p:sp>
        <p:nvSpPr>
          <p:cNvPr id="33" name="Rechthoek 12">
            <a:extLst>
              <a:ext uri="{FF2B5EF4-FFF2-40B4-BE49-F238E27FC236}">
                <a16:creationId xmlns:a16="http://schemas.microsoft.com/office/drawing/2014/main" id="{316ACA97-44B8-42BF-BB2A-D44205C8AD70}"/>
              </a:ext>
            </a:extLst>
          </p:cNvPr>
          <p:cNvSpPr/>
          <p:nvPr/>
        </p:nvSpPr>
        <p:spPr>
          <a:xfrm>
            <a:off x="6881475" y="1544652"/>
            <a:ext cx="5555226" cy="595035"/>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22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342900" marR="0" lvl="0" indent="-342900" algn="l" defTabSz="914400" rtl="0" eaLnBrk="1" fontAlgn="auto" latinLnBrk="0" hangingPunct="1">
              <a:lnSpc>
                <a:spcPts val="2000"/>
              </a:lnSpc>
              <a:spcBef>
                <a:spcPts val="0"/>
              </a:spcBef>
              <a:spcAft>
                <a:spcPts val="600"/>
              </a:spcAft>
              <a:buClrTx/>
              <a:buSzTx/>
              <a:buFont typeface="Arial" panose="020B0604020202020204" pitchFamily="34" charset="0"/>
              <a:buChar char="•"/>
              <a:tabLst/>
              <a:defRPr/>
            </a:pPr>
            <a:endParaRPr kumimoji="0" lang="nl-BE" sz="22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20" name="TextBox 9">
            <a:extLst>
              <a:ext uri="{FF2B5EF4-FFF2-40B4-BE49-F238E27FC236}">
                <a16:creationId xmlns:a16="http://schemas.microsoft.com/office/drawing/2014/main" id="{C7AA8425-6DE2-48BD-9D9B-550BF08EB454}"/>
              </a:ext>
            </a:extLst>
          </p:cNvPr>
          <p:cNvSpPr txBox="1">
            <a:spLocks noChangeArrowheads="1"/>
          </p:cNvSpPr>
          <p:nvPr/>
        </p:nvSpPr>
        <p:spPr bwMode="auto">
          <a:xfrm>
            <a:off x="414395" y="682432"/>
            <a:ext cx="1429916" cy="369332"/>
          </a:xfrm>
          <a:prstGeom prst="rect">
            <a:avLst/>
          </a:prstGeom>
          <a:noFill/>
          <a:ln w="9525">
            <a:noFill/>
            <a:miter lim="800000"/>
            <a:headEnd/>
            <a:tailEnd/>
          </a:ln>
        </p:spPr>
        <p:txBody>
          <a:bodyPr wrap="square" lIns="0">
            <a:spAutoFit/>
          </a:bodyPr>
          <a:lstStyle/>
          <a:p>
            <a:pPr marL="3174" marR="0" lvl="0" indent="0" algn="l" defTabSz="914400" rtl="0" eaLnBrk="1" fontAlgn="auto" latinLnBrk="0" hangingPunct="1">
              <a:lnSpc>
                <a:spcPct val="90000"/>
              </a:lnSpc>
              <a:spcBef>
                <a:spcPts val="1200"/>
              </a:spcBef>
              <a:spcAft>
                <a:spcPts val="0"/>
              </a:spcAft>
              <a:buClr>
                <a:srgbClr val="5C5C5C"/>
              </a:buClr>
              <a:buSzPct val="80000"/>
              <a:buFontTx/>
              <a:buNone/>
              <a:tabLst/>
              <a:defRPr/>
            </a:pPr>
            <a:r>
              <a:rPr kumimoji="0" lang="nl-BE" sz="2000" b="1" i="0" u="none" strike="noStrike" kern="1200" cap="none" spc="0" normalizeH="0" baseline="0" noProof="0" dirty="0">
                <a:ln>
                  <a:noFill/>
                </a:ln>
                <a:solidFill>
                  <a:prstClr val="white"/>
                </a:solidFill>
                <a:effectLst/>
                <a:uLnTx/>
                <a:uFillTx/>
                <a:latin typeface="Amaranth" panose="02000503000000020004" pitchFamily="50" charset="0"/>
                <a:ea typeface="+mn-ea"/>
                <a:cs typeface="Arial" panose="020B0604020202020204" pitchFamily="34" charset="0"/>
              </a:rPr>
              <a:t>Software</a:t>
            </a:r>
          </a:p>
        </p:txBody>
      </p:sp>
      <p:sp>
        <p:nvSpPr>
          <p:cNvPr id="9" name="Rechthoek 12">
            <a:extLst>
              <a:ext uri="{FF2B5EF4-FFF2-40B4-BE49-F238E27FC236}">
                <a16:creationId xmlns:a16="http://schemas.microsoft.com/office/drawing/2014/main" id="{73D93AD0-8570-4B78-80D5-7D30FDF361D5}"/>
              </a:ext>
            </a:extLst>
          </p:cNvPr>
          <p:cNvSpPr/>
          <p:nvPr/>
        </p:nvSpPr>
        <p:spPr>
          <a:xfrm>
            <a:off x="6881475" y="1544652"/>
            <a:ext cx="5555226" cy="5827236"/>
          </a:xfrm>
          <a:prstGeom prst="rect">
            <a:avLst/>
          </a:prstGeom>
        </p:spPr>
        <p:txBody>
          <a:bodyPr wrap="square" lIns="0" tIns="0" rIns="0" bIns="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2600" dirty="0">
                <a:solidFill>
                  <a:prstClr val="white"/>
                </a:solidFill>
                <a:latin typeface="Calibri" panose="020F0502020204030204"/>
              </a:rPr>
              <a:t>Maak je eigen thema in Digiregi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l-NL" sz="2600" dirty="0">
              <a:solidFill>
                <a:prstClr val="white"/>
              </a:solidFill>
              <a:latin typeface="Calibri" panose="020F0502020204030204"/>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2600" dirty="0">
                <a:solidFill>
                  <a:prstClr val="white"/>
                </a:solidFill>
                <a:latin typeface="Calibri" panose="020F0502020204030204"/>
              </a:rPr>
              <a:t>Extra materiaal: </a:t>
            </a:r>
          </a:p>
          <a:p>
            <a:pPr>
              <a:defRPr/>
            </a:pPr>
            <a:r>
              <a:rPr lang="nl-NL" sz="2600" dirty="0">
                <a:solidFill>
                  <a:prstClr val="white"/>
                </a:solidFill>
                <a:latin typeface="Calibri" panose="020F0502020204030204"/>
              </a:rPr>
              <a:t>	</a:t>
            </a:r>
            <a:r>
              <a:rPr lang="nl-NL" sz="2400" dirty="0">
                <a:solidFill>
                  <a:prstClr val="white"/>
                </a:solidFill>
                <a:latin typeface="Calibri" panose="020F0502020204030204"/>
              </a:rPr>
              <a:t>kopieerbladen, doelenoverzicht, 	liedjes en geluidsfragmenten</a:t>
            </a:r>
          </a:p>
          <a:p>
            <a:pPr marR="0" lvl="0" algn="l" defTabSz="914400" rtl="0" eaLnBrk="1" fontAlgn="auto" latinLnBrk="0" hangingPunct="1">
              <a:lnSpc>
                <a:spcPct val="100000"/>
              </a:lnSpc>
              <a:spcBef>
                <a:spcPts val="0"/>
              </a:spcBef>
              <a:spcAft>
                <a:spcPts val="0"/>
              </a:spcAft>
              <a:buClrTx/>
              <a:buSzTx/>
              <a:tabLst/>
              <a:defRPr/>
            </a:pPr>
            <a:endParaRPr lang="nl-NL" sz="2600" dirty="0">
              <a:solidFill>
                <a:prstClr val="white"/>
              </a:solidFill>
              <a:latin typeface="Calibri" panose="020F0502020204030204"/>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2600" dirty="0">
                <a:solidFill>
                  <a:prstClr val="white"/>
                </a:solidFill>
                <a:latin typeface="Calibri" panose="020F0502020204030204"/>
              </a:rPr>
              <a:t>Achtergrondartikelen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l-NL" sz="2600" dirty="0">
              <a:solidFill>
                <a:prstClr val="white"/>
              </a:solidFill>
              <a:latin typeface="Calibri" panose="020F0502020204030204"/>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2600" dirty="0">
                <a:solidFill>
                  <a:prstClr val="white"/>
                </a:solidFill>
                <a:latin typeface="Calibri" panose="020F0502020204030204"/>
              </a:rPr>
              <a:t>Ouderbrieve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l-NL" sz="2600" dirty="0">
              <a:solidFill>
                <a:prstClr val="white"/>
              </a:solidFill>
              <a:latin typeface="Calibri" panose="020F0502020204030204"/>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2600" dirty="0">
                <a:solidFill>
                  <a:prstClr val="white"/>
                </a:solidFill>
                <a:latin typeface="Calibri" panose="020F0502020204030204"/>
              </a:rPr>
              <a:t>Communicatie met je collega’s </a:t>
            </a:r>
          </a:p>
          <a:p>
            <a:pPr marR="0" lvl="0" algn="l" defTabSz="914400" rtl="0" eaLnBrk="1" fontAlgn="auto" latinLnBrk="0" hangingPunct="1">
              <a:lnSpc>
                <a:spcPct val="100000"/>
              </a:lnSpc>
              <a:spcBef>
                <a:spcPts val="0"/>
              </a:spcBef>
              <a:spcAft>
                <a:spcPts val="0"/>
              </a:spcAft>
              <a:buClrTx/>
              <a:buSzTx/>
              <a:tabLst/>
              <a:defRPr/>
            </a:pPr>
            <a:endParaRPr kumimoji="0" lang="nl-NL" sz="26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l-NL" sz="2600" dirty="0">
              <a:solidFill>
                <a:prstClr val="white"/>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26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342900" marR="0" lvl="0" indent="-342900" algn="l" defTabSz="914400" rtl="0" eaLnBrk="1" fontAlgn="auto" latinLnBrk="0" hangingPunct="1">
              <a:lnSpc>
                <a:spcPts val="2000"/>
              </a:lnSpc>
              <a:spcBef>
                <a:spcPts val="0"/>
              </a:spcBef>
              <a:spcAft>
                <a:spcPts val="600"/>
              </a:spcAft>
              <a:buClrTx/>
              <a:buSzTx/>
              <a:buFont typeface="Arial" panose="020B0604020202020204" pitchFamily="34" charset="0"/>
              <a:buChar char="•"/>
              <a:tabLst/>
              <a:defRPr/>
            </a:pPr>
            <a:endParaRPr kumimoji="0" lang="nl-BE" sz="2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29" name="Freeform 41">
            <a:extLst>
              <a:ext uri="{FF2B5EF4-FFF2-40B4-BE49-F238E27FC236}">
                <a16:creationId xmlns:a16="http://schemas.microsoft.com/office/drawing/2014/main" id="{7B140640-9749-4804-95B1-B417B60F1FD3}"/>
              </a:ext>
            </a:extLst>
          </p:cNvPr>
          <p:cNvSpPr/>
          <p:nvPr/>
        </p:nvSpPr>
        <p:spPr>
          <a:xfrm rot="845560">
            <a:off x="-82083" y="352836"/>
            <a:ext cx="2164079" cy="1020274"/>
          </a:xfrm>
          <a:custGeom>
            <a:avLst/>
            <a:gdLst>
              <a:gd name="connsiteX0" fmla="*/ 45720 w 1267097"/>
              <a:gd name="connsiteY0" fmla="*/ 378823 h 378823"/>
              <a:gd name="connsiteX1" fmla="*/ 1267097 w 1267097"/>
              <a:gd name="connsiteY1" fmla="*/ 182880 h 378823"/>
              <a:gd name="connsiteX2" fmla="*/ 1267097 w 1267097"/>
              <a:gd name="connsiteY2" fmla="*/ 0 h 378823"/>
              <a:gd name="connsiteX3" fmla="*/ 0 w 1267097"/>
              <a:gd name="connsiteY3" fmla="*/ 189412 h 378823"/>
              <a:gd name="connsiteX4" fmla="*/ 45720 w 1267097"/>
              <a:gd name="connsiteY4" fmla="*/ 378823 h 378823"/>
              <a:gd name="connsiteX0" fmla="*/ 71845 w 1293222"/>
              <a:gd name="connsiteY0" fmla="*/ 378823 h 378823"/>
              <a:gd name="connsiteX1" fmla="*/ 1293222 w 1293222"/>
              <a:gd name="connsiteY1" fmla="*/ 182880 h 378823"/>
              <a:gd name="connsiteX2" fmla="*/ 1293222 w 1293222"/>
              <a:gd name="connsiteY2" fmla="*/ 0 h 378823"/>
              <a:gd name="connsiteX3" fmla="*/ 0 w 1293222"/>
              <a:gd name="connsiteY3" fmla="*/ 130629 h 378823"/>
              <a:gd name="connsiteX4" fmla="*/ 71845 w 1293222"/>
              <a:gd name="connsiteY4" fmla="*/ 378823 h 378823"/>
              <a:gd name="connsiteX0" fmla="*/ 65313 w 1293222"/>
              <a:gd name="connsiteY0" fmla="*/ 398417 h 398417"/>
              <a:gd name="connsiteX1" fmla="*/ 1293222 w 1293222"/>
              <a:gd name="connsiteY1" fmla="*/ 182880 h 398417"/>
              <a:gd name="connsiteX2" fmla="*/ 1293222 w 1293222"/>
              <a:gd name="connsiteY2" fmla="*/ 0 h 398417"/>
              <a:gd name="connsiteX3" fmla="*/ 0 w 1293222"/>
              <a:gd name="connsiteY3" fmla="*/ 130629 h 398417"/>
              <a:gd name="connsiteX4" fmla="*/ 65313 w 1293222"/>
              <a:gd name="connsiteY4" fmla="*/ 398417 h 398417"/>
              <a:gd name="connsiteX0" fmla="*/ 104663 w 1332572"/>
              <a:gd name="connsiteY0" fmla="*/ 488407 h 488407"/>
              <a:gd name="connsiteX1" fmla="*/ 1332572 w 1332572"/>
              <a:gd name="connsiteY1" fmla="*/ 272870 h 488407"/>
              <a:gd name="connsiteX2" fmla="*/ 1332572 w 1332572"/>
              <a:gd name="connsiteY2" fmla="*/ 89990 h 488407"/>
              <a:gd name="connsiteX3" fmla="*/ 0 w 1332572"/>
              <a:gd name="connsiteY3" fmla="*/ 0 h 488407"/>
              <a:gd name="connsiteX4" fmla="*/ 104663 w 1332572"/>
              <a:gd name="connsiteY4" fmla="*/ 488407 h 488407"/>
              <a:gd name="connsiteX0" fmla="*/ 58754 w 1286663"/>
              <a:gd name="connsiteY0" fmla="*/ 488407 h 488407"/>
              <a:gd name="connsiteX1" fmla="*/ 1286663 w 1286663"/>
              <a:gd name="connsiteY1" fmla="*/ 272870 h 488407"/>
              <a:gd name="connsiteX2" fmla="*/ 1286663 w 1286663"/>
              <a:gd name="connsiteY2" fmla="*/ 89990 h 488407"/>
              <a:gd name="connsiteX3" fmla="*/ 0 w 1286663"/>
              <a:gd name="connsiteY3" fmla="*/ 0 h 488407"/>
              <a:gd name="connsiteX4" fmla="*/ 58754 w 1286663"/>
              <a:gd name="connsiteY4" fmla="*/ 488407 h 488407"/>
              <a:gd name="connsiteX0" fmla="*/ 58754 w 1293221"/>
              <a:gd name="connsiteY0" fmla="*/ 574912 h 574912"/>
              <a:gd name="connsiteX1" fmla="*/ 1286663 w 1293221"/>
              <a:gd name="connsiteY1" fmla="*/ 359375 h 574912"/>
              <a:gd name="connsiteX2" fmla="*/ 1293221 w 1293221"/>
              <a:gd name="connsiteY2" fmla="*/ 0 h 574912"/>
              <a:gd name="connsiteX3" fmla="*/ 0 w 1293221"/>
              <a:gd name="connsiteY3" fmla="*/ 86505 h 574912"/>
              <a:gd name="connsiteX4" fmla="*/ 58754 w 1293221"/>
              <a:gd name="connsiteY4" fmla="*/ 574912 h 574912"/>
              <a:gd name="connsiteX0" fmla="*/ 58754 w 1470298"/>
              <a:gd name="connsiteY0" fmla="*/ 574912 h 574912"/>
              <a:gd name="connsiteX1" fmla="*/ 1470298 w 1470298"/>
              <a:gd name="connsiteY1" fmla="*/ 561083 h 574912"/>
              <a:gd name="connsiteX2" fmla="*/ 1293221 w 1470298"/>
              <a:gd name="connsiteY2" fmla="*/ 0 h 574912"/>
              <a:gd name="connsiteX3" fmla="*/ 0 w 1470298"/>
              <a:gd name="connsiteY3" fmla="*/ 86505 h 574912"/>
              <a:gd name="connsiteX4" fmla="*/ 58754 w 1470298"/>
              <a:gd name="connsiteY4" fmla="*/ 574912 h 574912"/>
              <a:gd name="connsiteX0" fmla="*/ 65313 w 1470298"/>
              <a:gd name="connsiteY0" fmla="*/ 795531 h 795531"/>
              <a:gd name="connsiteX1" fmla="*/ 1470298 w 1470298"/>
              <a:gd name="connsiteY1" fmla="*/ 561083 h 795531"/>
              <a:gd name="connsiteX2" fmla="*/ 1293221 w 1470298"/>
              <a:gd name="connsiteY2" fmla="*/ 0 h 795531"/>
              <a:gd name="connsiteX3" fmla="*/ 0 w 1470298"/>
              <a:gd name="connsiteY3" fmla="*/ 86505 h 795531"/>
              <a:gd name="connsiteX4" fmla="*/ 65313 w 1470298"/>
              <a:gd name="connsiteY4" fmla="*/ 795531 h 795531"/>
              <a:gd name="connsiteX0" fmla="*/ 65313 w 1844126"/>
              <a:gd name="connsiteY0" fmla="*/ 795531 h 795531"/>
              <a:gd name="connsiteX1" fmla="*/ 1844126 w 1844126"/>
              <a:gd name="connsiteY1" fmla="*/ 504352 h 795531"/>
              <a:gd name="connsiteX2" fmla="*/ 1293221 w 1844126"/>
              <a:gd name="connsiteY2" fmla="*/ 0 h 795531"/>
              <a:gd name="connsiteX3" fmla="*/ 0 w 1844126"/>
              <a:gd name="connsiteY3" fmla="*/ 86505 h 795531"/>
              <a:gd name="connsiteX4" fmla="*/ 65313 w 1844126"/>
              <a:gd name="connsiteY4" fmla="*/ 795531 h 795531"/>
              <a:gd name="connsiteX0" fmla="*/ 65313 w 1844126"/>
              <a:gd name="connsiteY0" fmla="*/ 845958 h 845958"/>
              <a:gd name="connsiteX1" fmla="*/ 1844126 w 1844126"/>
              <a:gd name="connsiteY1" fmla="*/ 554779 h 845958"/>
              <a:gd name="connsiteX2" fmla="*/ 1621141 w 1844126"/>
              <a:gd name="connsiteY2" fmla="*/ 0 h 845958"/>
              <a:gd name="connsiteX3" fmla="*/ 0 w 1844126"/>
              <a:gd name="connsiteY3" fmla="*/ 136932 h 845958"/>
              <a:gd name="connsiteX4" fmla="*/ 65313 w 1844126"/>
              <a:gd name="connsiteY4" fmla="*/ 845958 h 845958"/>
              <a:gd name="connsiteX0" fmla="*/ 65313 w 1844126"/>
              <a:gd name="connsiteY0" fmla="*/ 864868 h 864868"/>
              <a:gd name="connsiteX1" fmla="*/ 1844126 w 1844126"/>
              <a:gd name="connsiteY1" fmla="*/ 573689 h 864868"/>
              <a:gd name="connsiteX2" fmla="*/ 1621141 w 1844126"/>
              <a:gd name="connsiteY2" fmla="*/ 0 h 864868"/>
              <a:gd name="connsiteX3" fmla="*/ 0 w 1844126"/>
              <a:gd name="connsiteY3" fmla="*/ 155842 h 864868"/>
              <a:gd name="connsiteX4" fmla="*/ 65313 w 1844126"/>
              <a:gd name="connsiteY4" fmla="*/ 864868 h 864868"/>
              <a:gd name="connsiteX0" fmla="*/ 65313 w 1686724"/>
              <a:gd name="connsiteY0" fmla="*/ 864868 h 864868"/>
              <a:gd name="connsiteX1" fmla="*/ 1686724 w 1686724"/>
              <a:gd name="connsiteY1" fmla="*/ 561082 h 864868"/>
              <a:gd name="connsiteX2" fmla="*/ 1621141 w 1686724"/>
              <a:gd name="connsiteY2" fmla="*/ 0 h 864868"/>
              <a:gd name="connsiteX3" fmla="*/ 0 w 1686724"/>
              <a:gd name="connsiteY3" fmla="*/ 155842 h 864868"/>
              <a:gd name="connsiteX4" fmla="*/ 65313 w 1686724"/>
              <a:gd name="connsiteY4" fmla="*/ 864868 h 864868"/>
              <a:gd name="connsiteX0" fmla="*/ 39079 w 1660490"/>
              <a:gd name="connsiteY0" fmla="*/ 864868 h 864868"/>
              <a:gd name="connsiteX1" fmla="*/ 1660490 w 1660490"/>
              <a:gd name="connsiteY1" fmla="*/ 561082 h 864868"/>
              <a:gd name="connsiteX2" fmla="*/ 1594907 w 1660490"/>
              <a:gd name="connsiteY2" fmla="*/ 0 h 864868"/>
              <a:gd name="connsiteX3" fmla="*/ 0 w 1660490"/>
              <a:gd name="connsiteY3" fmla="*/ 351248 h 864868"/>
              <a:gd name="connsiteX4" fmla="*/ 39079 w 1660490"/>
              <a:gd name="connsiteY4" fmla="*/ 864868 h 864868"/>
              <a:gd name="connsiteX0" fmla="*/ 39079 w 1857243"/>
              <a:gd name="connsiteY0" fmla="*/ 719889 h 719889"/>
              <a:gd name="connsiteX1" fmla="*/ 1660490 w 1857243"/>
              <a:gd name="connsiteY1" fmla="*/ 416103 h 719889"/>
              <a:gd name="connsiteX2" fmla="*/ 1857243 w 1857243"/>
              <a:gd name="connsiteY2" fmla="*/ 0 h 719889"/>
              <a:gd name="connsiteX3" fmla="*/ 0 w 1857243"/>
              <a:gd name="connsiteY3" fmla="*/ 206269 h 719889"/>
              <a:gd name="connsiteX4" fmla="*/ 39079 w 1857243"/>
              <a:gd name="connsiteY4" fmla="*/ 719889 h 719889"/>
              <a:gd name="connsiteX0" fmla="*/ 39079 w 1909709"/>
              <a:gd name="connsiteY0" fmla="*/ 719889 h 719889"/>
              <a:gd name="connsiteX1" fmla="*/ 1909709 w 1909709"/>
              <a:gd name="connsiteY1" fmla="*/ 208090 h 719889"/>
              <a:gd name="connsiteX2" fmla="*/ 1857243 w 1909709"/>
              <a:gd name="connsiteY2" fmla="*/ 0 h 719889"/>
              <a:gd name="connsiteX3" fmla="*/ 0 w 1909709"/>
              <a:gd name="connsiteY3" fmla="*/ 206269 h 719889"/>
              <a:gd name="connsiteX4" fmla="*/ 39079 w 1909709"/>
              <a:gd name="connsiteY4" fmla="*/ 719889 h 719889"/>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206269 h 511876"/>
              <a:gd name="connsiteX4" fmla="*/ 39079 w 1909709"/>
              <a:gd name="connsiteY4" fmla="*/ 511876 h 511876"/>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121173 h 511876"/>
              <a:gd name="connsiteX4" fmla="*/ 39079 w 1909709"/>
              <a:gd name="connsiteY4" fmla="*/ 511876 h 511876"/>
              <a:gd name="connsiteX0" fmla="*/ 39079 w 1857243"/>
              <a:gd name="connsiteY0" fmla="*/ 511876 h 511876"/>
              <a:gd name="connsiteX1" fmla="*/ 1748372 w 1857243"/>
              <a:gd name="connsiteY1" fmla="*/ 309201 h 511876"/>
              <a:gd name="connsiteX2" fmla="*/ 1857243 w 1857243"/>
              <a:gd name="connsiteY2" fmla="*/ 0 h 511876"/>
              <a:gd name="connsiteX3" fmla="*/ 0 w 1857243"/>
              <a:gd name="connsiteY3" fmla="*/ 121173 h 511876"/>
              <a:gd name="connsiteX4" fmla="*/ 39079 w 1857243"/>
              <a:gd name="connsiteY4" fmla="*/ 511876 h 511876"/>
              <a:gd name="connsiteX0" fmla="*/ 39079 w 1748372"/>
              <a:gd name="connsiteY0" fmla="*/ 499237 h 499237"/>
              <a:gd name="connsiteX1" fmla="*/ 1748372 w 1748372"/>
              <a:gd name="connsiteY1" fmla="*/ 296562 h 499237"/>
              <a:gd name="connsiteX2" fmla="*/ 1723965 w 1748372"/>
              <a:gd name="connsiteY2" fmla="*/ 0 h 499237"/>
              <a:gd name="connsiteX3" fmla="*/ 0 w 1748372"/>
              <a:gd name="connsiteY3" fmla="*/ 108534 h 499237"/>
              <a:gd name="connsiteX4" fmla="*/ 39079 w 1748372"/>
              <a:gd name="connsiteY4" fmla="*/ 499237 h 499237"/>
              <a:gd name="connsiteX0" fmla="*/ 95196 w 1748372"/>
              <a:gd name="connsiteY0" fmla="*/ 451841 h 451841"/>
              <a:gd name="connsiteX1" fmla="*/ 1748372 w 1748372"/>
              <a:gd name="connsiteY1" fmla="*/ 296562 h 451841"/>
              <a:gd name="connsiteX2" fmla="*/ 1723965 w 1748372"/>
              <a:gd name="connsiteY2" fmla="*/ 0 h 451841"/>
              <a:gd name="connsiteX3" fmla="*/ 0 w 1748372"/>
              <a:gd name="connsiteY3" fmla="*/ 108534 h 451841"/>
              <a:gd name="connsiteX4" fmla="*/ 95196 w 1748372"/>
              <a:gd name="connsiteY4" fmla="*/ 451841 h 451841"/>
              <a:gd name="connsiteX0" fmla="*/ 95196 w 1723965"/>
              <a:gd name="connsiteY0" fmla="*/ 451841 h 451841"/>
              <a:gd name="connsiteX1" fmla="*/ 1713299 w 1723965"/>
              <a:gd name="connsiteY1" fmla="*/ 315520 h 451841"/>
              <a:gd name="connsiteX2" fmla="*/ 1723965 w 1723965"/>
              <a:gd name="connsiteY2" fmla="*/ 0 h 451841"/>
              <a:gd name="connsiteX3" fmla="*/ 0 w 1723965"/>
              <a:gd name="connsiteY3" fmla="*/ 108534 h 451841"/>
              <a:gd name="connsiteX4" fmla="*/ 95196 w 1723965"/>
              <a:gd name="connsiteY4" fmla="*/ 451841 h 451841"/>
              <a:gd name="connsiteX0" fmla="*/ 95196 w 1713299"/>
              <a:gd name="connsiteY0" fmla="*/ 455001 h 455001"/>
              <a:gd name="connsiteX1" fmla="*/ 1713299 w 1713299"/>
              <a:gd name="connsiteY1" fmla="*/ 318680 h 455001"/>
              <a:gd name="connsiteX2" fmla="*/ 1667848 w 1713299"/>
              <a:gd name="connsiteY2" fmla="*/ 0 h 455001"/>
              <a:gd name="connsiteX3" fmla="*/ 0 w 1713299"/>
              <a:gd name="connsiteY3" fmla="*/ 111694 h 455001"/>
              <a:gd name="connsiteX4" fmla="*/ 95196 w 1713299"/>
              <a:gd name="connsiteY4" fmla="*/ 455001 h 455001"/>
              <a:gd name="connsiteX0" fmla="*/ 67137 w 1685240"/>
              <a:gd name="connsiteY0" fmla="*/ 455001 h 455001"/>
              <a:gd name="connsiteX1" fmla="*/ 1685240 w 1685240"/>
              <a:gd name="connsiteY1" fmla="*/ 318680 h 455001"/>
              <a:gd name="connsiteX2" fmla="*/ 1639789 w 1685240"/>
              <a:gd name="connsiteY2" fmla="*/ 0 h 455001"/>
              <a:gd name="connsiteX3" fmla="*/ 0 w 1685240"/>
              <a:gd name="connsiteY3" fmla="*/ 130652 h 455001"/>
              <a:gd name="connsiteX4" fmla="*/ 67137 w 1685240"/>
              <a:gd name="connsiteY4" fmla="*/ 455001 h 455001"/>
              <a:gd name="connsiteX0" fmla="*/ 67137 w 1667473"/>
              <a:gd name="connsiteY0" fmla="*/ 455001 h 455001"/>
              <a:gd name="connsiteX1" fmla="*/ 1667473 w 1667473"/>
              <a:gd name="connsiteY1" fmla="*/ 242054 h 455001"/>
              <a:gd name="connsiteX2" fmla="*/ 1639789 w 1667473"/>
              <a:gd name="connsiteY2" fmla="*/ 0 h 455001"/>
              <a:gd name="connsiteX3" fmla="*/ 0 w 1667473"/>
              <a:gd name="connsiteY3" fmla="*/ 130652 h 455001"/>
              <a:gd name="connsiteX4" fmla="*/ 67137 w 1667473"/>
              <a:gd name="connsiteY4" fmla="*/ 455001 h 455001"/>
              <a:gd name="connsiteX0" fmla="*/ 100217 w 1700553"/>
              <a:gd name="connsiteY0" fmla="*/ 455001 h 455001"/>
              <a:gd name="connsiteX1" fmla="*/ 1700553 w 1700553"/>
              <a:gd name="connsiteY1" fmla="*/ 242054 h 455001"/>
              <a:gd name="connsiteX2" fmla="*/ 1672869 w 1700553"/>
              <a:gd name="connsiteY2" fmla="*/ 0 h 455001"/>
              <a:gd name="connsiteX3" fmla="*/ 0 w 1700553"/>
              <a:gd name="connsiteY3" fmla="*/ 205540 h 455001"/>
              <a:gd name="connsiteX4" fmla="*/ 100217 w 1700553"/>
              <a:gd name="connsiteY4" fmla="*/ 455001 h 455001"/>
              <a:gd name="connsiteX0" fmla="*/ 100217 w 1700553"/>
              <a:gd name="connsiteY0" fmla="*/ 366878 h 366878"/>
              <a:gd name="connsiteX1" fmla="*/ 1700553 w 1700553"/>
              <a:gd name="connsiteY1" fmla="*/ 153931 h 366878"/>
              <a:gd name="connsiteX2" fmla="*/ 1588975 w 1700553"/>
              <a:gd name="connsiteY2" fmla="*/ 0 h 366878"/>
              <a:gd name="connsiteX3" fmla="*/ 0 w 1700553"/>
              <a:gd name="connsiteY3" fmla="*/ 117417 h 366878"/>
              <a:gd name="connsiteX4" fmla="*/ 100217 w 1700553"/>
              <a:gd name="connsiteY4" fmla="*/ 366878 h 366878"/>
              <a:gd name="connsiteX0" fmla="*/ 115726 w 1700553"/>
              <a:gd name="connsiteY0" fmla="*/ 305211 h 305211"/>
              <a:gd name="connsiteX1" fmla="*/ 1700553 w 1700553"/>
              <a:gd name="connsiteY1" fmla="*/ 153931 h 305211"/>
              <a:gd name="connsiteX2" fmla="*/ 1588975 w 1700553"/>
              <a:gd name="connsiteY2" fmla="*/ 0 h 305211"/>
              <a:gd name="connsiteX3" fmla="*/ 0 w 1700553"/>
              <a:gd name="connsiteY3" fmla="*/ 117417 h 305211"/>
              <a:gd name="connsiteX4" fmla="*/ 115726 w 1700553"/>
              <a:gd name="connsiteY4" fmla="*/ 305211 h 305211"/>
              <a:gd name="connsiteX0" fmla="*/ 115726 w 1700553"/>
              <a:gd name="connsiteY0" fmla="*/ 321895 h 321895"/>
              <a:gd name="connsiteX1" fmla="*/ 1700553 w 1700553"/>
              <a:gd name="connsiteY1" fmla="*/ 170615 h 321895"/>
              <a:gd name="connsiteX2" fmla="*/ 1471607 w 1700553"/>
              <a:gd name="connsiteY2" fmla="*/ 0 h 321895"/>
              <a:gd name="connsiteX3" fmla="*/ 0 w 1700553"/>
              <a:gd name="connsiteY3" fmla="*/ 134101 h 321895"/>
              <a:gd name="connsiteX4" fmla="*/ 115726 w 1700553"/>
              <a:gd name="connsiteY4" fmla="*/ 321895 h 321895"/>
              <a:gd name="connsiteX0" fmla="*/ 115726 w 1581352"/>
              <a:gd name="connsiteY0" fmla="*/ 321895 h 321895"/>
              <a:gd name="connsiteX1" fmla="*/ 1581352 w 1581352"/>
              <a:gd name="connsiteY1" fmla="*/ 210307 h 321895"/>
              <a:gd name="connsiteX2" fmla="*/ 1471607 w 1581352"/>
              <a:gd name="connsiteY2" fmla="*/ 0 h 321895"/>
              <a:gd name="connsiteX3" fmla="*/ 0 w 1581352"/>
              <a:gd name="connsiteY3" fmla="*/ 134101 h 321895"/>
              <a:gd name="connsiteX4" fmla="*/ 115726 w 1581352"/>
              <a:gd name="connsiteY4" fmla="*/ 321895 h 321895"/>
              <a:gd name="connsiteX0" fmla="*/ 92298 w 1557924"/>
              <a:gd name="connsiteY0" fmla="*/ 321895 h 321895"/>
              <a:gd name="connsiteX1" fmla="*/ 1557924 w 1557924"/>
              <a:gd name="connsiteY1" fmla="*/ 210307 h 321895"/>
              <a:gd name="connsiteX2" fmla="*/ 1448179 w 1557924"/>
              <a:gd name="connsiteY2" fmla="*/ 0 h 321895"/>
              <a:gd name="connsiteX3" fmla="*/ 0 w 1557924"/>
              <a:gd name="connsiteY3" fmla="*/ 116473 h 321895"/>
              <a:gd name="connsiteX4" fmla="*/ 92298 w 1557924"/>
              <a:gd name="connsiteY4" fmla="*/ 321895 h 321895"/>
              <a:gd name="connsiteX0" fmla="*/ 152961 w 1557924"/>
              <a:gd name="connsiteY0" fmla="*/ 341247 h 341247"/>
              <a:gd name="connsiteX1" fmla="*/ 1557924 w 1557924"/>
              <a:gd name="connsiteY1" fmla="*/ 210307 h 341247"/>
              <a:gd name="connsiteX2" fmla="*/ 1448179 w 1557924"/>
              <a:gd name="connsiteY2" fmla="*/ 0 h 341247"/>
              <a:gd name="connsiteX3" fmla="*/ 0 w 1557924"/>
              <a:gd name="connsiteY3" fmla="*/ 116473 h 341247"/>
              <a:gd name="connsiteX4" fmla="*/ 152961 w 1557924"/>
              <a:gd name="connsiteY4" fmla="*/ 341247 h 341247"/>
              <a:gd name="connsiteX0" fmla="*/ 135357 w 1557924"/>
              <a:gd name="connsiteY0" fmla="*/ 339493 h 339493"/>
              <a:gd name="connsiteX1" fmla="*/ 1557924 w 1557924"/>
              <a:gd name="connsiteY1" fmla="*/ 210307 h 339493"/>
              <a:gd name="connsiteX2" fmla="*/ 1448179 w 1557924"/>
              <a:gd name="connsiteY2" fmla="*/ 0 h 339493"/>
              <a:gd name="connsiteX3" fmla="*/ 0 w 1557924"/>
              <a:gd name="connsiteY3" fmla="*/ 116473 h 339493"/>
              <a:gd name="connsiteX4" fmla="*/ 135357 w 1557924"/>
              <a:gd name="connsiteY4" fmla="*/ 339493 h 339493"/>
              <a:gd name="connsiteX0" fmla="*/ 109934 w 1532501"/>
              <a:gd name="connsiteY0" fmla="*/ 339493 h 339493"/>
              <a:gd name="connsiteX1" fmla="*/ 1532501 w 1532501"/>
              <a:gd name="connsiteY1" fmla="*/ 210307 h 339493"/>
              <a:gd name="connsiteX2" fmla="*/ 1422756 w 1532501"/>
              <a:gd name="connsiteY2" fmla="*/ 0 h 339493"/>
              <a:gd name="connsiteX3" fmla="*/ 0 w 1532501"/>
              <a:gd name="connsiteY3" fmla="*/ 117343 h 339493"/>
              <a:gd name="connsiteX4" fmla="*/ 109934 w 1532501"/>
              <a:gd name="connsiteY4" fmla="*/ 339493 h 339493"/>
              <a:gd name="connsiteX0" fmla="*/ 133525 w 1556092"/>
              <a:gd name="connsiteY0" fmla="*/ 339493 h 339493"/>
              <a:gd name="connsiteX1" fmla="*/ 1556092 w 1556092"/>
              <a:gd name="connsiteY1" fmla="*/ 210307 h 339493"/>
              <a:gd name="connsiteX2" fmla="*/ 1446347 w 1556092"/>
              <a:gd name="connsiteY2" fmla="*/ 0 h 339493"/>
              <a:gd name="connsiteX3" fmla="*/ 0 w 1556092"/>
              <a:gd name="connsiteY3" fmla="*/ 60098 h 339493"/>
              <a:gd name="connsiteX4" fmla="*/ 133525 w 1556092"/>
              <a:gd name="connsiteY4" fmla="*/ 339493 h 339493"/>
              <a:gd name="connsiteX0" fmla="*/ 133525 w 2343667"/>
              <a:gd name="connsiteY0" fmla="*/ 459688 h 459688"/>
              <a:gd name="connsiteX1" fmla="*/ 1556092 w 2343667"/>
              <a:gd name="connsiteY1" fmla="*/ 330502 h 459688"/>
              <a:gd name="connsiteX2" fmla="*/ 2343667 w 2343667"/>
              <a:gd name="connsiteY2" fmla="*/ 0 h 459688"/>
              <a:gd name="connsiteX3" fmla="*/ 0 w 2343667"/>
              <a:gd name="connsiteY3" fmla="*/ 180293 h 459688"/>
              <a:gd name="connsiteX4" fmla="*/ 133525 w 2343667"/>
              <a:gd name="connsiteY4" fmla="*/ 459688 h 459688"/>
              <a:gd name="connsiteX0" fmla="*/ 133525 w 2391079"/>
              <a:gd name="connsiteY0" fmla="*/ 459688 h 459688"/>
              <a:gd name="connsiteX1" fmla="*/ 2391079 w 2391079"/>
              <a:gd name="connsiteY1" fmla="*/ 322204 h 459688"/>
              <a:gd name="connsiteX2" fmla="*/ 2343667 w 2391079"/>
              <a:gd name="connsiteY2" fmla="*/ 0 h 459688"/>
              <a:gd name="connsiteX3" fmla="*/ 0 w 2391079"/>
              <a:gd name="connsiteY3" fmla="*/ 180293 h 459688"/>
              <a:gd name="connsiteX4" fmla="*/ 133525 w 2391079"/>
              <a:gd name="connsiteY4" fmla="*/ 459688 h 459688"/>
              <a:gd name="connsiteX0" fmla="*/ 159047 w 2391079"/>
              <a:gd name="connsiteY0" fmla="*/ 505482 h 505482"/>
              <a:gd name="connsiteX1" fmla="*/ 2391079 w 2391079"/>
              <a:gd name="connsiteY1" fmla="*/ 322204 h 505482"/>
              <a:gd name="connsiteX2" fmla="*/ 2343667 w 2391079"/>
              <a:gd name="connsiteY2" fmla="*/ 0 h 505482"/>
              <a:gd name="connsiteX3" fmla="*/ 0 w 2391079"/>
              <a:gd name="connsiteY3" fmla="*/ 180293 h 505482"/>
              <a:gd name="connsiteX4" fmla="*/ 159047 w 2391079"/>
              <a:gd name="connsiteY4" fmla="*/ 505482 h 505482"/>
              <a:gd name="connsiteX0" fmla="*/ 159047 w 2391079"/>
              <a:gd name="connsiteY0" fmla="*/ 518659 h 518659"/>
              <a:gd name="connsiteX1" fmla="*/ 2391079 w 2391079"/>
              <a:gd name="connsiteY1" fmla="*/ 335381 h 518659"/>
              <a:gd name="connsiteX2" fmla="*/ 2261507 w 2391079"/>
              <a:gd name="connsiteY2" fmla="*/ 0 h 518659"/>
              <a:gd name="connsiteX3" fmla="*/ 0 w 2391079"/>
              <a:gd name="connsiteY3" fmla="*/ 193470 h 518659"/>
              <a:gd name="connsiteX4" fmla="*/ 159047 w 2391079"/>
              <a:gd name="connsiteY4" fmla="*/ 518659 h 518659"/>
              <a:gd name="connsiteX0" fmla="*/ 159047 w 2513813"/>
              <a:gd name="connsiteY0" fmla="*/ 498511 h 498511"/>
              <a:gd name="connsiteX1" fmla="*/ 2391079 w 2513813"/>
              <a:gd name="connsiteY1" fmla="*/ 315233 h 498511"/>
              <a:gd name="connsiteX2" fmla="*/ 2513813 w 2513813"/>
              <a:gd name="connsiteY2" fmla="*/ 0 h 498511"/>
              <a:gd name="connsiteX3" fmla="*/ 0 w 2513813"/>
              <a:gd name="connsiteY3" fmla="*/ 173322 h 498511"/>
              <a:gd name="connsiteX4" fmla="*/ 159047 w 2513813"/>
              <a:gd name="connsiteY4" fmla="*/ 498511 h 498511"/>
              <a:gd name="connsiteX0" fmla="*/ 159047 w 2547383"/>
              <a:gd name="connsiteY0" fmla="*/ 498511 h 498511"/>
              <a:gd name="connsiteX1" fmla="*/ 2547383 w 2547383"/>
              <a:gd name="connsiteY1" fmla="*/ 252623 h 498511"/>
              <a:gd name="connsiteX2" fmla="*/ 2513813 w 2547383"/>
              <a:gd name="connsiteY2" fmla="*/ 0 h 498511"/>
              <a:gd name="connsiteX3" fmla="*/ 0 w 2547383"/>
              <a:gd name="connsiteY3" fmla="*/ 173322 h 498511"/>
              <a:gd name="connsiteX4" fmla="*/ 159047 w 2547383"/>
              <a:gd name="connsiteY4" fmla="*/ 498511 h 498511"/>
              <a:gd name="connsiteX0" fmla="*/ 164772 w 2553108"/>
              <a:gd name="connsiteY0" fmla="*/ 498511 h 498511"/>
              <a:gd name="connsiteX1" fmla="*/ 2553108 w 2553108"/>
              <a:gd name="connsiteY1" fmla="*/ 252623 h 498511"/>
              <a:gd name="connsiteX2" fmla="*/ 2519538 w 2553108"/>
              <a:gd name="connsiteY2" fmla="*/ 0 h 498511"/>
              <a:gd name="connsiteX3" fmla="*/ 0 w 2553108"/>
              <a:gd name="connsiteY3" fmla="*/ 237627 h 498511"/>
              <a:gd name="connsiteX4" fmla="*/ 164772 w 2553108"/>
              <a:gd name="connsiteY4" fmla="*/ 498511 h 498511"/>
              <a:gd name="connsiteX0" fmla="*/ 102113 w 2553108"/>
              <a:gd name="connsiteY0" fmla="*/ 460662 h 460662"/>
              <a:gd name="connsiteX1" fmla="*/ 2553108 w 2553108"/>
              <a:gd name="connsiteY1" fmla="*/ 252623 h 460662"/>
              <a:gd name="connsiteX2" fmla="*/ 2519538 w 2553108"/>
              <a:gd name="connsiteY2" fmla="*/ 0 h 460662"/>
              <a:gd name="connsiteX3" fmla="*/ 0 w 2553108"/>
              <a:gd name="connsiteY3" fmla="*/ 237627 h 460662"/>
              <a:gd name="connsiteX4" fmla="*/ 102113 w 2553108"/>
              <a:gd name="connsiteY4" fmla="*/ 460662 h 460662"/>
              <a:gd name="connsiteX0" fmla="*/ 102113 w 2553108"/>
              <a:gd name="connsiteY0" fmla="*/ 424537 h 424537"/>
              <a:gd name="connsiteX1" fmla="*/ 2553108 w 2553108"/>
              <a:gd name="connsiteY1" fmla="*/ 216498 h 424537"/>
              <a:gd name="connsiteX2" fmla="*/ 2498106 w 2553108"/>
              <a:gd name="connsiteY2" fmla="*/ 0 h 424537"/>
              <a:gd name="connsiteX3" fmla="*/ 0 w 2553108"/>
              <a:gd name="connsiteY3" fmla="*/ 201502 h 424537"/>
              <a:gd name="connsiteX4" fmla="*/ 102113 w 2553108"/>
              <a:gd name="connsiteY4" fmla="*/ 424537 h 424537"/>
              <a:gd name="connsiteX0" fmla="*/ 90333 w 2553108"/>
              <a:gd name="connsiteY0" fmla="*/ 403402 h 403402"/>
              <a:gd name="connsiteX1" fmla="*/ 2553108 w 2553108"/>
              <a:gd name="connsiteY1" fmla="*/ 216498 h 403402"/>
              <a:gd name="connsiteX2" fmla="*/ 2498106 w 2553108"/>
              <a:gd name="connsiteY2" fmla="*/ 0 h 403402"/>
              <a:gd name="connsiteX3" fmla="*/ 0 w 2553108"/>
              <a:gd name="connsiteY3" fmla="*/ 201502 h 403402"/>
              <a:gd name="connsiteX4" fmla="*/ 90333 w 2553108"/>
              <a:gd name="connsiteY4" fmla="*/ 403402 h 403402"/>
              <a:gd name="connsiteX0" fmla="*/ 60951 w 2523726"/>
              <a:gd name="connsiteY0" fmla="*/ 403402 h 403402"/>
              <a:gd name="connsiteX1" fmla="*/ 2523726 w 2523726"/>
              <a:gd name="connsiteY1" fmla="*/ 216498 h 403402"/>
              <a:gd name="connsiteX2" fmla="*/ 2468724 w 2523726"/>
              <a:gd name="connsiteY2" fmla="*/ 0 h 403402"/>
              <a:gd name="connsiteX3" fmla="*/ 0 w 2523726"/>
              <a:gd name="connsiteY3" fmla="*/ 224392 h 403402"/>
              <a:gd name="connsiteX4" fmla="*/ 60951 w 2523726"/>
              <a:gd name="connsiteY4" fmla="*/ 403402 h 40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3726" h="403402">
                <a:moveTo>
                  <a:pt x="60951" y="403402"/>
                </a:moveTo>
                <a:lnTo>
                  <a:pt x="2523726" y="216498"/>
                </a:lnTo>
                <a:lnTo>
                  <a:pt x="2468724" y="0"/>
                </a:lnTo>
                <a:lnTo>
                  <a:pt x="0" y="224392"/>
                </a:lnTo>
                <a:lnTo>
                  <a:pt x="60951" y="403402"/>
                </a:lnTo>
                <a:close/>
              </a:path>
            </a:pathLst>
          </a:custGeom>
          <a:solidFill>
            <a:schemeClr val="bg1"/>
          </a:solidFill>
          <a:ln>
            <a:noFill/>
          </a:ln>
          <a:effectLst>
            <a:outerShdw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solidFill>
                <a:schemeClr val="accent4"/>
              </a:solidFill>
            </a:endParaRPr>
          </a:p>
        </p:txBody>
      </p:sp>
      <p:sp>
        <p:nvSpPr>
          <p:cNvPr id="30" name="TextBox 9">
            <a:extLst>
              <a:ext uri="{FF2B5EF4-FFF2-40B4-BE49-F238E27FC236}">
                <a16:creationId xmlns:a16="http://schemas.microsoft.com/office/drawing/2014/main" id="{EB74FE39-6F46-4024-9F21-721465AD9A80}"/>
              </a:ext>
            </a:extLst>
          </p:cNvPr>
          <p:cNvSpPr txBox="1">
            <a:spLocks noChangeArrowheads="1"/>
          </p:cNvSpPr>
          <p:nvPr/>
        </p:nvSpPr>
        <p:spPr bwMode="auto">
          <a:xfrm>
            <a:off x="224576" y="678307"/>
            <a:ext cx="2485989" cy="369332"/>
          </a:xfrm>
          <a:prstGeom prst="rect">
            <a:avLst/>
          </a:prstGeom>
          <a:noFill/>
          <a:ln w="9525">
            <a:noFill/>
            <a:miter lim="800000"/>
            <a:headEnd/>
            <a:tailEnd/>
          </a:ln>
          <a:effectLst/>
        </p:spPr>
        <p:txBody>
          <a:bodyPr wrap="square" lIns="0">
            <a:spAutoFit/>
          </a:bodyPr>
          <a:lstStyle/>
          <a:p>
            <a:pPr marL="3174">
              <a:lnSpc>
                <a:spcPct val="90000"/>
              </a:lnSpc>
              <a:spcBef>
                <a:spcPts val="1200"/>
              </a:spcBef>
              <a:buClr>
                <a:srgbClr val="5C5C5C"/>
              </a:buClr>
              <a:buSzPct val="80000"/>
            </a:pPr>
            <a:r>
              <a:rPr lang="nl-BE" sz="2000" b="1" dirty="0">
                <a:solidFill>
                  <a:srgbClr val="FFC000"/>
                </a:solidFill>
                <a:latin typeface="Amaranth" panose="02000503000000020004" pitchFamily="50" charset="0"/>
                <a:cs typeface="Arial" panose="020B0604020202020204" pitchFamily="34" charset="0"/>
              </a:rPr>
              <a:t>Software</a:t>
            </a:r>
          </a:p>
        </p:txBody>
      </p:sp>
      <p:pic>
        <p:nvPicPr>
          <p:cNvPr id="31" name="Afbeelding 30">
            <a:extLst>
              <a:ext uri="{FF2B5EF4-FFF2-40B4-BE49-F238E27FC236}">
                <a16:creationId xmlns:a16="http://schemas.microsoft.com/office/drawing/2014/main" id="{C1DEABFF-04CD-41C4-8A20-43B92B16FE4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294831" y="6164016"/>
            <a:ext cx="724228" cy="563044"/>
          </a:xfrm>
          <a:prstGeom prst="rect">
            <a:avLst/>
          </a:prstGeom>
        </p:spPr>
      </p:pic>
      <p:pic>
        <p:nvPicPr>
          <p:cNvPr id="14" name="Afbeelding 13">
            <a:extLst>
              <a:ext uri="{FF2B5EF4-FFF2-40B4-BE49-F238E27FC236}">
                <a16:creationId xmlns:a16="http://schemas.microsoft.com/office/drawing/2014/main" id="{D332CCCB-A158-4B08-A53B-AF62958F52B5}"/>
              </a:ext>
            </a:extLst>
          </p:cNvPr>
          <p:cNvPicPr>
            <a:picLocks noChangeAspect="1"/>
          </p:cNvPicPr>
          <p:nvPr/>
        </p:nvPicPr>
        <p:blipFill>
          <a:blip r:embed="rId9"/>
          <a:stretch>
            <a:fillRect/>
          </a:stretch>
        </p:blipFill>
        <p:spPr>
          <a:xfrm>
            <a:off x="123572" y="1714500"/>
            <a:ext cx="6533236" cy="4045136"/>
          </a:xfrm>
          <a:prstGeom prst="rect">
            <a:avLst/>
          </a:prstGeom>
        </p:spPr>
      </p:pic>
      <p:pic>
        <p:nvPicPr>
          <p:cNvPr id="16" name="Afbeelding 15">
            <a:extLst>
              <a:ext uri="{FF2B5EF4-FFF2-40B4-BE49-F238E27FC236}">
                <a16:creationId xmlns:a16="http://schemas.microsoft.com/office/drawing/2014/main" id="{1717ED58-B583-4A5A-9A61-0C1AD75D14ED}"/>
              </a:ext>
            </a:extLst>
          </p:cNvPr>
          <p:cNvPicPr>
            <a:picLocks noChangeAspect="1"/>
          </p:cNvPicPr>
          <p:nvPr/>
        </p:nvPicPr>
        <p:blipFill>
          <a:blip r:embed="rId10"/>
          <a:stretch>
            <a:fillRect/>
          </a:stretch>
        </p:blipFill>
        <p:spPr>
          <a:xfrm>
            <a:off x="117312" y="1714499"/>
            <a:ext cx="6539496" cy="4239251"/>
          </a:xfrm>
          <a:prstGeom prst="rect">
            <a:avLst/>
          </a:prstGeom>
        </p:spPr>
      </p:pic>
      <p:pic>
        <p:nvPicPr>
          <p:cNvPr id="17" name="Afbeelding 16">
            <a:extLst>
              <a:ext uri="{FF2B5EF4-FFF2-40B4-BE49-F238E27FC236}">
                <a16:creationId xmlns:a16="http://schemas.microsoft.com/office/drawing/2014/main" id="{BD6B2F6F-2D00-4BF0-BA34-867833CD9CC9}"/>
              </a:ext>
            </a:extLst>
          </p:cNvPr>
          <p:cNvPicPr>
            <a:picLocks noChangeAspect="1"/>
          </p:cNvPicPr>
          <p:nvPr/>
        </p:nvPicPr>
        <p:blipFill>
          <a:blip r:embed="rId11"/>
          <a:stretch>
            <a:fillRect/>
          </a:stretch>
        </p:blipFill>
        <p:spPr>
          <a:xfrm>
            <a:off x="117312" y="1714498"/>
            <a:ext cx="6562704" cy="4239252"/>
          </a:xfrm>
          <a:prstGeom prst="rect">
            <a:avLst/>
          </a:prstGeom>
        </p:spPr>
      </p:pic>
      <p:pic>
        <p:nvPicPr>
          <p:cNvPr id="18" name="Afbeelding 17">
            <a:extLst>
              <a:ext uri="{FF2B5EF4-FFF2-40B4-BE49-F238E27FC236}">
                <a16:creationId xmlns:a16="http://schemas.microsoft.com/office/drawing/2014/main" id="{684AF8B4-DF01-4010-8687-3079D86BD68D}"/>
              </a:ext>
            </a:extLst>
          </p:cNvPr>
          <p:cNvPicPr>
            <a:picLocks noChangeAspect="1"/>
          </p:cNvPicPr>
          <p:nvPr/>
        </p:nvPicPr>
        <p:blipFill>
          <a:blip r:embed="rId12"/>
          <a:stretch>
            <a:fillRect/>
          </a:stretch>
        </p:blipFill>
        <p:spPr>
          <a:xfrm>
            <a:off x="94104" y="1714496"/>
            <a:ext cx="6562704" cy="4239253"/>
          </a:xfrm>
          <a:prstGeom prst="rect">
            <a:avLst/>
          </a:prstGeom>
        </p:spPr>
      </p:pic>
      <p:pic>
        <p:nvPicPr>
          <p:cNvPr id="19" name="Afbeelding 18">
            <a:extLst>
              <a:ext uri="{FF2B5EF4-FFF2-40B4-BE49-F238E27FC236}">
                <a16:creationId xmlns:a16="http://schemas.microsoft.com/office/drawing/2014/main" id="{6139BBC6-0F1D-43CC-A41B-A715D937A196}"/>
              </a:ext>
            </a:extLst>
          </p:cNvPr>
          <p:cNvPicPr>
            <a:picLocks noChangeAspect="1"/>
          </p:cNvPicPr>
          <p:nvPr/>
        </p:nvPicPr>
        <p:blipFill>
          <a:blip r:embed="rId13"/>
          <a:stretch>
            <a:fillRect/>
          </a:stretch>
        </p:blipFill>
        <p:spPr>
          <a:xfrm>
            <a:off x="70895" y="1714494"/>
            <a:ext cx="6617383" cy="1817375"/>
          </a:xfrm>
          <a:prstGeom prst="rect">
            <a:avLst/>
          </a:prstGeom>
        </p:spPr>
      </p:pic>
      <p:sp>
        <p:nvSpPr>
          <p:cNvPr id="21" name="Rechthoek 20">
            <a:extLst>
              <a:ext uri="{FF2B5EF4-FFF2-40B4-BE49-F238E27FC236}">
                <a16:creationId xmlns:a16="http://schemas.microsoft.com/office/drawing/2014/main" id="{7FBF18C3-A962-485B-91BD-3321F005542D}"/>
              </a:ext>
            </a:extLst>
          </p:cNvPr>
          <p:cNvSpPr/>
          <p:nvPr/>
        </p:nvSpPr>
        <p:spPr>
          <a:xfrm>
            <a:off x="94104" y="3531869"/>
            <a:ext cx="6455286" cy="24218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7359493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9">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9">
                                            <p:txEl>
                                              <p:pRg st="7" end="7"/>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
                                            <p:txEl>
                                              <p:pRg st="9" end="9"/>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21"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hoek 12">
            <a:extLst>
              <a:ext uri="{FF2B5EF4-FFF2-40B4-BE49-F238E27FC236}">
                <a16:creationId xmlns:a16="http://schemas.microsoft.com/office/drawing/2014/main" id="{CECEAB52-2BFE-4DB7-83D8-2B3EABF14D7F}"/>
              </a:ext>
            </a:extLst>
          </p:cNvPr>
          <p:cNvSpPr/>
          <p:nvPr/>
        </p:nvSpPr>
        <p:spPr>
          <a:xfrm>
            <a:off x="0" y="1344257"/>
            <a:ext cx="12192000" cy="4453958"/>
          </a:xfrm>
          <a:prstGeom prst="rect">
            <a:avLst/>
          </a:prstGeom>
          <a:solidFill>
            <a:srgbClr val="FFC00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91" name="think-cell Slide" r:id="rId5" imgW="353" imgH="353" progId="TCLayout.ActiveDocument.1">
                  <p:embed/>
                </p:oleObj>
              </mc:Choice>
              <mc:Fallback>
                <p:oleObj name="think-cell Slide" r:id="rId5" imgW="353" imgH="353"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extBox 14"/>
          <p:cNvSpPr txBox="1"/>
          <p:nvPr/>
        </p:nvSpPr>
        <p:spPr>
          <a:xfrm>
            <a:off x="5263742" y="455562"/>
            <a:ext cx="7172959" cy="590931"/>
          </a:xfrm>
          <a:prstGeom prst="rect">
            <a:avLst/>
          </a:prstGeom>
          <a:noFill/>
        </p:spPr>
        <p:txBody>
          <a:bodyPr wrap="square" rtlCol="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tab pos="1971675" algn="l"/>
              </a:tabLst>
              <a:defRPr/>
            </a:pPr>
            <a:r>
              <a:rPr kumimoji="0" lang="nl-BE" sz="3600" b="0" i="0" u="none" strike="noStrike" kern="1200" cap="none" spc="0" normalizeH="0" baseline="0" noProof="0" dirty="0">
                <a:ln>
                  <a:noFill/>
                </a:ln>
                <a:solidFill>
                  <a:srgbClr val="FFC000"/>
                </a:solidFill>
                <a:effectLst/>
                <a:uLnTx/>
                <a:uFillTx/>
                <a:latin typeface="Amaranth" panose="02000503000000020004" pitchFamily="50" charset="0"/>
                <a:ea typeface="+mn-ea"/>
                <a:cs typeface="Arial" panose="020B0604020202020204" pitchFamily="34" charset="0"/>
              </a:rPr>
              <a:t>Leerlingsoftware - sterke punten</a:t>
            </a:r>
          </a:p>
        </p:txBody>
      </p:sp>
      <p:sp>
        <p:nvSpPr>
          <p:cNvPr id="33" name="Rechthoek 12">
            <a:extLst>
              <a:ext uri="{FF2B5EF4-FFF2-40B4-BE49-F238E27FC236}">
                <a16:creationId xmlns:a16="http://schemas.microsoft.com/office/drawing/2014/main" id="{316ACA97-44B8-42BF-BB2A-D44205C8AD70}"/>
              </a:ext>
            </a:extLst>
          </p:cNvPr>
          <p:cNvSpPr/>
          <p:nvPr/>
        </p:nvSpPr>
        <p:spPr>
          <a:xfrm>
            <a:off x="6881475" y="1544652"/>
            <a:ext cx="5555226" cy="595035"/>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22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342900" marR="0" lvl="0" indent="-342900" algn="l" defTabSz="914400" rtl="0" eaLnBrk="1" fontAlgn="auto" latinLnBrk="0" hangingPunct="1">
              <a:lnSpc>
                <a:spcPts val="2000"/>
              </a:lnSpc>
              <a:spcBef>
                <a:spcPts val="0"/>
              </a:spcBef>
              <a:spcAft>
                <a:spcPts val="600"/>
              </a:spcAft>
              <a:buClrTx/>
              <a:buSzTx/>
              <a:buFont typeface="Arial" panose="020B0604020202020204" pitchFamily="34" charset="0"/>
              <a:buChar char="•"/>
              <a:tabLst/>
              <a:defRPr/>
            </a:pPr>
            <a:endParaRPr kumimoji="0" lang="nl-BE" sz="22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20" name="TextBox 9">
            <a:extLst>
              <a:ext uri="{FF2B5EF4-FFF2-40B4-BE49-F238E27FC236}">
                <a16:creationId xmlns:a16="http://schemas.microsoft.com/office/drawing/2014/main" id="{C7AA8425-6DE2-48BD-9D9B-550BF08EB454}"/>
              </a:ext>
            </a:extLst>
          </p:cNvPr>
          <p:cNvSpPr txBox="1">
            <a:spLocks noChangeArrowheads="1"/>
          </p:cNvSpPr>
          <p:nvPr/>
        </p:nvSpPr>
        <p:spPr bwMode="auto">
          <a:xfrm>
            <a:off x="414395" y="682432"/>
            <a:ext cx="1429916" cy="369332"/>
          </a:xfrm>
          <a:prstGeom prst="rect">
            <a:avLst/>
          </a:prstGeom>
          <a:noFill/>
          <a:ln w="9525">
            <a:noFill/>
            <a:miter lim="800000"/>
            <a:headEnd/>
            <a:tailEnd/>
          </a:ln>
        </p:spPr>
        <p:txBody>
          <a:bodyPr wrap="square" lIns="0">
            <a:spAutoFit/>
          </a:bodyPr>
          <a:lstStyle/>
          <a:p>
            <a:pPr marL="3174" marR="0" lvl="0" indent="0" algn="l" defTabSz="914400" rtl="0" eaLnBrk="1" fontAlgn="auto" latinLnBrk="0" hangingPunct="1">
              <a:lnSpc>
                <a:spcPct val="90000"/>
              </a:lnSpc>
              <a:spcBef>
                <a:spcPts val="1200"/>
              </a:spcBef>
              <a:spcAft>
                <a:spcPts val="0"/>
              </a:spcAft>
              <a:buClr>
                <a:srgbClr val="5C5C5C"/>
              </a:buClr>
              <a:buSzPct val="80000"/>
              <a:buFontTx/>
              <a:buNone/>
              <a:tabLst/>
              <a:defRPr/>
            </a:pPr>
            <a:r>
              <a:rPr kumimoji="0" lang="nl-BE" sz="2000" b="1" i="0" u="none" strike="noStrike" kern="1200" cap="none" spc="0" normalizeH="0" baseline="0" noProof="0" dirty="0">
                <a:ln>
                  <a:noFill/>
                </a:ln>
                <a:solidFill>
                  <a:prstClr val="white"/>
                </a:solidFill>
                <a:effectLst/>
                <a:uLnTx/>
                <a:uFillTx/>
                <a:latin typeface="Amaranth" panose="02000503000000020004" pitchFamily="50" charset="0"/>
                <a:ea typeface="+mn-ea"/>
                <a:cs typeface="Arial" panose="020B0604020202020204" pitchFamily="34" charset="0"/>
              </a:rPr>
              <a:t>Software</a:t>
            </a:r>
          </a:p>
        </p:txBody>
      </p:sp>
      <p:sp>
        <p:nvSpPr>
          <p:cNvPr id="9" name="Rechthoek 12">
            <a:extLst>
              <a:ext uri="{FF2B5EF4-FFF2-40B4-BE49-F238E27FC236}">
                <a16:creationId xmlns:a16="http://schemas.microsoft.com/office/drawing/2014/main" id="{73D93AD0-8570-4B78-80D5-7D30FDF361D5}"/>
              </a:ext>
            </a:extLst>
          </p:cNvPr>
          <p:cNvSpPr/>
          <p:nvPr/>
        </p:nvSpPr>
        <p:spPr>
          <a:xfrm>
            <a:off x="6196964" y="1427414"/>
            <a:ext cx="6078706" cy="4185761"/>
          </a:xfrm>
          <a:prstGeom prst="rect">
            <a:avLst/>
          </a:prstGeom>
        </p:spPr>
        <p:txBody>
          <a:bodyPr wrap="square" lIns="0" tIns="0" rIns="0" bIns="0">
            <a:spAutoFit/>
          </a:bodyPr>
          <a:lstStyle/>
          <a:p>
            <a:pPr marL="285750" indent="-285750">
              <a:buFont typeface="Arial" panose="020B0604020202020204" pitchFamily="34" charset="0"/>
              <a:buChar char="•"/>
            </a:pPr>
            <a:r>
              <a:rPr lang="nl-NL" sz="1600" dirty="0">
                <a:solidFill>
                  <a:schemeClr val="bg1"/>
                </a:solidFill>
              </a:rPr>
              <a:t>laat de leerlingen spelenderwijs </a:t>
            </a:r>
            <a:r>
              <a:rPr lang="nl-NL" sz="1600" u="sng" dirty="0">
                <a:solidFill>
                  <a:schemeClr val="bg1"/>
                </a:solidFill>
              </a:rPr>
              <a:t>herhaald oefenen </a:t>
            </a:r>
            <a:r>
              <a:rPr lang="nl-NL" sz="1600" dirty="0">
                <a:solidFill>
                  <a:schemeClr val="bg1"/>
                </a:solidFill>
              </a:rPr>
              <a:t>met eerder aangeboden stof uit de ankers</a:t>
            </a:r>
          </a:p>
          <a:p>
            <a:pPr marL="285750" indent="-285750">
              <a:buFont typeface="Arial" panose="020B0604020202020204" pitchFamily="34" charset="0"/>
              <a:buChar char="•"/>
            </a:pPr>
            <a:endParaRPr lang="nl-NL" sz="1600" dirty="0">
              <a:solidFill>
                <a:schemeClr val="bg1"/>
              </a:solidFill>
            </a:endParaRPr>
          </a:p>
          <a:p>
            <a:pPr marL="285750" indent="-285750">
              <a:buFont typeface="Arial" panose="020B0604020202020204" pitchFamily="34" charset="0"/>
              <a:buChar char="•"/>
            </a:pPr>
            <a:r>
              <a:rPr lang="nl-NL" sz="1600" dirty="0">
                <a:solidFill>
                  <a:schemeClr val="bg1"/>
                </a:solidFill>
              </a:rPr>
              <a:t>7 doelgebieden, 7 spellen</a:t>
            </a:r>
          </a:p>
          <a:p>
            <a:pPr marL="285750" indent="-285750">
              <a:buFont typeface="Arial" panose="020B0604020202020204" pitchFamily="34" charset="0"/>
              <a:buChar char="•"/>
            </a:pPr>
            <a:endParaRPr lang="nl-NL" sz="1600" dirty="0">
              <a:solidFill>
                <a:schemeClr val="bg1"/>
              </a:solidFill>
            </a:endParaRPr>
          </a:p>
          <a:p>
            <a:pPr marL="285750" indent="-285750">
              <a:buFont typeface="Arial" panose="020B0604020202020204" pitchFamily="34" charset="0"/>
              <a:buChar char="•"/>
            </a:pPr>
            <a:r>
              <a:rPr lang="nl-NL" sz="1600" dirty="0">
                <a:solidFill>
                  <a:schemeClr val="bg1"/>
                </a:solidFill>
              </a:rPr>
              <a:t>faciliteert </a:t>
            </a:r>
            <a:r>
              <a:rPr lang="nl-NL" sz="1600" u="sng" dirty="0">
                <a:solidFill>
                  <a:schemeClr val="bg1"/>
                </a:solidFill>
              </a:rPr>
              <a:t>onderzoekend en ontwerpend</a:t>
            </a:r>
            <a:r>
              <a:rPr lang="nl-NL" sz="1600" dirty="0">
                <a:solidFill>
                  <a:schemeClr val="bg1"/>
                </a:solidFill>
              </a:rPr>
              <a:t> leren</a:t>
            </a:r>
          </a:p>
          <a:p>
            <a:pPr marL="285750" indent="-285750">
              <a:buFont typeface="Arial" panose="020B0604020202020204" pitchFamily="34" charset="0"/>
              <a:buChar char="•"/>
            </a:pPr>
            <a:endParaRPr lang="nl-NL" sz="1600" dirty="0">
              <a:solidFill>
                <a:schemeClr val="bg1"/>
              </a:solidFill>
            </a:endParaRPr>
          </a:p>
          <a:p>
            <a:pPr marL="285750" indent="-285750">
              <a:buFont typeface="Arial" panose="020B0604020202020204" pitchFamily="34" charset="0"/>
              <a:buChar char="•"/>
            </a:pPr>
            <a:r>
              <a:rPr lang="nl-NL" sz="1600" dirty="0">
                <a:solidFill>
                  <a:schemeClr val="bg1"/>
                </a:solidFill>
              </a:rPr>
              <a:t>impliceert </a:t>
            </a:r>
            <a:r>
              <a:rPr lang="nl-NL" sz="1600" u="sng" dirty="0">
                <a:solidFill>
                  <a:schemeClr val="bg1"/>
                </a:solidFill>
              </a:rPr>
              <a:t>intrinsieke motivatie</a:t>
            </a:r>
            <a:r>
              <a:rPr lang="nl-NL" sz="1600" dirty="0">
                <a:solidFill>
                  <a:schemeClr val="bg1"/>
                </a:solidFill>
              </a:rPr>
              <a:t> en een </a:t>
            </a:r>
            <a:r>
              <a:rPr lang="nl-NL" sz="1600" u="sng" dirty="0">
                <a:solidFill>
                  <a:schemeClr val="bg1"/>
                </a:solidFill>
              </a:rPr>
              <a:t>hoge betrokkenheid </a:t>
            </a:r>
            <a:r>
              <a:rPr lang="nl-NL" sz="1600" dirty="0">
                <a:solidFill>
                  <a:schemeClr val="bg1"/>
                </a:solidFill>
              </a:rPr>
              <a:t>van leerlingen</a:t>
            </a:r>
          </a:p>
          <a:p>
            <a:pPr marL="285750" indent="-285750">
              <a:buFont typeface="Arial" panose="020B0604020202020204" pitchFamily="34" charset="0"/>
              <a:buChar char="•"/>
            </a:pPr>
            <a:endParaRPr lang="nl-NL" sz="1600" u="sng" dirty="0">
              <a:solidFill>
                <a:schemeClr val="bg1"/>
              </a:solidFill>
            </a:endParaRPr>
          </a:p>
          <a:p>
            <a:pPr marL="285750" indent="-285750">
              <a:buFont typeface="Arial" panose="020B0604020202020204" pitchFamily="34" charset="0"/>
              <a:buChar char="•"/>
            </a:pPr>
            <a:r>
              <a:rPr lang="nl-NL" sz="1600" u="sng" dirty="0" err="1">
                <a:solidFill>
                  <a:schemeClr val="bg1"/>
                </a:solidFill>
              </a:rPr>
              <a:t>ontzorgt</a:t>
            </a:r>
            <a:r>
              <a:rPr lang="nl-NL" sz="1600" u="sng" dirty="0">
                <a:solidFill>
                  <a:schemeClr val="bg1"/>
                </a:solidFill>
              </a:rPr>
              <a:t> de leerkracht</a:t>
            </a:r>
            <a:r>
              <a:rPr lang="nl-NL" sz="1600" dirty="0">
                <a:solidFill>
                  <a:schemeClr val="bg1"/>
                </a:solidFill>
              </a:rPr>
              <a:t> bij instellen niveau en volgen leerlingen</a:t>
            </a:r>
          </a:p>
          <a:p>
            <a:pPr marL="285750" indent="-285750">
              <a:buFont typeface="Arial" panose="020B0604020202020204" pitchFamily="34" charset="0"/>
              <a:buChar char="•"/>
            </a:pPr>
            <a:endParaRPr lang="nl-NL" sz="1600" u="sng" dirty="0">
              <a:solidFill>
                <a:schemeClr val="bg1"/>
              </a:solidFill>
              <a:cs typeface="Arial" panose="020B0604020202020204" pitchFamily="34" charset="0"/>
            </a:endParaRPr>
          </a:p>
          <a:p>
            <a:pPr marL="285750" indent="-285750">
              <a:buFont typeface="Arial" panose="020B0604020202020204" pitchFamily="34" charset="0"/>
              <a:buChar char="•"/>
            </a:pPr>
            <a:r>
              <a:rPr lang="nl-NL" sz="1600" u="sng" dirty="0">
                <a:solidFill>
                  <a:schemeClr val="bg1"/>
                </a:solidFill>
                <a:cs typeface="Arial" panose="020B0604020202020204" pitchFamily="34" charset="0"/>
              </a:rPr>
              <a:t>a</a:t>
            </a:r>
            <a:r>
              <a:rPr kumimoji="0" lang="nl-NL" sz="1600" b="0" i="0" u="sng" strike="noStrike" kern="1200" cap="none" spc="0" normalizeH="0" baseline="0" noProof="0" dirty="0" err="1">
                <a:ln>
                  <a:noFill/>
                </a:ln>
                <a:solidFill>
                  <a:schemeClr val="bg1"/>
                </a:solidFill>
                <a:effectLst/>
                <a:uLnTx/>
                <a:uFillTx/>
                <a:ea typeface="+mn-ea"/>
                <a:cs typeface="Arial" panose="020B0604020202020204" pitchFamily="34" charset="0"/>
              </a:rPr>
              <a:t>daptief</a:t>
            </a:r>
            <a:endParaRPr kumimoji="0" lang="nl-NL" sz="1600" b="0" i="0" u="sng" strike="noStrike" kern="1200" cap="none" spc="0" normalizeH="0" baseline="0" noProof="0" dirty="0">
              <a:ln>
                <a:noFill/>
              </a:ln>
              <a:solidFill>
                <a:schemeClr val="bg1"/>
              </a:solidFill>
              <a:effectLst/>
              <a:uLnTx/>
              <a:uFillTx/>
              <a:ea typeface="+mn-ea"/>
              <a:cs typeface="Arial" panose="020B0604020202020204" pitchFamily="34" charset="0"/>
            </a:endParaRPr>
          </a:p>
          <a:p>
            <a:pPr marL="285750" indent="-285750">
              <a:buFont typeface="Arial" panose="020B0604020202020204" pitchFamily="34" charset="0"/>
              <a:buChar char="•"/>
            </a:pPr>
            <a:endParaRPr lang="nl-NL" sz="1600" dirty="0">
              <a:solidFill>
                <a:schemeClr val="bg1"/>
              </a:solidFill>
              <a:cs typeface="Arial" panose="020B0604020202020204" pitchFamily="34" charset="0"/>
            </a:endParaRPr>
          </a:p>
          <a:p>
            <a:pPr marL="285750" indent="-285750">
              <a:buFont typeface="Arial" panose="020B0604020202020204" pitchFamily="34" charset="0"/>
              <a:buChar char="•"/>
            </a:pPr>
            <a:r>
              <a:rPr lang="nl-NL" sz="1600" dirty="0">
                <a:solidFill>
                  <a:schemeClr val="bg1"/>
                </a:solidFill>
                <a:cs typeface="Arial" panose="020B0604020202020204" pitchFamily="34" charset="0"/>
              </a:rPr>
              <a:t>voor o</a:t>
            </a:r>
            <a:r>
              <a:rPr kumimoji="0" lang="nl-NL" sz="1600" b="0" i="0" u="none" strike="noStrike" kern="1200" cap="none" spc="0" normalizeH="0" baseline="0" noProof="0" dirty="0">
                <a:ln>
                  <a:noFill/>
                </a:ln>
                <a:solidFill>
                  <a:schemeClr val="bg1"/>
                </a:solidFill>
                <a:effectLst/>
                <a:uLnTx/>
                <a:uFillTx/>
                <a:ea typeface="+mn-ea"/>
                <a:cs typeface="Arial" panose="020B0604020202020204" pitchFamily="34" charset="0"/>
              </a:rPr>
              <a:t>p </a:t>
            </a:r>
            <a:r>
              <a:rPr kumimoji="0" lang="nl-NL" sz="1600" b="0" i="0" u="sng" strike="noStrike" kern="1200" cap="none" spc="0" normalizeH="0" baseline="0" noProof="0" dirty="0">
                <a:ln>
                  <a:noFill/>
                </a:ln>
                <a:solidFill>
                  <a:schemeClr val="bg1"/>
                </a:solidFill>
                <a:effectLst/>
                <a:uLnTx/>
                <a:uFillTx/>
                <a:ea typeface="+mn-ea"/>
                <a:cs typeface="Arial" panose="020B0604020202020204" pitchFamily="34" charset="0"/>
              </a:rPr>
              <a:t>school </a:t>
            </a:r>
            <a:r>
              <a:rPr lang="nl-NL" sz="1600" u="sng" dirty="0">
                <a:solidFill>
                  <a:schemeClr val="bg1"/>
                </a:solidFill>
                <a:cs typeface="Arial" panose="020B0604020202020204" pitchFamily="34" charset="0"/>
              </a:rPr>
              <a:t>é</a:t>
            </a:r>
            <a:r>
              <a:rPr kumimoji="0" lang="nl-NL" sz="1600" b="0" i="0" u="sng" strike="noStrike" kern="1200" cap="none" spc="0" normalizeH="0" baseline="0" noProof="0" dirty="0">
                <a:ln>
                  <a:noFill/>
                </a:ln>
                <a:solidFill>
                  <a:schemeClr val="bg1"/>
                </a:solidFill>
                <a:effectLst/>
                <a:uLnTx/>
                <a:uFillTx/>
                <a:ea typeface="+mn-ea"/>
                <a:cs typeface="Arial" panose="020B0604020202020204" pitchFamily="34" charset="0"/>
              </a:rPr>
              <a:t>n thuis</a:t>
            </a:r>
          </a:p>
          <a:p>
            <a:pPr marL="285750" indent="-285750">
              <a:buFont typeface="Arial" panose="020B0604020202020204" pitchFamily="34" charset="0"/>
              <a:buChar char="•"/>
            </a:pPr>
            <a:endParaRPr kumimoji="0" lang="nl-NL" sz="1600" b="0" i="0" strike="noStrike" kern="1200" cap="none" spc="0" normalizeH="0" baseline="0" noProof="0" dirty="0">
              <a:ln>
                <a:noFill/>
              </a:ln>
              <a:solidFill>
                <a:schemeClr val="bg1"/>
              </a:solidFill>
              <a:effectLst/>
              <a:uLnTx/>
              <a:uFillTx/>
              <a:ea typeface="+mn-ea"/>
              <a:cs typeface="Arial" panose="020B0604020202020204" pitchFamily="34" charset="0"/>
            </a:endParaRPr>
          </a:p>
          <a:p>
            <a:pPr marL="285750" indent="-285750">
              <a:buFont typeface="Arial" panose="020B0604020202020204" pitchFamily="34" charset="0"/>
              <a:buChar char="•"/>
            </a:pPr>
            <a:r>
              <a:rPr lang="nl-NL" sz="1600" dirty="0">
                <a:solidFill>
                  <a:schemeClr val="bg1"/>
                </a:solidFill>
                <a:cs typeface="Arial" panose="020B0604020202020204" pitchFamily="34" charset="0"/>
              </a:rPr>
              <a:t>s</a:t>
            </a:r>
            <a:r>
              <a:rPr kumimoji="0" lang="nl-NL" sz="1600" b="0" i="0" strike="noStrike" kern="1200" cap="none" spc="0" normalizeH="0" baseline="0" noProof="0" dirty="0">
                <a:ln>
                  <a:noFill/>
                </a:ln>
                <a:solidFill>
                  <a:schemeClr val="bg1"/>
                </a:solidFill>
                <a:effectLst/>
                <a:uLnTx/>
                <a:uFillTx/>
                <a:ea typeface="+mn-ea"/>
                <a:cs typeface="Arial" panose="020B0604020202020204" pitchFamily="34" charset="0"/>
              </a:rPr>
              <a:t>luit aan bij </a:t>
            </a:r>
            <a:r>
              <a:rPr kumimoji="0" lang="nl-NL" sz="1600" b="0" i="0" u="sng" strike="noStrike" kern="1200" cap="none" spc="0" normalizeH="0" baseline="0" noProof="0" dirty="0">
                <a:ln>
                  <a:noFill/>
                </a:ln>
                <a:solidFill>
                  <a:schemeClr val="bg1"/>
                </a:solidFill>
                <a:effectLst/>
                <a:uLnTx/>
                <a:uFillTx/>
                <a:ea typeface="+mn-ea"/>
                <a:cs typeface="Arial" panose="020B0604020202020204" pitchFamily="34" charset="0"/>
              </a:rPr>
              <a:t>VLL</a:t>
            </a:r>
            <a:r>
              <a:rPr lang="nl-NL" sz="1600" u="sng" dirty="0">
                <a:solidFill>
                  <a:schemeClr val="bg1"/>
                </a:solidFill>
                <a:cs typeface="Arial" panose="020B0604020202020204" pitchFamily="34" charset="0"/>
              </a:rPr>
              <a:t> Kim-versie</a:t>
            </a:r>
            <a:endParaRPr kumimoji="0" lang="nl-BE" sz="1600" b="0" i="0" u="sng" strike="noStrike" kern="1200" cap="none" spc="0" normalizeH="0" baseline="0" noProof="0" dirty="0">
              <a:ln>
                <a:noFill/>
              </a:ln>
              <a:solidFill>
                <a:schemeClr val="bg1"/>
              </a:solidFill>
              <a:effectLst/>
              <a:uLnTx/>
              <a:uFillTx/>
              <a:ea typeface="+mn-ea"/>
              <a:cs typeface="Arial" panose="020B0604020202020204" pitchFamily="34" charset="0"/>
            </a:endParaRPr>
          </a:p>
        </p:txBody>
      </p:sp>
      <p:sp>
        <p:nvSpPr>
          <p:cNvPr id="10" name="Freeform 41">
            <a:extLst>
              <a:ext uri="{FF2B5EF4-FFF2-40B4-BE49-F238E27FC236}">
                <a16:creationId xmlns:a16="http://schemas.microsoft.com/office/drawing/2014/main" id="{19C4BFF1-338F-4238-B984-12D30DA19C04}"/>
              </a:ext>
            </a:extLst>
          </p:cNvPr>
          <p:cNvSpPr/>
          <p:nvPr/>
        </p:nvSpPr>
        <p:spPr>
          <a:xfrm rot="845560">
            <a:off x="-40519" y="51414"/>
            <a:ext cx="2164079" cy="1020274"/>
          </a:xfrm>
          <a:custGeom>
            <a:avLst/>
            <a:gdLst>
              <a:gd name="connsiteX0" fmla="*/ 45720 w 1267097"/>
              <a:gd name="connsiteY0" fmla="*/ 378823 h 378823"/>
              <a:gd name="connsiteX1" fmla="*/ 1267097 w 1267097"/>
              <a:gd name="connsiteY1" fmla="*/ 182880 h 378823"/>
              <a:gd name="connsiteX2" fmla="*/ 1267097 w 1267097"/>
              <a:gd name="connsiteY2" fmla="*/ 0 h 378823"/>
              <a:gd name="connsiteX3" fmla="*/ 0 w 1267097"/>
              <a:gd name="connsiteY3" fmla="*/ 189412 h 378823"/>
              <a:gd name="connsiteX4" fmla="*/ 45720 w 1267097"/>
              <a:gd name="connsiteY4" fmla="*/ 378823 h 378823"/>
              <a:gd name="connsiteX0" fmla="*/ 71845 w 1293222"/>
              <a:gd name="connsiteY0" fmla="*/ 378823 h 378823"/>
              <a:gd name="connsiteX1" fmla="*/ 1293222 w 1293222"/>
              <a:gd name="connsiteY1" fmla="*/ 182880 h 378823"/>
              <a:gd name="connsiteX2" fmla="*/ 1293222 w 1293222"/>
              <a:gd name="connsiteY2" fmla="*/ 0 h 378823"/>
              <a:gd name="connsiteX3" fmla="*/ 0 w 1293222"/>
              <a:gd name="connsiteY3" fmla="*/ 130629 h 378823"/>
              <a:gd name="connsiteX4" fmla="*/ 71845 w 1293222"/>
              <a:gd name="connsiteY4" fmla="*/ 378823 h 378823"/>
              <a:gd name="connsiteX0" fmla="*/ 65313 w 1293222"/>
              <a:gd name="connsiteY0" fmla="*/ 398417 h 398417"/>
              <a:gd name="connsiteX1" fmla="*/ 1293222 w 1293222"/>
              <a:gd name="connsiteY1" fmla="*/ 182880 h 398417"/>
              <a:gd name="connsiteX2" fmla="*/ 1293222 w 1293222"/>
              <a:gd name="connsiteY2" fmla="*/ 0 h 398417"/>
              <a:gd name="connsiteX3" fmla="*/ 0 w 1293222"/>
              <a:gd name="connsiteY3" fmla="*/ 130629 h 398417"/>
              <a:gd name="connsiteX4" fmla="*/ 65313 w 1293222"/>
              <a:gd name="connsiteY4" fmla="*/ 398417 h 398417"/>
              <a:gd name="connsiteX0" fmla="*/ 104663 w 1332572"/>
              <a:gd name="connsiteY0" fmla="*/ 488407 h 488407"/>
              <a:gd name="connsiteX1" fmla="*/ 1332572 w 1332572"/>
              <a:gd name="connsiteY1" fmla="*/ 272870 h 488407"/>
              <a:gd name="connsiteX2" fmla="*/ 1332572 w 1332572"/>
              <a:gd name="connsiteY2" fmla="*/ 89990 h 488407"/>
              <a:gd name="connsiteX3" fmla="*/ 0 w 1332572"/>
              <a:gd name="connsiteY3" fmla="*/ 0 h 488407"/>
              <a:gd name="connsiteX4" fmla="*/ 104663 w 1332572"/>
              <a:gd name="connsiteY4" fmla="*/ 488407 h 488407"/>
              <a:gd name="connsiteX0" fmla="*/ 58754 w 1286663"/>
              <a:gd name="connsiteY0" fmla="*/ 488407 h 488407"/>
              <a:gd name="connsiteX1" fmla="*/ 1286663 w 1286663"/>
              <a:gd name="connsiteY1" fmla="*/ 272870 h 488407"/>
              <a:gd name="connsiteX2" fmla="*/ 1286663 w 1286663"/>
              <a:gd name="connsiteY2" fmla="*/ 89990 h 488407"/>
              <a:gd name="connsiteX3" fmla="*/ 0 w 1286663"/>
              <a:gd name="connsiteY3" fmla="*/ 0 h 488407"/>
              <a:gd name="connsiteX4" fmla="*/ 58754 w 1286663"/>
              <a:gd name="connsiteY4" fmla="*/ 488407 h 488407"/>
              <a:gd name="connsiteX0" fmla="*/ 58754 w 1293221"/>
              <a:gd name="connsiteY0" fmla="*/ 574912 h 574912"/>
              <a:gd name="connsiteX1" fmla="*/ 1286663 w 1293221"/>
              <a:gd name="connsiteY1" fmla="*/ 359375 h 574912"/>
              <a:gd name="connsiteX2" fmla="*/ 1293221 w 1293221"/>
              <a:gd name="connsiteY2" fmla="*/ 0 h 574912"/>
              <a:gd name="connsiteX3" fmla="*/ 0 w 1293221"/>
              <a:gd name="connsiteY3" fmla="*/ 86505 h 574912"/>
              <a:gd name="connsiteX4" fmla="*/ 58754 w 1293221"/>
              <a:gd name="connsiteY4" fmla="*/ 574912 h 574912"/>
              <a:gd name="connsiteX0" fmla="*/ 58754 w 1470298"/>
              <a:gd name="connsiteY0" fmla="*/ 574912 h 574912"/>
              <a:gd name="connsiteX1" fmla="*/ 1470298 w 1470298"/>
              <a:gd name="connsiteY1" fmla="*/ 561083 h 574912"/>
              <a:gd name="connsiteX2" fmla="*/ 1293221 w 1470298"/>
              <a:gd name="connsiteY2" fmla="*/ 0 h 574912"/>
              <a:gd name="connsiteX3" fmla="*/ 0 w 1470298"/>
              <a:gd name="connsiteY3" fmla="*/ 86505 h 574912"/>
              <a:gd name="connsiteX4" fmla="*/ 58754 w 1470298"/>
              <a:gd name="connsiteY4" fmla="*/ 574912 h 574912"/>
              <a:gd name="connsiteX0" fmla="*/ 65313 w 1470298"/>
              <a:gd name="connsiteY0" fmla="*/ 795531 h 795531"/>
              <a:gd name="connsiteX1" fmla="*/ 1470298 w 1470298"/>
              <a:gd name="connsiteY1" fmla="*/ 561083 h 795531"/>
              <a:gd name="connsiteX2" fmla="*/ 1293221 w 1470298"/>
              <a:gd name="connsiteY2" fmla="*/ 0 h 795531"/>
              <a:gd name="connsiteX3" fmla="*/ 0 w 1470298"/>
              <a:gd name="connsiteY3" fmla="*/ 86505 h 795531"/>
              <a:gd name="connsiteX4" fmla="*/ 65313 w 1470298"/>
              <a:gd name="connsiteY4" fmla="*/ 795531 h 795531"/>
              <a:gd name="connsiteX0" fmla="*/ 65313 w 1844126"/>
              <a:gd name="connsiteY0" fmla="*/ 795531 h 795531"/>
              <a:gd name="connsiteX1" fmla="*/ 1844126 w 1844126"/>
              <a:gd name="connsiteY1" fmla="*/ 504352 h 795531"/>
              <a:gd name="connsiteX2" fmla="*/ 1293221 w 1844126"/>
              <a:gd name="connsiteY2" fmla="*/ 0 h 795531"/>
              <a:gd name="connsiteX3" fmla="*/ 0 w 1844126"/>
              <a:gd name="connsiteY3" fmla="*/ 86505 h 795531"/>
              <a:gd name="connsiteX4" fmla="*/ 65313 w 1844126"/>
              <a:gd name="connsiteY4" fmla="*/ 795531 h 795531"/>
              <a:gd name="connsiteX0" fmla="*/ 65313 w 1844126"/>
              <a:gd name="connsiteY0" fmla="*/ 845958 h 845958"/>
              <a:gd name="connsiteX1" fmla="*/ 1844126 w 1844126"/>
              <a:gd name="connsiteY1" fmla="*/ 554779 h 845958"/>
              <a:gd name="connsiteX2" fmla="*/ 1621141 w 1844126"/>
              <a:gd name="connsiteY2" fmla="*/ 0 h 845958"/>
              <a:gd name="connsiteX3" fmla="*/ 0 w 1844126"/>
              <a:gd name="connsiteY3" fmla="*/ 136932 h 845958"/>
              <a:gd name="connsiteX4" fmla="*/ 65313 w 1844126"/>
              <a:gd name="connsiteY4" fmla="*/ 845958 h 845958"/>
              <a:gd name="connsiteX0" fmla="*/ 65313 w 1844126"/>
              <a:gd name="connsiteY0" fmla="*/ 864868 h 864868"/>
              <a:gd name="connsiteX1" fmla="*/ 1844126 w 1844126"/>
              <a:gd name="connsiteY1" fmla="*/ 573689 h 864868"/>
              <a:gd name="connsiteX2" fmla="*/ 1621141 w 1844126"/>
              <a:gd name="connsiteY2" fmla="*/ 0 h 864868"/>
              <a:gd name="connsiteX3" fmla="*/ 0 w 1844126"/>
              <a:gd name="connsiteY3" fmla="*/ 155842 h 864868"/>
              <a:gd name="connsiteX4" fmla="*/ 65313 w 1844126"/>
              <a:gd name="connsiteY4" fmla="*/ 864868 h 864868"/>
              <a:gd name="connsiteX0" fmla="*/ 65313 w 1686724"/>
              <a:gd name="connsiteY0" fmla="*/ 864868 h 864868"/>
              <a:gd name="connsiteX1" fmla="*/ 1686724 w 1686724"/>
              <a:gd name="connsiteY1" fmla="*/ 561082 h 864868"/>
              <a:gd name="connsiteX2" fmla="*/ 1621141 w 1686724"/>
              <a:gd name="connsiteY2" fmla="*/ 0 h 864868"/>
              <a:gd name="connsiteX3" fmla="*/ 0 w 1686724"/>
              <a:gd name="connsiteY3" fmla="*/ 155842 h 864868"/>
              <a:gd name="connsiteX4" fmla="*/ 65313 w 1686724"/>
              <a:gd name="connsiteY4" fmla="*/ 864868 h 864868"/>
              <a:gd name="connsiteX0" fmla="*/ 39079 w 1660490"/>
              <a:gd name="connsiteY0" fmla="*/ 864868 h 864868"/>
              <a:gd name="connsiteX1" fmla="*/ 1660490 w 1660490"/>
              <a:gd name="connsiteY1" fmla="*/ 561082 h 864868"/>
              <a:gd name="connsiteX2" fmla="*/ 1594907 w 1660490"/>
              <a:gd name="connsiteY2" fmla="*/ 0 h 864868"/>
              <a:gd name="connsiteX3" fmla="*/ 0 w 1660490"/>
              <a:gd name="connsiteY3" fmla="*/ 351248 h 864868"/>
              <a:gd name="connsiteX4" fmla="*/ 39079 w 1660490"/>
              <a:gd name="connsiteY4" fmla="*/ 864868 h 864868"/>
              <a:gd name="connsiteX0" fmla="*/ 39079 w 1857243"/>
              <a:gd name="connsiteY0" fmla="*/ 719889 h 719889"/>
              <a:gd name="connsiteX1" fmla="*/ 1660490 w 1857243"/>
              <a:gd name="connsiteY1" fmla="*/ 416103 h 719889"/>
              <a:gd name="connsiteX2" fmla="*/ 1857243 w 1857243"/>
              <a:gd name="connsiteY2" fmla="*/ 0 h 719889"/>
              <a:gd name="connsiteX3" fmla="*/ 0 w 1857243"/>
              <a:gd name="connsiteY3" fmla="*/ 206269 h 719889"/>
              <a:gd name="connsiteX4" fmla="*/ 39079 w 1857243"/>
              <a:gd name="connsiteY4" fmla="*/ 719889 h 719889"/>
              <a:gd name="connsiteX0" fmla="*/ 39079 w 1909709"/>
              <a:gd name="connsiteY0" fmla="*/ 719889 h 719889"/>
              <a:gd name="connsiteX1" fmla="*/ 1909709 w 1909709"/>
              <a:gd name="connsiteY1" fmla="*/ 208090 h 719889"/>
              <a:gd name="connsiteX2" fmla="*/ 1857243 w 1909709"/>
              <a:gd name="connsiteY2" fmla="*/ 0 h 719889"/>
              <a:gd name="connsiteX3" fmla="*/ 0 w 1909709"/>
              <a:gd name="connsiteY3" fmla="*/ 206269 h 719889"/>
              <a:gd name="connsiteX4" fmla="*/ 39079 w 1909709"/>
              <a:gd name="connsiteY4" fmla="*/ 719889 h 719889"/>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206269 h 511876"/>
              <a:gd name="connsiteX4" fmla="*/ 39079 w 1909709"/>
              <a:gd name="connsiteY4" fmla="*/ 511876 h 511876"/>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121173 h 511876"/>
              <a:gd name="connsiteX4" fmla="*/ 39079 w 1909709"/>
              <a:gd name="connsiteY4" fmla="*/ 511876 h 511876"/>
              <a:gd name="connsiteX0" fmla="*/ 39079 w 1857243"/>
              <a:gd name="connsiteY0" fmla="*/ 511876 h 511876"/>
              <a:gd name="connsiteX1" fmla="*/ 1748372 w 1857243"/>
              <a:gd name="connsiteY1" fmla="*/ 309201 h 511876"/>
              <a:gd name="connsiteX2" fmla="*/ 1857243 w 1857243"/>
              <a:gd name="connsiteY2" fmla="*/ 0 h 511876"/>
              <a:gd name="connsiteX3" fmla="*/ 0 w 1857243"/>
              <a:gd name="connsiteY3" fmla="*/ 121173 h 511876"/>
              <a:gd name="connsiteX4" fmla="*/ 39079 w 1857243"/>
              <a:gd name="connsiteY4" fmla="*/ 511876 h 511876"/>
              <a:gd name="connsiteX0" fmla="*/ 39079 w 1748372"/>
              <a:gd name="connsiteY0" fmla="*/ 499237 h 499237"/>
              <a:gd name="connsiteX1" fmla="*/ 1748372 w 1748372"/>
              <a:gd name="connsiteY1" fmla="*/ 296562 h 499237"/>
              <a:gd name="connsiteX2" fmla="*/ 1723965 w 1748372"/>
              <a:gd name="connsiteY2" fmla="*/ 0 h 499237"/>
              <a:gd name="connsiteX3" fmla="*/ 0 w 1748372"/>
              <a:gd name="connsiteY3" fmla="*/ 108534 h 499237"/>
              <a:gd name="connsiteX4" fmla="*/ 39079 w 1748372"/>
              <a:gd name="connsiteY4" fmla="*/ 499237 h 499237"/>
              <a:gd name="connsiteX0" fmla="*/ 95196 w 1748372"/>
              <a:gd name="connsiteY0" fmla="*/ 451841 h 451841"/>
              <a:gd name="connsiteX1" fmla="*/ 1748372 w 1748372"/>
              <a:gd name="connsiteY1" fmla="*/ 296562 h 451841"/>
              <a:gd name="connsiteX2" fmla="*/ 1723965 w 1748372"/>
              <a:gd name="connsiteY2" fmla="*/ 0 h 451841"/>
              <a:gd name="connsiteX3" fmla="*/ 0 w 1748372"/>
              <a:gd name="connsiteY3" fmla="*/ 108534 h 451841"/>
              <a:gd name="connsiteX4" fmla="*/ 95196 w 1748372"/>
              <a:gd name="connsiteY4" fmla="*/ 451841 h 451841"/>
              <a:gd name="connsiteX0" fmla="*/ 95196 w 1723965"/>
              <a:gd name="connsiteY0" fmla="*/ 451841 h 451841"/>
              <a:gd name="connsiteX1" fmla="*/ 1713299 w 1723965"/>
              <a:gd name="connsiteY1" fmla="*/ 315520 h 451841"/>
              <a:gd name="connsiteX2" fmla="*/ 1723965 w 1723965"/>
              <a:gd name="connsiteY2" fmla="*/ 0 h 451841"/>
              <a:gd name="connsiteX3" fmla="*/ 0 w 1723965"/>
              <a:gd name="connsiteY3" fmla="*/ 108534 h 451841"/>
              <a:gd name="connsiteX4" fmla="*/ 95196 w 1723965"/>
              <a:gd name="connsiteY4" fmla="*/ 451841 h 451841"/>
              <a:gd name="connsiteX0" fmla="*/ 95196 w 1713299"/>
              <a:gd name="connsiteY0" fmla="*/ 455001 h 455001"/>
              <a:gd name="connsiteX1" fmla="*/ 1713299 w 1713299"/>
              <a:gd name="connsiteY1" fmla="*/ 318680 h 455001"/>
              <a:gd name="connsiteX2" fmla="*/ 1667848 w 1713299"/>
              <a:gd name="connsiteY2" fmla="*/ 0 h 455001"/>
              <a:gd name="connsiteX3" fmla="*/ 0 w 1713299"/>
              <a:gd name="connsiteY3" fmla="*/ 111694 h 455001"/>
              <a:gd name="connsiteX4" fmla="*/ 95196 w 1713299"/>
              <a:gd name="connsiteY4" fmla="*/ 455001 h 455001"/>
              <a:gd name="connsiteX0" fmla="*/ 67137 w 1685240"/>
              <a:gd name="connsiteY0" fmla="*/ 455001 h 455001"/>
              <a:gd name="connsiteX1" fmla="*/ 1685240 w 1685240"/>
              <a:gd name="connsiteY1" fmla="*/ 318680 h 455001"/>
              <a:gd name="connsiteX2" fmla="*/ 1639789 w 1685240"/>
              <a:gd name="connsiteY2" fmla="*/ 0 h 455001"/>
              <a:gd name="connsiteX3" fmla="*/ 0 w 1685240"/>
              <a:gd name="connsiteY3" fmla="*/ 130652 h 455001"/>
              <a:gd name="connsiteX4" fmla="*/ 67137 w 1685240"/>
              <a:gd name="connsiteY4" fmla="*/ 455001 h 455001"/>
              <a:gd name="connsiteX0" fmla="*/ 67137 w 1667473"/>
              <a:gd name="connsiteY0" fmla="*/ 455001 h 455001"/>
              <a:gd name="connsiteX1" fmla="*/ 1667473 w 1667473"/>
              <a:gd name="connsiteY1" fmla="*/ 242054 h 455001"/>
              <a:gd name="connsiteX2" fmla="*/ 1639789 w 1667473"/>
              <a:gd name="connsiteY2" fmla="*/ 0 h 455001"/>
              <a:gd name="connsiteX3" fmla="*/ 0 w 1667473"/>
              <a:gd name="connsiteY3" fmla="*/ 130652 h 455001"/>
              <a:gd name="connsiteX4" fmla="*/ 67137 w 1667473"/>
              <a:gd name="connsiteY4" fmla="*/ 455001 h 455001"/>
              <a:gd name="connsiteX0" fmla="*/ 100217 w 1700553"/>
              <a:gd name="connsiteY0" fmla="*/ 455001 h 455001"/>
              <a:gd name="connsiteX1" fmla="*/ 1700553 w 1700553"/>
              <a:gd name="connsiteY1" fmla="*/ 242054 h 455001"/>
              <a:gd name="connsiteX2" fmla="*/ 1672869 w 1700553"/>
              <a:gd name="connsiteY2" fmla="*/ 0 h 455001"/>
              <a:gd name="connsiteX3" fmla="*/ 0 w 1700553"/>
              <a:gd name="connsiteY3" fmla="*/ 205540 h 455001"/>
              <a:gd name="connsiteX4" fmla="*/ 100217 w 1700553"/>
              <a:gd name="connsiteY4" fmla="*/ 455001 h 455001"/>
              <a:gd name="connsiteX0" fmla="*/ 100217 w 1700553"/>
              <a:gd name="connsiteY0" fmla="*/ 366878 h 366878"/>
              <a:gd name="connsiteX1" fmla="*/ 1700553 w 1700553"/>
              <a:gd name="connsiteY1" fmla="*/ 153931 h 366878"/>
              <a:gd name="connsiteX2" fmla="*/ 1588975 w 1700553"/>
              <a:gd name="connsiteY2" fmla="*/ 0 h 366878"/>
              <a:gd name="connsiteX3" fmla="*/ 0 w 1700553"/>
              <a:gd name="connsiteY3" fmla="*/ 117417 h 366878"/>
              <a:gd name="connsiteX4" fmla="*/ 100217 w 1700553"/>
              <a:gd name="connsiteY4" fmla="*/ 366878 h 366878"/>
              <a:gd name="connsiteX0" fmla="*/ 115726 w 1700553"/>
              <a:gd name="connsiteY0" fmla="*/ 305211 h 305211"/>
              <a:gd name="connsiteX1" fmla="*/ 1700553 w 1700553"/>
              <a:gd name="connsiteY1" fmla="*/ 153931 h 305211"/>
              <a:gd name="connsiteX2" fmla="*/ 1588975 w 1700553"/>
              <a:gd name="connsiteY2" fmla="*/ 0 h 305211"/>
              <a:gd name="connsiteX3" fmla="*/ 0 w 1700553"/>
              <a:gd name="connsiteY3" fmla="*/ 117417 h 305211"/>
              <a:gd name="connsiteX4" fmla="*/ 115726 w 1700553"/>
              <a:gd name="connsiteY4" fmla="*/ 305211 h 305211"/>
              <a:gd name="connsiteX0" fmla="*/ 115726 w 1700553"/>
              <a:gd name="connsiteY0" fmla="*/ 321895 h 321895"/>
              <a:gd name="connsiteX1" fmla="*/ 1700553 w 1700553"/>
              <a:gd name="connsiteY1" fmla="*/ 170615 h 321895"/>
              <a:gd name="connsiteX2" fmla="*/ 1471607 w 1700553"/>
              <a:gd name="connsiteY2" fmla="*/ 0 h 321895"/>
              <a:gd name="connsiteX3" fmla="*/ 0 w 1700553"/>
              <a:gd name="connsiteY3" fmla="*/ 134101 h 321895"/>
              <a:gd name="connsiteX4" fmla="*/ 115726 w 1700553"/>
              <a:gd name="connsiteY4" fmla="*/ 321895 h 321895"/>
              <a:gd name="connsiteX0" fmla="*/ 115726 w 1581352"/>
              <a:gd name="connsiteY0" fmla="*/ 321895 h 321895"/>
              <a:gd name="connsiteX1" fmla="*/ 1581352 w 1581352"/>
              <a:gd name="connsiteY1" fmla="*/ 210307 h 321895"/>
              <a:gd name="connsiteX2" fmla="*/ 1471607 w 1581352"/>
              <a:gd name="connsiteY2" fmla="*/ 0 h 321895"/>
              <a:gd name="connsiteX3" fmla="*/ 0 w 1581352"/>
              <a:gd name="connsiteY3" fmla="*/ 134101 h 321895"/>
              <a:gd name="connsiteX4" fmla="*/ 115726 w 1581352"/>
              <a:gd name="connsiteY4" fmla="*/ 321895 h 321895"/>
              <a:gd name="connsiteX0" fmla="*/ 92298 w 1557924"/>
              <a:gd name="connsiteY0" fmla="*/ 321895 h 321895"/>
              <a:gd name="connsiteX1" fmla="*/ 1557924 w 1557924"/>
              <a:gd name="connsiteY1" fmla="*/ 210307 h 321895"/>
              <a:gd name="connsiteX2" fmla="*/ 1448179 w 1557924"/>
              <a:gd name="connsiteY2" fmla="*/ 0 h 321895"/>
              <a:gd name="connsiteX3" fmla="*/ 0 w 1557924"/>
              <a:gd name="connsiteY3" fmla="*/ 116473 h 321895"/>
              <a:gd name="connsiteX4" fmla="*/ 92298 w 1557924"/>
              <a:gd name="connsiteY4" fmla="*/ 321895 h 321895"/>
              <a:gd name="connsiteX0" fmla="*/ 152961 w 1557924"/>
              <a:gd name="connsiteY0" fmla="*/ 341247 h 341247"/>
              <a:gd name="connsiteX1" fmla="*/ 1557924 w 1557924"/>
              <a:gd name="connsiteY1" fmla="*/ 210307 h 341247"/>
              <a:gd name="connsiteX2" fmla="*/ 1448179 w 1557924"/>
              <a:gd name="connsiteY2" fmla="*/ 0 h 341247"/>
              <a:gd name="connsiteX3" fmla="*/ 0 w 1557924"/>
              <a:gd name="connsiteY3" fmla="*/ 116473 h 341247"/>
              <a:gd name="connsiteX4" fmla="*/ 152961 w 1557924"/>
              <a:gd name="connsiteY4" fmla="*/ 341247 h 341247"/>
              <a:gd name="connsiteX0" fmla="*/ 135357 w 1557924"/>
              <a:gd name="connsiteY0" fmla="*/ 339493 h 339493"/>
              <a:gd name="connsiteX1" fmla="*/ 1557924 w 1557924"/>
              <a:gd name="connsiteY1" fmla="*/ 210307 h 339493"/>
              <a:gd name="connsiteX2" fmla="*/ 1448179 w 1557924"/>
              <a:gd name="connsiteY2" fmla="*/ 0 h 339493"/>
              <a:gd name="connsiteX3" fmla="*/ 0 w 1557924"/>
              <a:gd name="connsiteY3" fmla="*/ 116473 h 339493"/>
              <a:gd name="connsiteX4" fmla="*/ 135357 w 1557924"/>
              <a:gd name="connsiteY4" fmla="*/ 339493 h 339493"/>
              <a:gd name="connsiteX0" fmla="*/ 109934 w 1532501"/>
              <a:gd name="connsiteY0" fmla="*/ 339493 h 339493"/>
              <a:gd name="connsiteX1" fmla="*/ 1532501 w 1532501"/>
              <a:gd name="connsiteY1" fmla="*/ 210307 h 339493"/>
              <a:gd name="connsiteX2" fmla="*/ 1422756 w 1532501"/>
              <a:gd name="connsiteY2" fmla="*/ 0 h 339493"/>
              <a:gd name="connsiteX3" fmla="*/ 0 w 1532501"/>
              <a:gd name="connsiteY3" fmla="*/ 117343 h 339493"/>
              <a:gd name="connsiteX4" fmla="*/ 109934 w 1532501"/>
              <a:gd name="connsiteY4" fmla="*/ 339493 h 339493"/>
              <a:gd name="connsiteX0" fmla="*/ 133525 w 1556092"/>
              <a:gd name="connsiteY0" fmla="*/ 339493 h 339493"/>
              <a:gd name="connsiteX1" fmla="*/ 1556092 w 1556092"/>
              <a:gd name="connsiteY1" fmla="*/ 210307 h 339493"/>
              <a:gd name="connsiteX2" fmla="*/ 1446347 w 1556092"/>
              <a:gd name="connsiteY2" fmla="*/ 0 h 339493"/>
              <a:gd name="connsiteX3" fmla="*/ 0 w 1556092"/>
              <a:gd name="connsiteY3" fmla="*/ 60098 h 339493"/>
              <a:gd name="connsiteX4" fmla="*/ 133525 w 1556092"/>
              <a:gd name="connsiteY4" fmla="*/ 339493 h 339493"/>
              <a:gd name="connsiteX0" fmla="*/ 133525 w 2343667"/>
              <a:gd name="connsiteY0" fmla="*/ 459688 h 459688"/>
              <a:gd name="connsiteX1" fmla="*/ 1556092 w 2343667"/>
              <a:gd name="connsiteY1" fmla="*/ 330502 h 459688"/>
              <a:gd name="connsiteX2" fmla="*/ 2343667 w 2343667"/>
              <a:gd name="connsiteY2" fmla="*/ 0 h 459688"/>
              <a:gd name="connsiteX3" fmla="*/ 0 w 2343667"/>
              <a:gd name="connsiteY3" fmla="*/ 180293 h 459688"/>
              <a:gd name="connsiteX4" fmla="*/ 133525 w 2343667"/>
              <a:gd name="connsiteY4" fmla="*/ 459688 h 459688"/>
              <a:gd name="connsiteX0" fmla="*/ 133525 w 2391079"/>
              <a:gd name="connsiteY0" fmla="*/ 459688 h 459688"/>
              <a:gd name="connsiteX1" fmla="*/ 2391079 w 2391079"/>
              <a:gd name="connsiteY1" fmla="*/ 322204 h 459688"/>
              <a:gd name="connsiteX2" fmla="*/ 2343667 w 2391079"/>
              <a:gd name="connsiteY2" fmla="*/ 0 h 459688"/>
              <a:gd name="connsiteX3" fmla="*/ 0 w 2391079"/>
              <a:gd name="connsiteY3" fmla="*/ 180293 h 459688"/>
              <a:gd name="connsiteX4" fmla="*/ 133525 w 2391079"/>
              <a:gd name="connsiteY4" fmla="*/ 459688 h 459688"/>
              <a:gd name="connsiteX0" fmla="*/ 159047 w 2391079"/>
              <a:gd name="connsiteY0" fmla="*/ 505482 h 505482"/>
              <a:gd name="connsiteX1" fmla="*/ 2391079 w 2391079"/>
              <a:gd name="connsiteY1" fmla="*/ 322204 h 505482"/>
              <a:gd name="connsiteX2" fmla="*/ 2343667 w 2391079"/>
              <a:gd name="connsiteY2" fmla="*/ 0 h 505482"/>
              <a:gd name="connsiteX3" fmla="*/ 0 w 2391079"/>
              <a:gd name="connsiteY3" fmla="*/ 180293 h 505482"/>
              <a:gd name="connsiteX4" fmla="*/ 159047 w 2391079"/>
              <a:gd name="connsiteY4" fmla="*/ 505482 h 505482"/>
              <a:gd name="connsiteX0" fmla="*/ 159047 w 2391079"/>
              <a:gd name="connsiteY0" fmla="*/ 518659 h 518659"/>
              <a:gd name="connsiteX1" fmla="*/ 2391079 w 2391079"/>
              <a:gd name="connsiteY1" fmla="*/ 335381 h 518659"/>
              <a:gd name="connsiteX2" fmla="*/ 2261507 w 2391079"/>
              <a:gd name="connsiteY2" fmla="*/ 0 h 518659"/>
              <a:gd name="connsiteX3" fmla="*/ 0 w 2391079"/>
              <a:gd name="connsiteY3" fmla="*/ 193470 h 518659"/>
              <a:gd name="connsiteX4" fmla="*/ 159047 w 2391079"/>
              <a:gd name="connsiteY4" fmla="*/ 518659 h 518659"/>
              <a:gd name="connsiteX0" fmla="*/ 159047 w 2513813"/>
              <a:gd name="connsiteY0" fmla="*/ 498511 h 498511"/>
              <a:gd name="connsiteX1" fmla="*/ 2391079 w 2513813"/>
              <a:gd name="connsiteY1" fmla="*/ 315233 h 498511"/>
              <a:gd name="connsiteX2" fmla="*/ 2513813 w 2513813"/>
              <a:gd name="connsiteY2" fmla="*/ 0 h 498511"/>
              <a:gd name="connsiteX3" fmla="*/ 0 w 2513813"/>
              <a:gd name="connsiteY3" fmla="*/ 173322 h 498511"/>
              <a:gd name="connsiteX4" fmla="*/ 159047 w 2513813"/>
              <a:gd name="connsiteY4" fmla="*/ 498511 h 498511"/>
              <a:gd name="connsiteX0" fmla="*/ 159047 w 2547383"/>
              <a:gd name="connsiteY0" fmla="*/ 498511 h 498511"/>
              <a:gd name="connsiteX1" fmla="*/ 2547383 w 2547383"/>
              <a:gd name="connsiteY1" fmla="*/ 252623 h 498511"/>
              <a:gd name="connsiteX2" fmla="*/ 2513813 w 2547383"/>
              <a:gd name="connsiteY2" fmla="*/ 0 h 498511"/>
              <a:gd name="connsiteX3" fmla="*/ 0 w 2547383"/>
              <a:gd name="connsiteY3" fmla="*/ 173322 h 498511"/>
              <a:gd name="connsiteX4" fmla="*/ 159047 w 2547383"/>
              <a:gd name="connsiteY4" fmla="*/ 498511 h 498511"/>
              <a:gd name="connsiteX0" fmla="*/ 164772 w 2553108"/>
              <a:gd name="connsiteY0" fmla="*/ 498511 h 498511"/>
              <a:gd name="connsiteX1" fmla="*/ 2553108 w 2553108"/>
              <a:gd name="connsiteY1" fmla="*/ 252623 h 498511"/>
              <a:gd name="connsiteX2" fmla="*/ 2519538 w 2553108"/>
              <a:gd name="connsiteY2" fmla="*/ 0 h 498511"/>
              <a:gd name="connsiteX3" fmla="*/ 0 w 2553108"/>
              <a:gd name="connsiteY3" fmla="*/ 237627 h 498511"/>
              <a:gd name="connsiteX4" fmla="*/ 164772 w 2553108"/>
              <a:gd name="connsiteY4" fmla="*/ 498511 h 498511"/>
              <a:gd name="connsiteX0" fmla="*/ 102113 w 2553108"/>
              <a:gd name="connsiteY0" fmla="*/ 460662 h 460662"/>
              <a:gd name="connsiteX1" fmla="*/ 2553108 w 2553108"/>
              <a:gd name="connsiteY1" fmla="*/ 252623 h 460662"/>
              <a:gd name="connsiteX2" fmla="*/ 2519538 w 2553108"/>
              <a:gd name="connsiteY2" fmla="*/ 0 h 460662"/>
              <a:gd name="connsiteX3" fmla="*/ 0 w 2553108"/>
              <a:gd name="connsiteY3" fmla="*/ 237627 h 460662"/>
              <a:gd name="connsiteX4" fmla="*/ 102113 w 2553108"/>
              <a:gd name="connsiteY4" fmla="*/ 460662 h 460662"/>
              <a:gd name="connsiteX0" fmla="*/ 102113 w 2553108"/>
              <a:gd name="connsiteY0" fmla="*/ 424537 h 424537"/>
              <a:gd name="connsiteX1" fmla="*/ 2553108 w 2553108"/>
              <a:gd name="connsiteY1" fmla="*/ 216498 h 424537"/>
              <a:gd name="connsiteX2" fmla="*/ 2498106 w 2553108"/>
              <a:gd name="connsiteY2" fmla="*/ 0 h 424537"/>
              <a:gd name="connsiteX3" fmla="*/ 0 w 2553108"/>
              <a:gd name="connsiteY3" fmla="*/ 201502 h 424537"/>
              <a:gd name="connsiteX4" fmla="*/ 102113 w 2553108"/>
              <a:gd name="connsiteY4" fmla="*/ 424537 h 424537"/>
              <a:gd name="connsiteX0" fmla="*/ 90333 w 2553108"/>
              <a:gd name="connsiteY0" fmla="*/ 403402 h 403402"/>
              <a:gd name="connsiteX1" fmla="*/ 2553108 w 2553108"/>
              <a:gd name="connsiteY1" fmla="*/ 216498 h 403402"/>
              <a:gd name="connsiteX2" fmla="*/ 2498106 w 2553108"/>
              <a:gd name="connsiteY2" fmla="*/ 0 h 403402"/>
              <a:gd name="connsiteX3" fmla="*/ 0 w 2553108"/>
              <a:gd name="connsiteY3" fmla="*/ 201502 h 403402"/>
              <a:gd name="connsiteX4" fmla="*/ 90333 w 2553108"/>
              <a:gd name="connsiteY4" fmla="*/ 403402 h 403402"/>
              <a:gd name="connsiteX0" fmla="*/ 60951 w 2523726"/>
              <a:gd name="connsiteY0" fmla="*/ 403402 h 403402"/>
              <a:gd name="connsiteX1" fmla="*/ 2523726 w 2523726"/>
              <a:gd name="connsiteY1" fmla="*/ 216498 h 403402"/>
              <a:gd name="connsiteX2" fmla="*/ 2468724 w 2523726"/>
              <a:gd name="connsiteY2" fmla="*/ 0 h 403402"/>
              <a:gd name="connsiteX3" fmla="*/ 0 w 2523726"/>
              <a:gd name="connsiteY3" fmla="*/ 224392 h 403402"/>
              <a:gd name="connsiteX4" fmla="*/ 60951 w 2523726"/>
              <a:gd name="connsiteY4" fmla="*/ 403402 h 40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3726" h="403402">
                <a:moveTo>
                  <a:pt x="60951" y="403402"/>
                </a:moveTo>
                <a:lnTo>
                  <a:pt x="2523726" y="216498"/>
                </a:lnTo>
                <a:lnTo>
                  <a:pt x="2468724" y="0"/>
                </a:lnTo>
                <a:lnTo>
                  <a:pt x="0" y="224392"/>
                </a:lnTo>
                <a:lnTo>
                  <a:pt x="60951" y="403402"/>
                </a:lnTo>
                <a:close/>
              </a:path>
            </a:pathLst>
          </a:custGeom>
          <a:solidFill>
            <a:schemeClr val="bg1"/>
          </a:solidFill>
          <a:ln>
            <a:noFill/>
          </a:ln>
          <a:effectLst>
            <a:outerShdw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solidFill>
                <a:schemeClr val="accent4"/>
              </a:solidFill>
            </a:endParaRPr>
          </a:p>
        </p:txBody>
      </p:sp>
      <p:sp>
        <p:nvSpPr>
          <p:cNvPr id="12" name="TextBox 9">
            <a:extLst>
              <a:ext uri="{FF2B5EF4-FFF2-40B4-BE49-F238E27FC236}">
                <a16:creationId xmlns:a16="http://schemas.microsoft.com/office/drawing/2014/main" id="{C3944AA2-7FD8-4EED-A32C-A9F6411C21EC}"/>
              </a:ext>
            </a:extLst>
          </p:cNvPr>
          <p:cNvSpPr txBox="1">
            <a:spLocks noChangeArrowheads="1"/>
          </p:cNvSpPr>
          <p:nvPr/>
        </p:nvSpPr>
        <p:spPr bwMode="auto">
          <a:xfrm>
            <a:off x="266140" y="376885"/>
            <a:ext cx="2485989" cy="369332"/>
          </a:xfrm>
          <a:prstGeom prst="rect">
            <a:avLst/>
          </a:prstGeom>
          <a:noFill/>
          <a:ln w="9525">
            <a:noFill/>
            <a:miter lim="800000"/>
            <a:headEnd/>
            <a:tailEnd/>
          </a:ln>
          <a:effectLst/>
        </p:spPr>
        <p:txBody>
          <a:bodyPr wrap="square" lIns="0">
            <a:spAutoFit/>
          </a:bodyPr>
          <a:lstStyle/>
          <a:p>
            <a:pPr marL="3174">
              <a:lnSpc>
                <a:spcPct val="90000"/>
              </a:lnSpc>
              <a:spcBef>
                <a:spcPts val="1200"/>
              </a:spcBef>
              <a:buClr>
                <a:srgbClr val="5C5C5C"/>
              </a:buClr>
              <a:buSzPct val="80000"/>
            </a:pPr>
            <a:r>
              <a:rPr lang="nl-BE" sz="2000" b="1" dirty="0">
                <a:solidFill>
                  <a:srgbClr val="FFC000"/>
                </a:solidFill>
                <a:latin typeface="Amaranth" panose="02000503000000020004" pitchFamily="50" charset="0"/>
                <a:cs typeface="Arial" panose="020B0604020202020204" pitchFamily="34" charset="0"/>
              </a:rPr>
              <a:t>Software</a:t>
            </a:r>
          </a:p>
        </p:txBody>
      </p:sp>
      <p:pic>
        <p:nvPicPr>
          <p:cNvPr id="17" name="Afbeelding 16">
            <a:extLst>
              <a:ext uri="{FF2B5EF4-FFF2-40B4-BE49-F238E27FC236}">
                <a16:creationId xmlns:a16="http://schemas.microsoft.com/office/drawing/2014/main" id="{CC74526C-91E5-4356-9F09-02B38EF18E16}"/>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1241707" y="6052930"/>
            <a:ext cx="661508" cy="556592"/>
          </a:xfrm>
          <a:prstGeom prst="rect">
            <a:avLst/>
          </a:prstGeom>
        </p:spPr>
      </p:pic>
      <p:pic>
        <p:nvPicPr>
          <p:cNvPr id="2" name="Afbeelding 1">
            <a:extLst>
              <a:ext uri="{FF2B5EF4-FFF2-40B4-BE49-F238E27FC236}">
                <a16:creationId xmlns:a16="http://schemas.microsoft.com/office/drawing/2014/main" id="{7D7E1940-6283-41FA-93ED-760D49546DC0}"/>
              </a:ext>
            </a:extLst>
          </p:cNvPr>
          <p:cNvPicPr>
            <a:picLocks noChangeAspect="1"/>
          </p:cNvPicPr>
          <p:nvPr/>
        </p:nvPicPr>
        <p:blipFill>
          <a:blip r:embed="rId8"/>
          <a:stretch>
            <a:fillRect/>
          </a:stretch>
        </p:blipFill>
        <p:spPr>
          <a:xfrm>
            <a:off x="112187" y="1608238"/>
            <a:ext cx="5892800" cy="3798800"/>
          </a:xfrm>
          <a:prstGeom prst="rect">
            <a:avLst/>
          </a:prstGeom>
        </p:spPr>
      </p:pic>
      <p:pic>
        <p:nvPicPr>
          <p:cNvPr id="14" name="Picture 4" descr="https://citylifepro.be/images/playbutton.png">
            <a:hlinkClick r:id="rId9"/>
            <a:extLst>
              <a:ext uri="{FF2B5EF4-FFF2-40B4-BE49-F238E27FC236}">
                <a16:creationId xmlns:a16="http://schemas.microsoft.com/office/drawing/2014/main" id="{C094D267-A0F2-4B56-B39D-A2E63C53BB33}"/>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557554" y="3325611"/>
            <a:ext cx="1325696" cy="1325696"/>
          </a:xfrm>
          <a:prstGeom prst="rect">
            <a:avLst/>
          </a:prstGeom>
          <a:noFill/>
          <a:effectLst/>
          <a:extLst>
            <a:ext uri="{909E8E84-426E-40DD-AFC4-6F175D3DCCD1}">
              <a14:hiddenFill xmlns:a14="http://schemas.microsoft.com/office/drawing/2010/main">
                <a:solidFill>
                  <a:srgbClr val="FFFFFF"/>
                </a:solidFill>
              </a14:hiddenFill>
            </a:ext>
          </a:extLst>
        </p:spPr>
      </p:pic>
      <p:sp>
        <p:nvSpPr>
          <p:cNvPr id="3" name="Rechthoek 2">
            <a:extLst>
              <a:ext uri="{FF2B5EF4-FFF2-40B4-BE49-F238E27FC236}">
                <a16:creationId xmlns:a16="http://schemas.microsoft.com/office/drawing/2014/main" id="{47CDD009-415C-4BE2-B0FC-84C04A5FA5ED}"/>
              </a:ext>
            </a:extLst>
          </p:cNvPr>
          <p:cNvSpPr/>
          <p:nvPr/>
        </p:nvSpPr>
        <p:spPr>
          <a:xfrm>
            <a:off x="110247" y="5613175"/>
            <a:ext cx="5985753" cy="683274"/>
          </a:xfrm>
          <a:prstGeom prst="rect">
            <a:avLst/>
          </a:prstGeom>
          <a:solidFill>
            <a:srgbClr val="E95C0B"/>
          </a:solidFill>
          <a:ln>
            <a:solidFill>
              <a:srgbClr val="E95C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hthoek 5">
            <a:extLst>
              <a:ext uri="{FF2B5EF4-FFF2-40B4-BE49-F238E27FC236}">
                <a16:creationId xmlns:a16="http://schemas.microsoft.com/office/drawing/2014/main" id="{577B94FE-A7A4-459A-B8CA-BD3C79D5E307}"/>
              </a:ext>
            </a:extLst>
          </p:cNvPr>
          <p:cNvSpPr/>
          <p:nvPr/>
        </p:nvSpPr>
        <p:spPr>
          <a:xfrm>
            <a:off x="167411" y="5749549"/>
            <a:ext cx="5782352" cy="400110"/>
          </a:xfrm>
          <a:prstGeom prst="rect">
            <a:avLst/>
          </a:prstGeom>
        </p:spPr>
        <p:txBody>
          <a:bodyPr wrap="none">
            <a:spAutoFit/>
          </a:bodyPr>
          <a:lstStyle/>
          <a:p>
            <a:r>
              <a:rPr lang="nl-NL" sz="2000" dirty="0">
                <a:solidFill>
                  <a:schemeClr val="bg1"/>
                </a:solidFill>
              </a:rPr>
              <a:t>Speels en doelgericht leren in de wereld van </a:t>
            </a:r>
            <a:r>
              <a:rPr lang="nl-NL" sz="2000" dirty="0" err="1">
                <a:solidFill>
                  <a:schemeClr val="bg1"/>
                </a:solidFill>
              </a:rPr>
              <a:t>Pompom</a:t>
            </a:r>
            <a:endParaRPr lang="nl-NL" sz="2000" dirty="0">
              <a:solidFill>
                <a:schemeClr val="bg1"/>
              </a:solidFill>
            </a:endParaRPr>
          </a:p>
        </p:txBody>
      </p:sp>
    </p:spTree>
    <p:extLst>
      <p:ext uri="{BB962C8B-B14F-4D97-AF65-F5344CB8AC3E}">
        <p14:creationId xmlns:p14="http://schemas.microsoft.com/office/powerpoint/2010/main" val="29815279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Afbeelding 5">
            <a:extLst>
              <a:ext uri="{FF2B5EF4-FFF2-40B4-BE49-F238E27FC236}">
                <a16:creationId xmlns:a16="http://schemas.microsoft.com/office/drawing/2014/main" id="{6D97CBBA-3CF9-406E-BE3C-1DD30B5252A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4605" y="-1"/>
            <a:ext cx="4972676" cy="3345873"/>
          </a:xfrm>
          <a:prstGeom prst="rect">
            <a:avLst/>
          </a:prstGeom>
        </p:spPr>
      </p:pic>
      <p:sp>
        <p:nvSpPr>
          <p:cNvPr id="13" name="Rechthoek 12">
            <a:extLst>
              <a:ext uri="{FF2B5EF4-FFF2-40B4-BE49-F238E27FC236}">
                <a16:creationId xmlns:a16="http://schemas.microsoft.com/office/drawing/2014/main" id="{F814928D-5EF3-4F4C-816E-5C040FE23B3D}"/>
              </a:ext>
            </a:extLst>
          </p:cNvPr>
          <p:cNvSpPr/>
          <p:nvPr/>
        </p:nvSpPr>
        <p:spPr>
          <a:xfrm>
            <a:off x="7073767" y="0"/>
            <a:ext cx="5118233"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18" name="think-cell Slide" r:id="rId6" imgW="353" imgH="353" progId="TCLayout.ActiveDocument.1">
                  <p:embed/>
                </p:oleObj>
              </mc:Choice>
              <mc:Fallback>
                <p:oleObj name="think-cell Slide" r:id="rId6" imgW="353" imgH="353"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3" name="Rechthoek 12">
            <a:extLst>
              <a:ext uri="{FF2B5EF4-FFF2-40B4-BE49-F238E27FC236}">
                <a16:creationId xmlns:a16="http://schemas.microsoft.com/office/drawing/2014/main" id="{316ACA97-44B8-42BF-BB2A-D44205C8AD70}"/>
              </a:ext>
            </a:extLst>
          </p:cNvPr>
          <p:cNvSpPr/>
          <p:nvPr/>
        </p:nvSpPr>
        <p:spPr>
          <a:xfrm>
            <a:off x="5841022" y="1216259"/>
            <a:ext cx="5555226" cy="995144"/>
          </a:xfrm>
          <a:prstGeom prst="rect">
            <a:avLst/>
          </a:prstGeom>
        </p:spPr>
        <p:txBody>
          <a:bodyPr wrap="square" lIns="0" tIns="0" rIns="0" bIns="0">
            <a:spAutoFit/>
          </a:bodyPr>
          <a:lstStyle/>
          <a:p>
            <a:endParaRPr lang="nl-NL" sz="2400" dirty="0">
              <a:solidFill>
                <a:schemeClr val="bg1"/>
              </a:solidFill>
            </a:endParaRPr>
          </a:p>
          <a:p>
            <a:endParaRPr lang="nl-NL" sz="2400" dirty="0">
              <a:solidFill>
                <a:schemeClr val="bg1"/>
              </a:solidFill>
            </a:endParaRPr>
          </a:p>
          <a:p>
            <a:pPr marL="342900" marR="0" lvl="0" indent="-342900" algn="l" defTabSz="914400" rtl="0" eaLnBrk="1" fontAlgn="auto" latinLnBrk="0" hangingPunct="1">
              <a:lnSpc>
                <a:spcPts val="2000"/>
              </a:lnSpc>
              <a:spcBef>
                <a:spcPts val="0"/>
              </a:spcBef>
              <a:spcAft>
                <a:spcPts val="600"/>
              </a:spcAft>
              <a:buClrTx/>
              <a:buSzTx/>
              <a:buFont typeface="Arial" panose="020B0604020202020204" pitchFamily="34" charset="0"/>
              <a:buChar char="•"/>
              <a:tabLst/>
              <a:defRPr/>
            </a:pPr>
            <a:endParaRPr kumimoji="0" lang="nl-BE" sz="2400" b="0" i="0" u="none" strike="noStrike" kern="1200" cap="none" spc="0" normalizeH="0" baseline="0" noProof="0" dirty="0">
              <a:ln>
                <a:noFill/>
              </a:ln>
              <a:solidFill>
                <a:schemeClr val="bg1"/>
              </a:solidFill>
              <a:effectLst/>
              <a:uLnTx/>
              <a:uFillTx/>
              <a:ea typeface="+mn-ea"/>
              <a:cs typeface="Arial" panose="020B0604020202020204" pitchFamily="34" charset="0"/>
            </a:endParaRPr>
          </a:p>
        </p:txBody>
      </p:sp>
      <p:sp>
        <p:nvSpPr>
          <p:cNvPr id="14" name="Rechthoekige driehoek 13">
            <a:extLst>
              <a:ext uri="{FF2B5EF4-FFF2-40B4-BE49-F238E27FC236}">
                <a16:creationId xmlns:a16="http://schemas.microsoft.com/office/drawing/2014/main" id="{19BFAEA8-5722-4420-ADDA-6AF4350DAEA0}"/>
              </a:ext>
            </a:extLst>
          </p:cNvPr>
          <p:cNvSpPr/>
          <p:nvPr/>
        </p:nvSpPr>
        <p:spPr>
          <a:xfrm flipH="1" flipV="1">
            <a:off x="5230586" y="0"/>
            <a:ext cx="1843180" cy="6858000"/>
          </a:xfrm>
          <a:prstGeom prst="r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TextBox 14"/>
          <p:cNvSpPr txBox="1"/>
          <p:nvPr/>
        </p:nvSpPr>
        <p:spPr>
          <a:xfrm>
            <a:off x="6751700" y="2711027"/>
            <a:ext cx="5440300" cy="1754326"/>
          </a:xfrm>
          <a:prstGeom prst="rect">
            <a:avLst/>
          </a:prstGeom>
          <a:noFill/>
        </p:spPr>
        <p:txBody>
          <a:bodyPr wrap="square" rtlCol="0" anchor="b" anchorCtr="0">
            <a:spAutoFit/>
          </a:bodyPr>
          <a:lstStyle/>
          <a:p>
            <a:pPr marL="342900" lvl="0" indent="-342900">
              <a:lnSpc>
                <a:spcPct val="90000"/>
              </a:lnSpc>
              <a:buFont typeface="Arial" panose="020B0604020202020204" pitchFamily="34" charset="0"/>
              <a:buChar char="•"/>
              <a:tabLst>
                <a:tab pos="1971675" algn="l"/>
              </a:tabLst>
              <a:defRPr/>
            </a:pPr>
            <a:r>
              <a:rPr lang="nl-NL" sz="2400" dirty="0">
                <a:solidFill>
                  <a:schemeClr val="bg1"/>
                </a:solidFill>
              </a:rPr>
              <a:t>Programma genereert na elk spel automatisch het juiste niveau</a:t>
            </a:r>
          </a:p>
          <a:p>
            <a:pPr marL="342900" lvl="0" indent="-342900">
              <a:lnSpc>
                <a:spcPct val="90000"/>
              </a:lnSpc>
              <a:buFont typeface="Arial" panose="020B0604020202020204" pitchFamily="34" charset="0"/>
              <a:buChar char="•"/>
              <a:tabLst>
                <a:tab pos="1971675" algn="l"/>
              </a:tabLst>
              <a:defRPr/>
            </a:pPr>
            <a:endParaRPr lang="nl-NL" sz="2400" dirty="0">
              <a:solidFill>
                <a:schemeClr val="bg1"/>
              </a:solidFill>
            </a:endParaRPr>
          </a:p>
          <a:p>
            <a:pPr marL="342900" lvl="0" indent="-342900">
              <a:lnSpc>
                <a:spcPct val="90000"/>
              </a:lnSpc>
              <a:buFont typeface="Arial" panose="020B0604020202020204" pitchFamily="34" charset="0"/>
              <a:buChar char="•"/>
              <a:tabLst>
                <a:tab pos="1971675" algn="l"/>
              </a:tabLst>
              <a:defRPr/>
            </a:pPr>
            <a:r>
              <a:rPr lang="nl-NL" sz="2400" dirty="0">
                <a:solidFill>
                  <a:schemeClr val="bg1"/>
                </a:solidFill>
              </a:rPr>
              <a:t>De leerling werkt altijd op zijn eigen niveau</a:t>
            </a:r>
          </a:p>
        </p:txBody>
      </p:sp>
      <p:pic>
        <p:nvPicPr>
          <p:cNvPr id="19" name="Afbeelding 18">
            <a:extLst>
              <a:ext uri="{FF2B5EF4-FFF2-40B4-BE49-F238E27FC236}">
                <a16:creationId xmlns:a16="http://schemas.microsoft.com/office/drawing/2014/main" id="{253CB472-5FF0-4B6F-8421-EA37FCB2494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294831" y="6164016"/>
            <a:ext cx="724228" cy="563044"/>
          </a:xfrm>
          <a:prstGeom prst="rect">
            <a:avLst/>
          </a:prstGeom>
        </p:spPr>
      </p:pic>
      <p:pic>
        <p:nvPicPr>
          <p:cNvPr id="3" name="Afbeelding 2">
            <a:extLst>
              <a:ext uri="{FF2B5EF4-FFF2-40B4-BE49-F238E27FC236}">
                <a16:creationId xmlns:a16="http://schemas.microsoft.com/office/drawing/2014/main" id="{A9D5DD2E-FEB9-4A1E-AEFF-85DB82F63EE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73932" y="3512127"/>
            <a:ext cx="5003349" cy="3345873"/>
          </a:xfrm>
          <a:prstGeom prst="rect">
            <a:avLst/>
          </a:prstGeom>
        </p:spPr>
      </p:pic>
      <p:sp>
        <p:nvSpPr>
          <p:cNvPr id="10" name="Freeform 41">
            <a:extLst>
              <a:ext uri="{FF2B5EF4-FFF2-40B4-BE49-F238E27FC236}">
                <a16:creationId xmlns:a16="http://schemas.microsoft.com/office/drawing/2014/main" id="{A37733FA-031A-4C6C-A00F-821B6FF4086E}"/>
              </a:ext>
            </a:extLst>
          </p:cNvPr>
          <p:cNvSpPr/>
          <p:nvPr/>
        </p:nvSpPr>
        <p:spPr>
          <a:xfrm rot="845560">
            <a:off x="-32726" y="-111373"/>
            <a:ext cx="2164079" cy="1020274"/>
          </a:xfrm>
          <a:custGeom>
            <a:avLst/>
            <a:gdLst>
              <a:gd name="connsiteX0" fmla="*/ 45720 w 1267097"/>
              <a:gd name="connsiteY0" fmla="*/ 378823 h 378823"/>
              <a:gd name="connsiteX1" fmla="*/ 1267097 w 1267097"/>
              <a:gd name="connsiteY1" fmla="*/ 182880 h 378823"/>
              <a:gd name="connsiteX2" fmla="*/ 1267097 w 1267097"/>
              <a:gd name="connsiteY2" fmla="*/ 0 h 378823"/>
              <a:gd name="connsiteX3" fmla="*/ 0 w 1267097"/>
              <a:gd name="connsiteY3" fmla="*/ 189412 h 378823"/>
              <a:gd name="connsiteX4" fmla="*/ 45720 w 1267097"/>
              <a:gd name="connsiteY4" fmla="*/ 378823 h 378823"/>
              <a:gd name="connsiteX0" fmla="*/ 71845 w 1293222"/>
              <a:gd name="connsiteY0" fmla="*/ 378823 h 378823"/>
              <a:gd name="connsiteX1" fmla="*/ 1293222 w 1293222"/>
              <a:gd name="connsiteY1" fmla="*/ 182880 h 378823"/>
              <a:gd name="connsiteX2" fmla="*/ 1293222 w 1293222"/>
              <a:gd name="connsiteY2" fmla="*/ 0 h 378823"/>
              <a:gd name="connsiteX3" fmla="*/ 0 w 1293222"/>
              <a:gd name="connsiteY3" fmla="*/ 130629 h 378823"/>
              <a:gd name="connsiteX4" fmla="*/ 71845 w 1293222"/>
              <a:gd name="connsiteY4" fmla="*/ 378823 h 378823"/>
              <a:gd name="connsiteX0" fmla="*/ 65313 w 1293222"/>
              <a:gd name="connsiteY0" fmla="*/ 398417 h 398417"/>
              <a:gd name="connsiteX1" fmla="*/ 1293222 w 1293222"/>
              <a:gd name="connsiteY1" fmla="*/ 182880 h 398417"/>
              <a:gd name="connsiteX2" fmla="*/ 1293222 w 1293222"/>
              <a:gd name="connsiteY2" fmla="*/ 0 h 398417"/>
              <a:gd name="connsiteX3" fmla="*/ 0 w 1293222"/>
              <a:gd name="connsiteY3" fmla="*/ 130629 h 398417"/>
              <a:gd name="connsiteX4" fmla="*/ 65313 w 1293222"/>
              <a:gd name="connsiteY4" fmla="*/ 398417 h 398417"/>
              <a:gd name="connsiteX0" fmla="*/ 104663 w 1332572"/>
              <a:gd name="connsiteY0" fmla="*/ 488407 h 488407"/>
              <a:gd name="connsiteX1" fmla="*/ 1332572 w 1332572"/>
              <a:gd name="connsiteY1" fmla="*/ 272870 h 488407"/>
              <a:gd name="connsiteX2" fmla="*/ 1332572 w 1332572"/>
              <a:gd name="connsiteY2" fmla="*/ 89990 h 488407"/>
              <a:gd name="connsiteX3" fmla="*/ 0 w 1332572"/>
              <a:gd name="connsiteY3" fmla="*/ 0 h 488407"/>
              <a:gd name="connsiteX4" fmla="*/ 104663 w 1332572"/>
              <a:gd name="connsiteY4" fmla="*/ 488407 h 488407"/>
              <a:gd name="connsiteX0" fmla="*/ 58754 w 1286663"/>
              <a:gd name="connsiteY0" fmla="*/ 488407 h 488407"/>
              <a:gd name="connsiteX1" fmla="*/ 1286663 w 1286663"/>
              <a:gd name="connsiteY1" fmla="*/ 272870 h 488407"/>
              <a:gd name="connsiteX2" fmla="*/ 1286663 w 1286663"/>
              <a:gd name="connsiteY2" fmla="*/ 89990 h 488407"/>
              <a:gd name="connsiteX3" fmla="*/ 0 w 1286663"/>
              <a:gd name="connsiteY3" fmla="*/ 0 h 488407"/>
              <a:gd name="connsiteX4" fmla="*/ 58754 w 1286663"/>
              <a:gd name="connsiteY4" fmla="*/ 488407 h 488407"/>
              <a:gd name="connsiteX0" fmla="*/ 58754 w 1293221"/>
              <a:gd name="connsiteY0" fmla="*/ 574912 h 574912"/>
              <a:gd name="connsiteX1" fmla="*/ 1286663 w 1293221"/>
              <a:gd name="connsiteY1" fmla="*/ 359375 h 574912"/>
              <a:gd name="connsiteX2" fmla="*/ 1293221 w 1293221"/>
              <a:gd name="connsiteY2" fmla="*/ 0 h 574912"/>
              <a:gd name="connsiteX3" fmla="*/ 0 w 1293221"/>
              <a:gd name="connsiteY3" fmla="*/ 86505 h 574912"/>
              <a:gd name="connsiteX4" fmla="*/ 58754 w 1293221"/>
              <a:gd name="connsiteY4" fmla="*/ 574912 h 574912"/>
              <a:gd name="connsiteX0" fmla="*/ 58754 w 1470298"/>
              <a:gd name="connsiteY0" fmla="*/ 574912 h 574912"/>
              <a:gd name="connsiteX1" fmla="*/ 1470298 w 1470298"/>
              <a:gd name="connsiteY1" fmla="*/ 561083 h 574912"/>
              <a:gd name="connsiteX2" fmla="*/ 1293221 w 1470298"/>
              <a:gd name="connsiteY2" fmla="*/ 0 h 574912"/>
              <a:gd name="connsiteX3" fmla="*/ 0 w 1470298"/>
              <a:gd name="connsiteY3" fmla="*/ 86505 h 574912"/>
              <a:gd name="connsiteX4" fmla="*/ 58754 w 1470298"/>
              <a:gd name="connsiteY4" fmla="*/ 574912 h 574912"/>
              <a:gd name="connsiteX0" fmla="*/ 65313 w 1470298"/>
              <a:gd name="connsiteY0" fmla="*/ 795531 h 795531"/>
              <a:gd name="connsiteX1" fmla="*/ 1470298 w 1470298"/>
              <a:gd name="connsiteY1" fmla="*/ 561083 h 795531"/>
              <a:gd name="connsiteX2" fmla="*/ 1293221 w 1470298"/>
              <a:gd name="connsiteY2" fmla="*/ 0 h 795531"/>
              <a:gd name="connsiteX3" fmla="*/ 0 w 1470298"/>
              <a:gd name="connsiteY3" fmla="*/ 86505 h 795531"/>
              <a:gd name="connsiteX4" fmla="*/ 65313 w 1470298"/>
              <a:gd name="connsiteY4" fmla="*/ 795531 h 795531"/>
              <a:gd name="connsiteX0" fmla="*/ 65313 w 1844126"/>
              <a:gd name="connsiteY0" fmla="*/ 795531 h 795531"/>
              <a:gd name="connsiteX1" fmla="*/ 1844126 w 1844126"/>
              <a:gd name="connsiteY1" fmla="*/ 504352 h 795531"/>
              <a:gd name="connsiteX2" fmla="*/ 1293221 w 1844126"/>
              <a:gd name="connsiteY2" fmla="*/ 0 h 795531"/>
              <a:gd name="connsiteX3" fmla="*/ 0 w 1844126"/>
              <a:gd name="connsiteY3" fmla="*/ 86505 h 795531"/>
              <a:gd name="connsiteX4" fmla="*/ 65313 w 1844126"/>
              <a:gd name="connsiteY4" fmla="*/ 795531 h 795531"/>
              <a:gd name="connsiteX0" fmla="*/ 65313 w 1844126"/>
              <a:gd name="connsiteY0" fmla="*/ 845958 h 845958"/>
              <a:gd name="connsiteX1" fmla="*/ 1844126 w 1844126"/>
              <a:gd name="connsiteY1" fmla="*/ 554779 h 845958"/>
              <a:gd name="connsiteX2" fmla="*/ 1621141 w 1844126"/>
              <a:gd name="connsiteY2" fmla="*/ 0 h 845958"/>
              <a:gd name="connsiteX3" fmla="*/ 0 w 1844126"/>
              <a:gd name="connsiteY3" fmla="*/ 136932 h 845958"/>
              <a:gd name="connsiteX4" fmla="*/ 65313 w 1844126"/>
              <a:gd name="connsiteY4" fmla="*/ 845958 h 845958"/>
              <a:gd name="connsiteX0" fmla="*/ 65313 w 1844126"/>
              <a:gd name="connsiteY0" fmla="*/ 864868 h 864868"/>
              <a:gd name="connsiteX1" fmla="*/ 1844126 w 1844126"/>
              <a:gd name="connsiteY1" fmla="*/ 573689 h 864868"/>
              <a:gd name="connsiteX2" fmla="*/ 1621141 w 1844126"/>
              <a:gd name="connsiteY2" fmla="*/ 0 h 864868"/>
              <a:gd name="connsiteX3" fmla="*/ 0 w 1844126"/>
              <a:gd name="connsiteY3" fmla="*/ 155842 h 864868"/>
              <a:gd name="connsiteX4" fmla="*/ 65313 w 1844126"/>
              <a:gd name="connsiteY4" fmla="*/ 864868 h 864868"/>
              <a:gd name="connsiteX0" fmla="*/ 65313 w 1686724"/>
              <a:gd name="connsiteY0" fmla="*/ 864868 h 864868"/>
              <a:gd name="connsiteX1" fmla="*/ 1686724 w 1686724"/>
              <a:gd name="connsiteY1" fmla="*/ 561082 h 864868"/>
              <a:gd name="connsiteX2" fmla="*/ 1621141 w 1686724"/>
              <a:gd name="connsiteY2" fmla="*/ 0 h 864868"/>
              <a:gd name="connsiteX3" fmla="*/ 0 w 1686724"/>
              <a:gd name="connsiteY3" fmla="*/ 155842 h 864868"/>
              <a:gd name="connsiteX4" fmla="*/ 65313 w 1686724"/>
              <a:gd name="connsiteY4" fmla="*/ 864868 h 864868"/>
              <a:gd name="connsiteX0" fmla="*/ 39079 w 1660490"/>
              <a:gd name="connsiteY0" fmla="*/ 864868 h 864868"/>
              <a:gd name="connsiteX1" fmla="*/ 1660490 w 1660490"/>
              <a:gd name="connsiteY1" fmla="*/ 561082 h 864868"/>
              <a:gd name="connsiteX2" fmla="*/ 1594907 w 1660490"/>
              <a:gd name="connsiteY2" fmla="*/ 0 h 864868"/>
              <a:gd name="connsiteX3" fmla="*/ 0 w 1660490"/>
              <a:gd name="connsiteY3" fmla="*/ 351248 h 864868"/>
              <a:gd name="connsiteX4" fmla="*/ 39079 w 1660490"/>
              <a:gd name="connsiteY4" fmla="*/ 864868 h 864868"/>
              <a:gd name="connsiteX0" fmla="*/ 39079 w 1857243"/>
              <a:gd name="connsiteY0" fmla="*/ 719889 h 719889"/>
              <a:gd name="connsiteX1" fmla="*/ 1660490 w 1857243"/>
              <a:gd name="connsiteY1" fmla="*/ 416103 h 719889"/>
              <a:gd name="connsiteX2" fmla="*/ 1857243 w 1857243"/>
              <a:gd name="connsiteY2" fmla="*/ 0 h 719889"/>
              <a:gd name="connsiteX3" fmla="*/ 0 w 1857243"/>
              <a:gd name="connsiteY3" fmla="*/ 206269 h 719889"/>
              <a:gd name="connsiteX4" fmla="*/ 39079 w 1857243"/>
              <a:gd name="connsiteY4" fmla="*/ 719889 h 719889"/>
              <a:gd name="connsiteX0" fmla="*/ 39079 w 1909709"/>
              <a:gd name="connsiteY0" fmla="*/ 719889 h 719889"/>
              <a:gd name="connsiteX1" fmla="*/ 1909709 w 1909709"/>
              <a:gd name="connsiteY1" fmla="*/ 208090 h 719889"/>
              <a:gd name="connsiteX2" fmla="*/ 1857243 w 1909709"/>
              <a:gd name="connsiteY2" fmla="*/ 0 h 719889"/>
              <a:gd name="connsiteX3" fmla="*/ 0 w 1909709"/>
              <a:gd name="connsiteY3" fmla="*/ 206269 h 719889"/>
              <a:gd name="connsiteX4" fmla="*/ 39079 w 1909709"/>
              <a:gd name="connsiteY4" fmla="*/ 719889 h 719889"/>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206269 h 511876"/>
              <a:gd name="connsiteX4" fmla="*/ 39079 w 1909709"/>
              <a:gd name="connsiteY4" fmla="*/ 511876 h 511876"/>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121173 h 511876"/>
              <a:gd name="connsiteX4" fmla="*/ 39079 w 1909709"/>
              <a:gd name="connsiteY4" fmla="*/ 511876 h 511876"/>
              <a:gd name="connsiteX0" fmla="*/ 39079 w 1857243"/>
              <a:gd name="connsiteY0" fmla="*/ 511876 h 511876"/>
              <a:gd name="connsiteX1" fmla="*/ 1748372 w 1857243"/>
              <a:gd name="connsiteY1" fmla="*/ 309201 h 511876"/>
              <a:gd name="connsiteX2" fmla="*/ 1857243 w 1857243"/>
              <a:gd name="connsiteY2" fmla="*/ 0 h 511876"/>
              <a:gd name="connsiteX3" fmla="*/ 0 w 1857243"/>
              <a:gd name="connsiteY3" fmla="*/ 121173 h 511876"/>
              <a:gd name="connsiteX4" fmla="*/ 39079 w 1857243"/>
              <a:gd name="connsiteY4" fmla="*/ 511876 h 511876"/>
              <a:gd name="connsiteX0" fmla="*/ 39079 w 1748372"/>
              <a:gd name="connsiteY0" fmla="*/ 499237 h 499237"/>
              <a:gd name="connsiteX1" fmla="*/ 1748372 w 1748372"/>
              <a:gd name="connsiteY1" fmla="*/ 296562 h 499237"/>
              <a:gd name="connsiteX2" fmla="*/ 1723965 w 1748372"/>
              <a:gd name="connsiteY2" fmla="*/ 0 h 499237"/>
              <a:gd name="connsiteX3" fmla="*/ 0 w 1748372"/>
              <a:gd name="connsiteY3" fmla="*/ 108534 h 499237"/>
              <a:gd name="connsiteX4" fmla="*/ 39079 w 1748372"/>
              <a:gd name="connsiteY4" fmla="*/ 499237 h 499237"/>
              <a:gd name="connsiteX0" fmla="*/ 95196 w 1748372"/>
              <a:gd name="connsiteY0" fmla="*/ 451841 h 451841"/>
              <a:gd name="connsiteX1" fmla="*/ 1748372 w 1748372"/>
              <a:gd name="connsiteY1" fmla="*/ 296562 h 451841"/>
              <a:gd name="connsiteX2" fmla="*/ 1723965 w 1748372"/>
              <a:gd name="connsiteY2" fmla="*/ 0 h 451841"/>
              <a:gd name="connsiteX3" fmla="*/ 0 w 1748372"/>
              <a:gd name="connsiteY3" fmla="*/ 108534 h 451841"/>
              <a:gd name="connsiteX4" fmla="*/ 95196 w 1748372"/>
              <a:gd name="connsiteY4" fmla="*/ 451841 h 451841"/>
              <a:gd name="connsiteX0" fmla="*/ 95196 w 1723965"/>
              <a:gd name="connsiteY0" fmla="*/ 451841 h 451841"/>
              <a:gd name="connsiteX1" fmla="*/ 1713299 w 1723965"/>
              <a:gd name="connsiteY1" fmla="*/ 315520 h 451841"/>
              <a:gd name="connsiteX2" fmla="*/ 1723965 w 1723965"/>
              <a:gd name="connsiteY2" fmla="*/ 0 h 451841"/>
              <a:gd name="connsiteX3" fmla="*/ 0 w 1723965"/>
              <a:gd name="connsiteY3" fmla="*/ 108534 h 451841"/>
              <a:gd name="connsiteX4" fmla="*/ 95196 w 1723965"/>
              <a:gd name="connsiteY4" fmla="*/ 451841 h 451841"/>
              <a:gd name="connsiteX0" fmla="*/ 95196 w 1713299"/>
              <a:gd name="connsiteY0" fmla="*/ 455001 h 455001"/>
              <a:gd name="connsiteX1" fmla="*/ 1713299 w 1713299"/>
              <a:gd name="connsiteY1" fmla="*/ 318680 h 455001"/>
              <a:gd name="connsiteX2" fmla="*/ 1667848 w 1713299"/>
              <a:gd name="connsiteY2" fmla="*/ 0 h 455001"/>
              <a:gd name="connsiteX3" fmla="*/ 0 w 1713299"/>
              <a:gd name="connsiteY3" fmla="*/ 111694 h 455001"/>
              <a:gd name="connsiteX4" fmla="*/ 95196 w 1713299"/>
              <a:gd name="connsiteY4" fmla="*/ 455001 h 455001"/>
              <a:gd name="connsiteX0" fmla="*/ 67137 w 1685240"/>
              <a:gd name="connsiteY0" fmla="*/ 455001 h 455001"/>
              <a:gd name="connsiteX1" fmla="*/ 1685240 w 1685240"/>
              <a:gd name="connsiteY1" fmla="*/ 318680 h 455001"/>
              <a:gd name="connsiteX2" fmla="*/ 1639789 w 1685240"/>
              <a:gd name="connsiteY2" fmla="*/ 0 h 455001"/>
              <a:gd name="connsiteX3" fmla="*/ 0 w 1685240"/>
              <a:gd name="connsiteY3" fmla="*/ 130652 h 455001"/>
              <a:gd name="connsiteX4" fmla="*/ 67137 w 1685240"/>
              <a:gd name="connsiteY4" fmla="*/ 455001 h 455001"/>
              <a:gd name="connsiteX0" fmla="*/ 67137 w 1667473"/>
              <a:gd name="connsiteY0" fmla="*/ 455001 h 455001"/>
              <a:gd name="connsiteX1" fmla="*/ 1667473 w 1667473"/>
              <a:gd name="connsiteY1" fmla="*/ 242054 h 455001"/>
              <a:gd name="connsiteX2" fmla="*/ 1639789 w 1667473"/>
              <a:gd name="connsiteY2" fmla="*/ 0 h 455001"/>
              <a:gd name="connsiteX3" fmla="*/ 0 w 1667473"/>
              <a:gd name="connsiteY3" fmla="*/ 130652 h 455001"/>
              <a:gd name="connsiteX4" fmla="*/ 67137 w 1667473"/>
              <a:gd name="connsiteY4" fmla="*/ 455001 h 455001"/>
              <a:gd name="connsiteX0" fmla="*/ 100217 w 1700553"/>
              <a:gd name="connsiteY0" fmla="*/ 455001 h 455001"/>
              <a:gd name="connsiteX1" fmla="*/ 1700553 w 1700553"/>
              <a:gd name="connsiteY1" fmla="*/ 242054 h 455001"/>
              <a:gd name="connsiteX2" fmla="*/ 1672869 w 1700553"/>
              <a:gd name="connsiteY2" fmla="*/ 0 h 455001"/>
              <a:gd name="connsiteX3" fmla="*/ 0 w 1700553"/>
              <a:gd name="connsiteY3" fmla="*/ 205540 h 455001"/>
              <a:gd name="connsiteX4" fmla="*/ 100217 w 1700553"/>
              <a:gd name="connsiteY4" fmla="*/ 455001 h 455001"/>
              <a:gd name="connsiteX0" fmla="*/ 100217 w 1700553"/>
              <a:gd name="connsiteY0" fmla="*/ 366878 h 366878"/>
              <a:gd name="connsiteX1" fmla="*/ 1700553 w 1700553"/>
              <a:gd name="connsiteY1" fmla="*/ 153931 h 366878"/>
              <a:gd name="connsiteX2" fmla="*/ 1588975 w 1700553"/>
              <a:gd name="connsiteY2" fmla="*/ 0 h 366878"/>
              <a:gd name="connsiteX3" fmla="*/ 0 w 1700553"/>
              <a:gd name="connsiteY3" fmla="*/ 117417 h 366878"/>
              <a:gd name="connsiteX4" fmla="*/ 100217 w 1700553"/>
              <a:gd name="connsiteY4" fmla="*/ 366878 h 366878"/>
              <a:gd name="connsiteX0" fmla="*/ 115726 w 1700553"/>
              <a:gd name="connsiteY0" fmla="*/ 305211 h 305211"/>
              <a:gd name="connsiteX1" fmla="*/ 1700553 w 1700553"/>
              <a:gd name="connsiteY1" fmla="*/ 153931 h 305211"/>
              <a:gd name="connsiteX2" fmla="*/ 1588975 w 1700553"/>
              <a:gd name="connsiteY2" fmla="*/ 0 h 305211"/>
              <a:gd name="connsiteX3" fmla="*/ 0 w 1700553"/>
              <a:gd name="connsiteY3" fmla="*/ 117417 h 305211"/>
              <a:gd name="connsiteX4" fmla="*/ 115726 w 1700553"/>
              <a:gd name="connsiteY4" fmla="*/ 305211 h 305211"/>
              <a:gd name="connsiteX0" fmla="*/ 115726 w 1700553"/>
              <a:gd name="connsiteY0" fmla="*/ 321895 h 321895"/>
              <a:gd name="connsiteX1" fmla="*/ 1700553 w 1700553"/>
              <a:gd name="connsiteY1" fmla="*/ 170615 h 321895"/>
              <a:gd name="connsiteX2" fmla="*/ 1471607 w 1700553"/>
              <a:gd name="connsiteY2" fmla="*/ 0 h 321895"/>
              <a:gd name="connsiteX3" fmla="*/ 0 w 1700553"/>
              <a:gd name="connsiteY3" fmla="*/ 134101 h 321895"/>
              <a:gd name="connsiteX4" fmla="*/ 115726 w 1700553"/>
              <a:gd name="connsiteY4" fmla="*/ 321895 h 321895"/>
              <a:gd name="connsiteX0" fmla="*/ 115726 w 1581352"/>
              <a:gd name="connsiteY0" fmla="*/ 321895 h 321895"/>
              <a:gd name="connsiteX1" fmla="*/ 1581352 w 1581352"/>
              <a:gd name="connsiteY1" fmla="*/ 210307 h 321895"/>
              <a:gd name="connsiteX2" fmla="*/ 1471607 w 1581352"/>
              <a:gd name="connsiteY2" fmla="*/ 0 h 321895"/>
              <a:gd name="connsiteX3" fmla="*/ 0 w 1581352"/>
              <a:gd name="connsiteY3" fmla="*/ 134101 h 321895"/>
              <a:gd name="connsiteX4" fmla="*/ 115726 w 1581352"/>
              <a:gd name="connsiteY4" fmla="*/ 321895 h 321895"/>
              <a:gd name="connsiteX0" fmla="*/ 92298 w 1557924"/>
              <a:gd name="connsiteY0" fmla="*/ 321895 h 321895"/>
              <a:gd name="connsiteX1" fmla="*/ 1557924 w 1557924"/>
              <a:gd name="connsiteY1" fmla="*/ 210307 h 321895"/>
              <a:gd name="connsiteX2" fmla="*/ 1448179 w 1557924"/>
              <a:gd name="connsiteY2" fmla="*/ 0 h 321895"/>
              <a:gd name="connsiteX3" fmla="*/ 0 w 1557924"/>
              <a:gd name="connsiteY3" fmla="*/ 116473 h 321895"/>
              <a:gd name="connsiteX4" fmla="*/ 92298 w 1557924"/>
              <a:gd name="connsiteY4" fmla="*/ 321895 h 321895"/>
              <a:gd name="connsiteX0" fmla="*/ 152961 w 1557924"/>
              <a:gd name="connsiteY0" fmla="*/ 341247 h 341247"/>
              <a:gd name="connsiteX1" fmla="*/ 1557924 w 1557924"/>
              <a:gd name="connsiteY1" fmla="*/ 210307 h 341247"/>
              <a:gd name="connsiteX2" fmla="*/ 1448179 w 1557924"/>
              <a:gd name="connsiteY2" fmla="*/ 0 h 341247"/>
              <a:gd name="connsiteX3" fmla="*/ 0 w 1557924"/>
              <a:gd name="connsiteY3" fmla="*/ 116473 h 341247"/>
              <a:gd name="connsiteX4" fmla="*/ 152961 w 1557924"/>
              <a:gd name="connsiteY4" fmla="*/ 341247 h 341247"/>
              <a:gd name="connsiteX0" fmla="*/ 135357 w 1557924"/>
              <a:gd name="connsiteY0" fmla="*/ 339493 h 339493"/>
              <a:gd name="connsiteX1" fmla="*/ 1557924 w 1557924"/>
              <a:gd name="connsiteY1" fmla="*/ 210307 h 339493"/>
              <a:gd name="connsiteX2" fmla="*/ 1448179 w 1557924"/>
              <a:gd name="connsiteY2" fmla="*/ 0 h 339493"/>
              <a:gd name="connsiteX3" fmla="*/ 0 w 1557924"/>
              <a:gd name="connsiteY3" fmla="*/ 116473 h 339493"/>
              <a:gd name="connsiteX4" fmla="*/ 135357 w 1557924"/>
              <a:gd name="connsiteY4" fmla="*/ 339493 h 339493"/>
              <a:gd name="connsiteX0" fmla="*/ 109934 w 1532501"/>
              <a:gd name="connsiteY0" fmla="*/ 339493 h 339493"/>
              <a:gd name="connsiteX1" fmla="*/ 1532501 w 1532501"/>
              <a:gd name="connsiteY1" fmla="*/ 210307 h 339493"/>
              <a:gd name="connsiteX2" fmla="*/ 1422756 w 1532501"/>
              <a:gd name="connsiteY2" fmla="*/ 0 h 339493"/>
              <a:gd name="connsiteX3" fmla="*/ 0 w 1532501"/>
              <a:gd name="connsiteY3" fmla="*/ 117343 h 339493"/>
              <a:gd name="connsiteX4" fmla="*/ 109934 w 1532501"/>
              <a:gd name="connsiteY4" fmla="*/ 339493 h 339493"/>
              <a:gd name="connsiteX0" fmla="*/ 133525 w 1556092"/>
              <a:gd name="connsiteY0" fmla="*/ 339493 h 339493"/>
              <a:gd name="connsiteX1" fmla="*/ 1556092 w 1556092"/>
              <a:gd name="connsiteY1" fmla="*/ 210307 h 339493"/>
              <a:gd name="connsiteX2" fmla="*/ 1446347 w 1556092"/>
              <a:gd name="connsiteY2" fmla="*/ 0 h 339493"/>
              <a:gd name="connsiteX3" fmla="*/ 0 w 1556092"/>
              <a:gd name="connsiteY3" fmla="*/ 60098 h 339493"/>
              <a:gd name="connsiteX4" fmla="*/ 133525 w 1556092"/>
              <a:gd name="connsiteY4" fmla="*/ 339493 h 339493"/>
              <a:gd name="connsiteX0" fmla="*/ 133525 w 2343667"/>
              <a:gd name="connsiteY0" fmla="*/ 459688 h 459688"/>
              <a:gd name="connsiteX1" fmla="*/ 1556092 w 2343667"/>
              <a:gd name="connsiteY1" fmla="*/ 330502 h 459688"/>
              <a:gd name="connsiteX2" fmla="*/ 2343667 w 2343667"/>
              <a:gd name="connsiteY2" fmla="*/ 0 h 459688"/>
              <a:gd name="connsiteX3" fmla="*/ 0 w 2343667"/>
              <a:gd name="connsiteY3" fmla="*/ 180293 h 459688"/>
              <a:gd name="connsiteX4" fmla="*/ 133525 w 2343667"/>
              <a:gd name="connsiteY4" fmla="*/ 459688 h 459688"/>
              <a:gd name="connsiteX0" fmla="*/ 133525 w 2391079"/>
              <a:gd name="connsiteY0" fmla="*/ 459688 h 459688"/>
              <a:gd name="connsiteX1" fmla="*/ 2391079 w 2391079"/>
              <a:gd name="connsiteY1" fmla="*/ 322204 h 459688"/>
              <a:gd name="connsiteX2" fmla="*/ 2343667 w 2391079"/>
              <a:gd name="connsiteY2" fmla="*/ 0 h 459688"/>
              <a:gd name="connsiteX3" fmla="*/ 0 w 2391079"/>
              <a:gd name="connsiteY3" fmla="*/ 180293 h 459688"/>
              <a:gd name="connsiteX4" fmla="*/ 133525 w 2391079"/>
              <a:gd name="connsiteY4" fmla="*/ 459688 h 459688"/>
              <a:gd name="connsiteX0" fmla="*/ 159047 w 2391079"/>
              <a:gd name="connsiteY0" fmla="*/ 505482 h 505482"/>
              <a:gd name="connsiteX1" fmla="*/ 2391079 w 2391079"/>
              <a:gd name="connsiteY1" fmla="*/ 322204 h 505482"/>
              <a:gd name="connsiteX2" fmla="*/ 2343667 w 2391079"/>
              <a:gd name="connsiteY2" fmla="*/ 0 h 505482"/>
              <a:gd name="connsiteX3" fmla="*/ 0 w 2391079"/>
              <a:gd name="connsiteY3" fmla="*/ 180293 h 505482"/>
              <a:gd name="connsiteX4" fmla="*/ 159047 w 2391079"/>
              <a:gd name="connsiteY4" fmla="*/ 505482 h 505482"/>
              <a:gd name="connsiteX0" fmla="*/ 159047 w 2391079"/>
              <a:gd name="connsiteY0" fmla="*/ 518659 h 518659"/>
              <a:gd name="connsiteX1" fmla="*/ 2391079 w 2391079"/>
              <a:gd name="connsiteY1" fmla="*/ 335381 h 518659"/>
              <a:gd name="connsiteX2" fmla="*/ 2261507 w 2391079"/>
              <a:gd name="connsiteY2" fmla="*/ 0 h 518659"/>
              <a:gd name="connsiteX3" fmla="*/ 0 w 2391079"/>
              <a:gd name="connsiteY3" fmla="*/ 193470 h 518659"/>
              <a:gd name="connsiteX4" fmla="*/ 159047 w 2391079"/>
              <a:gd name="connsiteY4" fmla="*/ 518659 h 518659"/>
              <a:gd name="connsiteX0" fmla="*/ 159047 w 2513813"/>
              <a:gd name="connsiteY0" fmla="*/ 498511 h 498511"/>
              <a:gd name="connsiteX1" fmla="*/ 2391079 w 2513813"/>
              <a:gd name="connsiteY1" fmla="*/ 315233 h 498511"/>
              <a:gd name="connsiteX2" fmla="*/ 2513813 w 2513813"/>
              <a:gd name="connsiteY2" fmla="*/ 0 h 498511"/>
              <a:gd name="connsiteX3" fmla="*/ 0 w 2513813"/>
              <a:gd name="connsiteY3" fmla="*/ 173322 h 498511"/>
              <a:gd name="connsiteX4" fmla="*/ 159047 w 2513813"/>
              <a:gd name="connsiteY4" fmla="*/ 498511 h 498511"/>
              <a:gd name="connsiteX0" fmla="*/ 159047 w 2547383"/>
              <a:gd name="connsiteY0" fmla="*/ 498511 h 498511"/>
              <a:gd name="connsiteX1" fmla="*/ 2547383 w 2547383"/>
              <a:gd name="connsiteY1" fmla="*/ 252623 h 498511"/>
              <a:gd name="connsiteX2" fmla="*/ 2513813 w 2547383"/>
              <a:gd name="connsiteY2" fmla="*/ 0 h 498511"/>
              <a:gd name="connsiteX3" fmla="*/ 0 w 2547383"/>
              <a:gd name="connsiteY3" fmla="*/ 173322 h 498511"/>
              <a:gd name="connsiteX4" fmla="*/ 159047 w 2547383"/>
              <a:gd name="connsiteY4" fmla="*/ 498511 h 498511"/>
              <a:gd name="connsiteX0" fmla="*/ 164772 w 2553108"/>
              <a:gd name="connsiteY0" fmla="*/ 498511 h 498511"/>
              <a:gd name="connsiteX1" fmla="*/ 2553108 w 2553108"/>
              <a:gd name="connsiteY1" fmla="*/ 252623 h 498511"/>
              <a:gd name="connsiteX2" fmla="*/ 2519538 w 2553108"/>
              <a:gd name="connsiteY2" fmla="*/ 0 h 498511"/>
              <a:gd name="connsiteX3" fmla="*/ 0 w 2553108"/>
              <a:gd name="connsiteY3" fmla="*/ 237627 h 498511"/>
              <a:gd name="connsiteX4" fmla="*/ 164772 w 2553108"/>
              <a:gd name="connsiteY4" fmla="*/ 498511 h 498511"/>
              <a:gd name="connsiteX0" fmla="*/ 102113 w 2553108"/>
              <a:gd name="connsiteY0" fmla="*/ 460662 h 460662"/>
              <a:gd name="connsiteX1" fmla="*/ 2553108 w 2553108"/>
              <a:gd name="connsiteY1" fmla="*/ 252623 h 460662"/>
              <a:gd name="connsiteX2" fmla="*/ 2519538 w 2553108"/>
              <a:gd name="connsiteY2" fmla="*/ 0 h 460662"/>
              <a:gd name="connsiteX3" fmla="*/ 0 w 2553108"/>
              <a:gd name="connsiteY3" fmla="*/ 237627 h 460662"/>
              <a:gd name="connsiteX4" fmla="*/ 102113 w 2553108"/>
              <a:gd name="connsiteY4" fmla="*/ 460662 h 460662"/>
              <a:gd name="connsiteX0" fmla="*/ 102113 w 2553108"/>
              <a:gd name="connsiteY0" fmla="*/ 424537 h 424537"/>
              <a:gd name="connsiteX1" fmla="*/ 2553108 w 2553108"/>
              <a:gd name="connsiteY1" fmla="*/ 216498 h 424537"/>
              <a:gd name="connsiteX2" fmla="*/ 2498106 w 2553108"/>
              <a:gd name="connsiteY2" fmla="*/ 0 h 424537"/>
              <a:gd name="connsiteX3" fmla="*/ 0 w 2553108"/>
              <a:gd name="connsiteY3" fmla="*/ 201502 h 424537"/>
              <a:gd name="connsiteX4" fmla="*/ 102113 w 2553108"/>
              <a:gd name="connsiteY4" fmla="*/ 424537 h 424537"/>
              <a:gd name="connsiteX0" fmla="*/ 90333 w 2553108"/>
              <a:gd name="connsiteY0" fmla="*/ 403402 h 403402"/>
              <a:gd name="connsiteX1" fmla="*/ 2553108 w 2553108"/>
              <a:gd name="connsiteY1" fmla="*/ 216498 h 403402"/>
              <a:gd name="connsiteX2" fmla="*/ 2498106 w 2553108"/>
              <a:gd name="connsiteY2" fmla="*/ 0 h 403402"/>
              <a:gd name="connsiteX3" fmla="*/ 0 w 2553108"/>
              <a:gd name="connsiteY3" fmla="*/ 201502 h 403402"/>
              <a:gd name="connsiteX4" fmla="*/ 90333 w 2553108"/>
              <a:gd name="connsiteY4" fmla="*/ 403402 h 403402"/>
              <a:gd name="connsiteX0" fmla="*/ 60951 w 2523726"/>
              <a:gd name="connsiteY0" fmla="*/ 403402 h 403402"/>
              <a:gd name="connsiteX1" fmla="*/ 2523726 w 2523726"/>
              <a:gd name="connsiteY1" fmla="*/ 216498 h 403402"/>
              <a:gd name="connsiteX2" fmla="*/ 2468724 w 2523726"/>
              <a:gd name="connsiteY2" fmla="*/ 0 h 403402"/>
              <a:gd name="connsiteX3" fmla="*/ 0 w 2523726"/>
              <a:gd name="connsiteY3" fmla="*/ 224392 h 403402"/>
              <a:gd name="connsiteX4" fmla="*/ 60951 w 2523726"/>
              <a:gd name="connsiteY4" fmla="*/ 403402 h 40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3726" h="403402">
                <a:moveTo>
                  <a:pt x="60951" y="403402"/>
                </a:moveTo>
                <a:lnTo>
                  <a:pt x="2523726" y="216498"/>
                </a:lnTo>
                <a:lnTo>
                  <a:pt x="2468724" y="0"/>
                </a:lnTo>
                <a:lnTo>
                  <a:pt x="0" y="224392"/>
                </a:lnTo>
                <a:lnTo>
                  <a:pt x="60951" y="403402"/>
                </a:lnTo>
                <a:close/>
              </a:path>
            </a:pathLst>
          </a:custGeom>
          <a:solidFill>
            <a:schemeClr val="bg1"/>
          </a:solidFill>
          <a:ln>
            <a:noFill/>
          </a:ln>
          <a:effectLst>
            <a:outerShdw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solidFill>
                <a:schemeClr val="accent4"/>
              </a:solidFill>
            </a:endParaRPr>
          </a:p>
        </p:txBody>
      </p:sp>
      <p:sp>
        <p:nvSpPr>
          <p:cNvPr id="11" name="TextBox 9">
            <a:extLst>
              <a:ext uri="{FF2B5EF4-FFF2-40B4-BE49-F238E27FC236}">
                <a16:creationId xmlns:a16="http://schemas.microsoft.com/office/drawing/2014/main" id="{92565096-9135-4A6E-A4A1-A99493B92790}"/>
              </a:ext>
            </a:extLst>
          </p:cNvPr>
          <p:cNvSpPr txBox="1">
            <a:spLocks noChangeArrowheads="1"/>
          </p:cNvSpPr>
          <p:nvPr/>
        </p:nvSpPr>
        <p:spPr bwMode="auto">
          <a:xfrm>
            <a:off x="273933" y="214098"/>
            <a:ext cx="2485989" cy="369332"/>
          </a:xfrm>
          <a:prstGeom prst="rect">
            <a:avLst/>
          </a:prstGeom>
          <a:noFill/>
          <a:ln w="9525">
            <a:noFill/>
            <a:miter lim="800000"/>
            <a:headEnd/>
            <a:tailEnd/>
          </a:ln>
          <a:effectLst/>
        </p:spPr>
        <p:txBody>
          <a:bodyPr wrap="square" lIns="0">
            <a:spAutoFit/>
          </a:bodyPr>
          <a:lstStyle/>
          <a:p>
            <a:pPr marL="3174">
              <a:lnSpc>
                <a:spcPct val="90000"/>
              </a:lnSpc>
              <a:spcBef>
                <a:spcPts val="1200"/>
              </a:spcBef>
              <a:buClr>
                <a:srgbClr val="5C5C5C"/>
              </a:buClr>
              <a:buSzPct val="80000"/>
            </a:pPr>
            <a:r>
              <a:rPr lang="nl-BE" sz="2000" b="1" dirty="0">
                <a:solidFill>
                  <a:srgbClr val="FFC000"/>
                </a:solidFill>
                <a:latin typeface="Amaranth" panose="02000503000000020004" pitchFamily="50" charset="0"/>
                <a:cs typeface="Arial" panose="020B0604020202020204" pitchFamily="34" charset="0"/>
              </a:rPr>
              <a:t>Software</a:t>
            </a:r>
          </a:p>
        </p:txBody>
      </p:sp>
      <p:sp>
        <p:nvSpPr>
          <p:cNvPr id="2" name="Rechthoek 1">
            <a:extLst>
              <a:ext uri="{FF2B5EF4-FFF2-40B4-BE49-F238E27FC236}">
                <a16:creationId xmlns:a16="http://schemas.microsoft.com/office/drawing/2014/main" id="{B6F8C064-8952-4C23-AFE4-59D3565943E6}"/>
              </a:ext>
            </a:extLst>
          </p:cNvPr>
          <p:cNvSpPr/>
          <p:nvPr/>
        </p:nvSpPr>
        <p:spPr>
          <a:xfrm>
            <a:off x="6336148" y="1222285"/>
            <a:ext cx="5401479" cy="590931"/>
          </a:xfrm>
          <a:prstGeom prst="rect">
            <a:avLst/>
          </a:prstGeom>
        </p:spPr>
        <p:txBody>
          <a:bodyPr wrap="none">
            <a:spAutoFit/>
          </a:bodyPr>
          <a:lstStyle/>
          <a:p>
            <a:pPr lvl="0">
              <a:lnSpc>
                <a:spcPct val="90000"/>
              </a:lnSpc>
              <a:tabLst>
                <a:tab pos="1971675" algn="l"/>
              </a:tabLst>
              <a:defRPr/>
            </a:pPr>
            <a:r>
              <a:rPr lang="nl-NL" sz="3600" dirty="0">
                <a:solidFill>
                  <a:schemeClr val="bg1"/>
                </a:solidFill>
                <a:latin typeface="Amaranth" panose="02000503000000020004" pitchFamily="50" charset="0"/>
                <a:cs typeface="Arial" panose="020B0604020202020204" pitchFamily="34" charset="0"/>
              </a:rPr>
              <a:t>Leerlingsoftware: adaptief</a:t>
            </a:r>
            <a:endParaRPr lang="nl-NL" sz="3600" dirty="0">
              <a:solidFill>
                <a:schemeClr val="bg1"/>
              </a:solidFill>
              <a:latin typeface="Amaranth" panose="02000503000000020004" pitchFamily="50" charset="0"/>
            </a:endParaRPr>
          </a:p>
        </p:txBody>
      </p:sp>
    </p:spTree>
    <p:extLst>
      <p:ext uri="{BB962C8B-B14F-4D97-AF65-F5344CB8AC3E}">
        <p14:creationId xmlns:p14="http://schemas.microsoft.com/office/powerpoint/2010/main" val="24024234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Afbeelding 15">
            <a:extLst>
              <a:ext uri="{FF2B5EF4-FFF2-40B4-BE49-F238E27FC236}">
                <a16:creationId xmlns:a16="http://schemas.microsoft.com/office/drawing/2014/main" id="{8C749425-05B2-4665-B655-FF4452D6190A}"/>
              </a:ext>
            </a:extLst>
          </p:cNvPr>
          <p:cNvPicPr>
            <a:picLocks noChangeAspect="1"/>
          </p:cNvPicPr>
          <p:nvPr/>
        </p:nvPicPr>
        <p:blipFill>
          <a:blip r:embed="rId5"/>
          <a:stretch>
            <a:fillRect/>
          </a:stretch>
        </p:blipFill>
        <p:spPr>
          <a:xfrm>
            <a:off x="409486" y="8496"/>
            <a:ext cx="3922644" cy="3304055"/>
          </a:xfrm>
          <a:prstGeom prst="rect">
            <a:avLst/>
          </a:prstGeom>
        </p:spPr>
      </p:pic>
      <p:sp>
        <p:nvSpPr>
          <p:cNvPr id="13" name="Rechthoek 12">
            <a:extLst>
              <a:ext uri="{FF2B5EF4-FFF2-40B4-BE49-F238E27FC236}">
                <a16:creationId xmlns:a16="http://schemas.microsoft.com/office/drawing/2014/main" id="{F814928D-5EF3-4F4C-816E-5C040FE23B3D}"/>
              </a:ext>
            </a:extLst>
          </p:cNvPr>
          <p:cNvSpPr/>
          <p:nvPr/>
        </p:nvSpPr>
        <p:spPr>
          <a:xfrm>
            <a:off x="7073767" y="0"/>
            <a:ext cx="5118233"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28" name="think-cell Slide" r:id="rId6" imgW="353" imgH="353" progId="TCLayout.ActiveDocument.1">
                  <p:embed/>
                </p:oleObj>
              </mc:Choice>
              <mc:Fallback>
                <p:oleObj name="think-cell Slide" r:id="rId6" imgW="353" imgH="353"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3" name="Rechthoek 12">
            <a:extLst>
              <a:ext uri="{FF2B5EF4-FFF2-40B4-BE49-F238E27FC236}">
                <a16:creationId xmlns:a16="http://schemas.microsoft.com/office/drawing/2014/main" id="{316ACA97-44B8-42BF-BB2A-D44205C8AD70}"/>
              </a:ext>
            </a:extLst>
          </p:cNvPr>
          <p:cNvSpPr/>
          <p:nvPr/>
        </p:nvSpPr>
        <p:spPr>
          <a:xfrm>
            <a:off x="5841022" y="1216259"/>
            <a:ext cx="5555226" cy="995144"/>
          </a:xfrm>
          <a:prstGeom prst="rect">
            <a:avLst/>
          </a:prstGeom>
        </p:spPr>
        <p:txBody>
          <a:bodyPr wrap="square" lIns="0" tIns="0" rIns="0" bIns="0">
            <a:spAutoFit/>
          </a:bodyPr>
          <a:lstStyle/>
          <a:p>
            <a:endParaRPr lang="nl-NL" sz="2400" dirty="0">
              <a:solidFill>
                <a:schemeClr val="bg1"/>
              </a:solidFill>
            </a:endParaRPr>
          </a:p>
          <a:p>
            <a:endParaRPr lang="nl-NL" sz="2400" dirty="0">
              <a:solidFill>
                <a:schemeClr val="bg1"/>
              </a:solidFill>
            </a:endParaRPr>
          </a:p>
          <a:p>
            <a:pPr marL="342900" marR="0" lvl="0" indent="-342900" algn="l" defTabSz="914400" rtl="0" eaLnBrk="1" fontAlgn="auto" latinLnBrk="0" hangingPunct="1">
              <a:lnSpc>
                <a:spcPts val="2000"/>
              </a:lnSpc>
              <a:spcBef>
                <a:spcPts val="0"/>
              </a:spcBef>
              <a:spcAft>
                <a:spcPts val="600"/>
              </a:spcAft>
              <a:buClrTx/>
              <a:buSzTx/>
              <a:buFont typeface="Arial" panose="020B0604020202020204" pitchFamily="34" charset="0"/>
              <a:buChar char="•"/>
              <a:tabLst/>
              <a:defRPr/>
            </a:pPr>
            <a:endParaRPr kumimoji="0" lang="nl-BE" sz="2400" b="0" i="0" u="none" strike="noStrike" kern="1200" cap="none" spc="0" normalizeH="0" baseline="0" noProof="0" dirty="0">
              <a:ln>
                <a:noFill/>
              </a:ln>
              <a:solidFill>
                <a:schemeClr val="bg1"/>
              </a:solidFill>
              <a:effectLst/>
              <a:uLnTx/>
              <a:uFillTx/>
              <a:ea typeface="+mn-ea"/>
              <a:cs typeface="Arial" panose="020B0604020202020204" pitchFamily="34" charset="0"/>
            </a:endParaRPr>
          </a:p>
        </p:txBody>
      </p:sp>
      <p:sp>
        <p:nvSpPr>
          <p:cNvPr id="14" name="Rechthoekige driehoek 13">
            <a:extLst>
              <a:ext uri="{FF2B5EF4-FFF2-40B4-BE49-F238E27FC236}">
                <a16:creationId xmlns:a16="http://schemas.microsoft.com/office/drawing/2014/main" id="{19BFAEA8-5722-4420-ADDA-6AF4350DAEA0}"/>
              </a:ext>
            </a:extLst>
          </p:cNvPr>
          <p:cNvSpPr/>
          <p:nvPr/>
        </p:nvSpPr>
        <p:spPr>
          <a:xfrm flipH="1" flipV="1">
            <a:off x="5230586" y="0"/>
            <a:ext cx="1843180" cy="6858000"/>
          </a:xfrm>
          <a:prstGeom prst="r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TextBox 14"/>
          <p:cNvSpPr txBox="1"/>
          <p:nvPr/>
        </p:nvSpPr>
        <p:spPr>
          <a:xfrm>
            <a:off x="6590120" y="2468709"/>
            <a:ext cx="5440300" cy="1754326"/>
          </a:xfrm>
          <a:prstGeom prst="rect">
            <a:avLst/>
          </a:prstGeom>
          <a:noFill/>
        </p:spPr>
        <p:txBody>
          <a:bodyPr wrap="square" rtlCol="0" anchor="b" anchorCtr="0">
            <a:spAutoFit/>
          </a:bodyPr>
          <a:lstStyle/>
          <a:p>
            <a:pPr lvl="0">
              <a:lnSpc>
                <a:spcPct val="90000"/>
              </a:lnSpc>
              <a:tabLst>
                <a:tab pos="1971675" algn="l"/>
              </a:tabLst>
              <a:defRPr/>
            </a:pPr>
            <a:r>
              <a:rPr lang="nl-NL" sz="2400" b="1" dirty="0" err="1">
                <a:solidFill>
                  <a:schemeClr val="bg1"/>
                </a:solidFill>
              </a:rPr>
              <a:t>Ankergebonden</a:t>
            </a:r>
            <a:r>
              <a:rPr lang="nl-NL" sz="2400" b="1" dirty="0">
                <a:solidFill>
                  <a:schemeClr val="bg1"/>
                </a:solidFill>
              </a:rPr>
              <a:t> route</a:t>
            </a:r>
          </a:p>
          <a:p>
            <a:pPr lvl="0">
              <a:lnSpc>
                <a:spcPct val="90000"/>
              </a:lnSpc>
              <a:tabLst>
                <a:tab pos="1971675" algn="l"/>
              </a:tabLst>
              <a:defRPr/>
            </a:pPr>
            <a:r>
              <a:rPr lang="nl-NL" sz="2400" dirty="0">
                <a:solidFill>
                  <a:schemeClr val="bg1"/>
                </a:solidFill>
              </a:rPr>
              <a:t>Spelen binnen de context van een anker</a:t>
            </a:r>
          </a:p>
          <a:p>
            <a:pPr marL="342900" lvl="0" indent="-342900">
              <a:lnSpc>
                <a:spcPct val="90000"/>
              </a:lnSpc>
              <a:buFont typeface="Arial" panose="020B0604020202020204" pitchFamily="34" charset="0"/>
              <a:buChar char="•"/>
              <a:tabLst>
                <a:tab pos="1971675" algn="l"/>
              </a:tabLst>
              <a:defRPr/>
            </a:pPr>
            <a:endParaRPr lang="nl-NL" sz="2400" dirty="0">
              <a:solidFill>
                <a:schemeClr val="bg1"/>
              </a:solidFill>
            </a:endParaRPr>
          </a:p>
          <a:p>
            <a:pPr lvl="0">
              <a:lnSpc>
                <a:spcPct val="90000"/>
              </a:lnSpc>
              <a:tabLst>
                <a:tab pos="1971675" algn="l"/>
              </a:tabLst>
              <a:defRPr/>
            </a:pPr>
            <a:r>
              <a:rPr lang="nl-NL" sz="2400" b="1" dirty="0" err="1">
                <a:solidFill>
                  <a:schemeClr val="bg1"/>
                </a:solidFill>
              </a:rPr>
              <a:t>Ankeroverstijgende</a:t>
            </a:r>
            <a:r>
              <a:rPr lang="nl-NL" sz="2400" b="1" dirty="0">
                <a:solidFill>
                  <a:schemeClr val="bg1"/>
                </a:solidFill>
              </a:rPr>
              <a:t> route</a:t>
            </a:r>
          </a:p>
          <a:p>
            <a:pPr lvl="0">
              <a:lnSpc>
                <a:spcPct val="90000"/>
              </a:lnSpc>
              <a:tabLst>
                <a:tab pos="1971675" algn="l"/>
              </a:tabLst>
              <a:defRPr/>
            </a:pPr>
            <a:r>
              <a:rPr lang="nl-NL" sz="2400" dirty="0">
                <a:solidFill>
                  <a:schemeClr val="bg1"/>
                </a:solidFill>
              </a:rPr>
              <a:t>Extra oefenen met eerder aanbod</a:t>
            </a:r>
          </a:p>
        </p:txBody>
      </p:sp>
      <p:pic>
        <p:nvPicPr>
          <p:cNvPr id="19" name="Afbeelding 18">
            <a:extLst>
              <a:ext uri="{FF2B5EF4-FFF2-40B4-BE49-F238E27FC236}">
                <a16:creationId xmlns:a16="http://schemas.microsoft.com/office/drawing/2014/main" id="{253CB472-5FF0-4B6F-8421-EA37FCB2494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294831" y="6164016"/>
            <a:ext cx="724228" cy="563044"/>
          </a:xfrm>
          <a:prstGeom prst="rect">
            <a:avLst/>
          </a:prstGeom>
        </p:spPr>
      </p:pic>
      <p:sp>
        <p:nvSpPr>
          <p:cNvPr id="10" name="Freeform 41">
            <a:extLst>
              <a:ext uri="{FF2B5EF4-FFF2-40B4-BE49-F238E27FC236}">
                <a16:creationId xmlns:a16="http://schemas.microsoft.com/office/drawing/2014/main" id="{A37733FA-031A-4C6C-A00F-821B6FF4086E}"/>
              </a:ext>
            </a:extLst>
          </p:cNvPr>
          <p:cNvSpPr/>
          <p:nvPr/>
        </p:nvSpPr>
        <p:spPr>
          <a:xfrm rot="845560">
            <a:off x="-32726" y="-111373"/>
            <a:ext cx="2164079" cy="1020274"/>
          </a:xfrm>
          <a:custGeom>
            <a:avLst/>
            <a:gdLst>
              <a:gd name="connsiteX0" fmla="*/ 45720 w 1267097"/>
              <a:gd name="connsiteY0" fmla="*/ 378823 h 378823"/>
              <a:gd name="connsiteX1" fmla="*/ 1267097 w 1267097"/>
              <a:gd name="connsiteY1" fmla="*/ 182880 h 378823"/>
              <a:gd name="connsiteX2" fmla="*/ 1267097 w 1267097"/>
              <a:gd name="connsiteY2" fmla="*/ 0 h 378823"/>
              <a:gd name="connsiteX3" fmla="*/ 0 w 1267097"/>
              <a:gd name="connsiteY3" fmla="*/ 189412 h 378823"/>
              <a:gd name="connsiteX4" fmla="*/ 45720 w 1267097"/>
              <a:gd name="connsiteY4" fmla="*/ 378823 h 378823"/>
              <a:gd name="connsiteX0" fmla="*/ 71845 w 1293222"/>
              <a:gd name="connsiteY0" fmla="*/ 378823 h 378823"/>
              <a:gd name="connsiteX1" fmla="*/ 1293222 w 1293222"/>
              <a:gd name="connsiteY1" fmla="*/ 182880 h 378823"/>
              <a:gd name="connsiteX2" fmla="*/ 1293222 w 1293222"/>
              <a:gd name="connsiteY2" fmla="*/ 0 h 378823"/>
              <a:gd name="connsiteX3" fmla="*/ 0 w 1293222"/>
              <a:gd name="connsiteY3" fmla="*/ 130629 h 378823"/>
              <a:gd name="connsiteX4" fmla="*/ 71845 w 1293222"/>
              <a:gd name="connsiteY4" fmla="*/ 378823 h 378823"/>
              <a:gd name="connsiteX0" fmla="*/ 65313 w 1293222"/>
              <a:gd name="connsiteY0" fmla="*/ 398417 h 398417"/>
              <a:gd name="connsiteX1" fmla="*/ 1293222 w 1293222"/>
              <a:gd name="connsiteY1" fmla="*/ 182880 h 398417"/>
              <a:gd name="connsiteX2" fmla="*/ 1293222 w 1293222"/>
              <a:gd name="connsiteY2" fmla="*/ 0 h 398417"/>
              <a:gd name="connsiteX3" fmla="*/ 0 w 1293222"/>
              <a:gd name="connsiteY3" fmla="*/ 130629 h 398417"/>
              <a:gd name="connsiteX4" fmla="*/ 65313 w 1293222"/>
              <a:gd name="connsiteY4" fmla="*/ 398417 h 398417"/>
              <a:gd name="connsiteX0" fmla="*/ 104663 w 1332572"/>
              <a:gd name="connsiteY0" fmla="*/ 488407 h 488407"/>
              <a:gd name="connsiteX1" fmla="*/ 1332572 w 1332572"/>
              <a:gd name="connsiteY1" fmla="*/ 272870 h 488407"/>
              <a:gd name="connsiteX2" fmla="*/ 1332572 w 1332572"/>
              <a:gd name="connsiteY2" fmla="*/ 89990 h 488407"/>
              <a:gd name="connsiteX3" fmla="*/ 0 w 1332572"/>
              <a:gd name="connsiteY3" fmla="*/ 0 h 488407"/>
              <a:gd name="connsiteX4" fmla="*/ 104663 w 1332572"/>
              <a:gd name="connsiteY4" fmla="*/ 488407 h 488407"/>
              <a:gd name="connsiteX0" fmla="*/ 58754 w 1286663"/>
              <a:gd name="connsiteY0" fmla="*/ 488407 h 488407"/>
              <a:gd name="connsiteX1" fmla="*/ 1286663 w 1286663"/>
              <a:gd name="connsiteY1" fmla="*/ 272870 h 488407"/>
              <a:gd name="connsiteX2" fmla="*/ 1286663 w 1286663"/>
              <a:gd name="connsiteY2" fmla="*/ 89990 h 488407"/>
              <a:gd name="connsiteX3" fmla="*/ 0 w 1286663"/>
              <a:gd name="connsiteY3" fmla="*/ 0 h 488407"/>
              <a:gd name="connsiteX4" fmla="*/ 58754 w 1286663"/>
              <a:gd name="connsiteY4" fmla="*/ 488407 h 488407"/>
              <a:gd name="connsiteX0" fmla="*/ 58754 w 1293221"/>
              <a:gd name="connsiteY0" fmla="*/ 574912 h 574912"/>
              <a:gd name="connsiteX1" fmla="*/ 1286663 w 1293221"/>
              <a:gd name="connsiteY1" fmla="*/ 359375 h 574912"/>
              <a:gd name="connsiteX2" fmla="*/ 1293221 w 1293221"/>
              <a:gd name="connsiteY2" fmla="*/ 0 h 574912"/>
              <a:gd name="connsiteX3" fmla="*/ 0 w 1293221"/>
              <a:gd name="connsiteY3" fmla="*/ 86505 h 574912"/>
              <a:gd name="connsiteX4" fmla="*/ 58754 w 1293221"/>
              <a:gd name="connsiteY4" fmla="*/ 574912 h 574912"/>
              <a:gd name="connsiteX0" fmla="*/ 58754 w 1470298"/>
              <a:gd name="connsiteY0" fmla="*/ 574912 h 574912"/>
              <a:gd name="connsiteX1" fmla="*/ 1470298 w 1470298"/>
              <a:gd name="connsiteY1" fmla="*/ 561083 h 574912"/>
              <a:gd name="connsiteX2" fmla="*/ 1293221 w 1470298"/>
              <a:gd name="connsiteY2" fmla="*/ 0 h 574912"/>
              <a:gd name="connsiteX3" fmla="*/ 0 w 1470298"/>
              <a:gd name="connsiteY3" fmla="*/ 86505 h 574912"/>
              <a:gd name="connsiteX4" fmla="*/ 58754 w 1470298"/>
              <a:gd name="connsiteY4" fmla="*/ 574912 h 574912"/>
              <a:gd name="connsiteX0" fmla="*/ 65313 w 1470298"/>
              <a:gd name="connsiteY0" fmla="*/ 795531 h 795531"/>
              <a:gd name="connsiteX1" fmla="*/ 1470298 w 1470298"/>
              <a:gd name="connsiteY1" fmla="*/ 561083 h 795531"/>
              <a:gd name="connsiteX2" fmla="*/ 1293221 w 1470298"/>
              <a:gd name="connsiteY2" fmla="*/ 0 h 795531"/>
              <a:gd name="connsiteX3" fmla="*/ 0 w 1470298"/>
              <a:gd name="connsiteY3" fmla="*/ 86505 h 795531"/>
              <a:gd name="connsiteX4" fmla="*/ 65313 w 1470298"/>
              <a:gd name="connsiteY4" fmla="*/ 795531 h 795531"/>
              <a:gd name="connsiteX0" fmla="*/ 65313 w 1844126"/>
              <a:gd name="connsiteY0" fmla="*/ 795531 h 795531"/>
              <a:gd name="connsiteX1" fmla="*/ 1844126 w 1844126"/>
              <a:gd name="connsiteY1" fmla="*/ 504352 h 795531"/>
              <a:gd name="connsiteX2" fmla="*/ 1293221 w 1844126"/>
              <a:gd name="connsiteY2" fmla="*/ 0 h 795531"/>
              <a:gd name="connsiteX3" fmla="*/ 0 w 1844126"/>
              <a:gd name="connsiteY3" fmla="*/ 86505 h 795531"/>
              <a:gd name="connsiteX4" fmla="*/ 65313 w 1844126"/>
              <a:gd name="connsiteY4" fmla="*/ 795531 h 795531"/>
              <a:gd name="connsiteX0" fmla="*/ 65313 w 1844126"/>
              <a:gd name="connsiteY0" fmla="*/ 845958 h 845958"/>
              <a:gd name="connsiteX1" fmla="*/ 1844126 w 1844126"/>
              <a:gd name="connsiteY1" fmla="*/ 554779 h 845958"/>
              <a:gd name="connsiteX2" fmla="*/ 1621141 w 1844126"/>
              <a:gd name="connsiteY2" fmla="*/ 0 h 845958"/>
              <a:gd name="connsiteX3" fmla="*/ 0 w 1844126"/>
              <a:gd name="connsiteY3" fmla="*/ 136932 h 845958"/>
              <a:gd name="connsiteX4" fmla="*/ 65313 w 1844126"/>
              <a:gd name="connsiteY4" fmla="*/ 845958 h 845958"/>
              <a:gd name="connsiteX0" fmla="*/ 65313 w 1844126"/>
              <a:gd name="connsiteY0" fmla="*/ 864868 h 864868"/>
              <a:gd name="connsiteX1" fmla="*/ 1844126 w 1844126"/>
              <a:gd name="connsiteY1" fmla="*/ 573689 h 864868"/>
              <a:gd name="connsiteX2" fmla="*/ 1621141 w 1844126"/>
              <a:gd name="connsiteY2" fmla="*/ 0 h 864868"/>
              <a:gd name="connsiteX3" fmla="*/ 0 w 1844126"/>
              <a:gd name="connsiteY3" fmla="*/ 155842 h 864868"/>
              <a:gd name="connsiteX4" fmla="*/ 65313 w 1844126"/>
              <a:gd name="connsiteY4" fmla="*/ 864868 h 864868"/>
              <a:gd name="connsiteX0" fmla="*/ 65313 w 1686724"/>
              <a:gd name="connsiteY0" fmla="*/ 864868 h 864868"/>
              <a:gd name="connsiteX1" fmla="*/ 1686724 w 1686724"/>
              <a:gd name="connsiteY1" fmla="*/ 561082 h 864868"/>
              <a:gd name="connsiteX2" fmla="*/ 1621141 w 1686724"/>
              <a:gd name="connsiteY2" fmla="*/ 0 h 864868"/>
              <a:gd name="connsiteX3" fmla="*/ 0 w 1686724"/>
              <a:gd name="connsiteY3" fmla="*/ 155842 h 864868"/>
              <a:gd name="connsiteX4" fmla="*/ 65313 w 1686724"/>
              <a:gd name="connsiteY4" fmla="*/ 864868 h 864868"/>
              <a:gd name="connsiteX0" fmla="*/ 39079 w 1660490"/>
              <a:gd name="connsiteY0" fmla="*/ 864868 h 864868"/>
              <a:gd name="connsiteX1" fmla="*/ 1660490 w 1660490"/>
              <a:gd name="connsiteY1" fmla="*/ 561082 h 864868"/>
              <a:gd name="connsiteX2" fmla="*/ 1594907 w 1660490"/>
              <a:gd name="connsiteY2" fmla="*/ 0 h 864868"/>
              <a:gd name="connsiteX3" fmla="*/ 0 w 1660490"/>
              <a:gd name="connsiteY3" fmla="*/ 351248 h 864868"/>
              <a:gd name="connsiteX4" fmla="*/ 39079 w 1660490"/>
              <a:gd name="connsiteY4" fmla="*/ 864868 h 864868"/>
              <a:gd name="connsiteX0" fmla="*/ 39079 w 1857243"/>
              <a:gd name="connsiteY0" fmla="*/ 719889 h 719889"/>
              <a:gd name="connsiteX1" fmla="*/ 1660490 w 1857243"/>
              <a:gd name="connsiteY1" fmla="*/ 416103 h 719889"/>
              <a:gd name="connsiteX2" fmla="*/ 1857243 w 1857243"/>
              <a:gd name="connsiteY2" fmla="*/ 0 h 719889"/>
              <a:gd name="connsiteX3" fmla="*/ 0 w 1857243"/>
              <a:gd name="connsiteY3" fmla="*/ 206269 h 719889"/>
              <a:gd name="connsiteX4" fmla="*/ 39079 w 1857243"/>
              <a:gd name="connsiteY4" fmla="*/ 719889 h 719889"/>
              <a:gd name="connsiteX0" fmla="*/ 39079 w 1909709"/>
              <a:gd name="connsiteY0" fmla="*/ 719889 h 719889"/>
              <a:gd name="connsiteX1" fmla="*/ 1909709 w 1909709"/>
              <a:gd name="connsiteY1" fmla="*/ 208090 h 719889"/>
              <a:gd name="connsiteX2" fmla="*/ 1857243 w 1909709"/>
              <a:gd name="connsiteY2" fmla="*/ 0 h 719889"/>
              <a:gd name="connsiteX3" fmla="*/ 0 w 1909709"/>
              <a:gd name="connsiteY3" fmla="*/ 206269 h 719889"/>
              <a:gd name="connsiteX4" fmla="*/ 39079 w 1909709"/>
              <a:gd name="connsiteY4" fmla="*/ 719889 h 719889"/>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206269 h 511876"/>
              <a:gd name="connsiteX4" fmla="*/ 39079 w 1909709"/>
              <a:gd name="connsiteY4" fmla="*/ 511876 h 511876"/>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121173 h 511876"/>
              <a:gd name="connsiteX4" fmla="*/ 39079 w 1909709"/>
              <a:gd name="connsiteY4" fmla="*/ 511876 h 511876"/>
              <a:gd name="connsiteX0" fmla="*/ 39079 w 1857243"/>
              <a:gd name="connsiteY0" fmla="*/ 511876 h 511876"/>
              <a:gd name="connsiteX1" fmla="*/ 1748372 w 1857243"/>
              <a:gd name="connsiteY1" fmla="*/ 309201 h 511876"/>
              <a:gd name="connsiteX2" fmla="*/ 1857243 w 1857243"/>
              <a:gd name="connsiteY2" fmla="*/ 0 h 511876"/>
              <a:gd name="connsiteX3" fmla="*/ 0 w 1857243"/>
              <a:gd name="connsiteY3" fmla="*/ 121173 h 511876"/>
              <a:gd name="connsiteX4" fmla="*/ 39079 w 1857243"/>
              <a:gd name="connsiteY4" fmla="*/ 511876 h 511876"/>
              <a:gd name="connsiteX0" fmla="*/ 39079 w 1748372"/>
              <a:gd name="connsiteY0" fmla="*/ 499237 h 499237"/>
              <a:gd name="connsiteX1" fmla="*/ 1748372 w 1748372"/>
              <a:gd name="connsiteY1" fmla="*/ 296562 h 499237"/>
              <a:gd name="connsiteX2" fmla="*/ 1723965 w 1748372"/>
              <a:gd name="connsiteY2" fmla="*/ 0 h 499237"/>
              <a:gd name="connsiteX3" fmla="*/ 0 w 1748372"/>
              <a:gd name="connsiteY3" fmla="*/ 108534 h 499237"/>
              <a:gd name="connsiteX4" fmla="*/ 39079 w 1748372"/>
              <a:gd name="connsiteY4" fmla="*/ 499237 h 499237"/>
              <a:gd name="connsiteX0" fmla="*/ 95196 w 1748372"/>
              <a:gd name="connsiteY0" fmla="*/ 451841 h 451841"/>
              <a:gd name="connsiteX1" fmla="*/ 1748372 w 1748372"/>
              <a:gd name="connsiteY1" fmla="*/ 296562 h 451841"/>
              <a:gd name="connsiteX2" fmla="*/ 1723965 w 1748372"/>
              <a:gd name="connsiteY2" fmla="*/ 0 h 451841"/>
              <a:gd name="connsiteX3" fmla="*/ 0 w 1748372"/>
              <a:gd name="connsiteY3" fmla="*/ 108534 h 451841"/>
              <a:gd name="connsiteX4" fmla="*/ 95196 w 1748372"/>
              <a:gd name="connsiteY4" fmla="*/ 451841 h 451841"/>
              <a:gd name="connsiteX0" fmla="*/ 95196 w 1723965"/>
              <a:gd name="connsiteY0" fmla="*/ 451841 h 451841"/>
              <a:gd name="connsiteX1" fmla="*/ 1713299 w 1723965"/>
              <a:gd name="connsiteY1" fmla="*/ 315520 h 451841"/>
              <a:gd name="connsiteX2" fmla="*/ 1723965 w 1723965"/>
              <a:gd name="connsiteY2" fmla="*/ 0 h 451841"/>
              <a:gd name="connsiteX3" fmla="*/ 0 w 1723965"/>
              <a:gd name="connsiteY3" fmla="*/ 108534 h 451841"/>
              <a:gd name="connsiteX4" fmla="*/ 95196 w 1723965"/>
              <a:gd name="connsiteY4" fmla="*/ 451841 h 451841"/>
              <a:gd name="connsiteX0" fmla="*/ 95196 w 1713299"/>
              <a:gd name="connsiteY0" fmla="*/ 455001 h 455001"/>
              <a:gd name="connsiteX1" fmla="*/ 1713299 w 1713299"/>
              <a:gd name="connsiteY1" fmla="*/ 318680 h 455001"/>
              <a:gd name="connsiteX2" fmla="*/ 1667848 w 1713299"/>
              <a:gd name="connsiteY2" fmla="*/ 0 h 455001"/>
              <a:gd name="connsiteX3" fmla="*/ 0 w 1713299"/>
              <a:gd name="connsiteY3" fmla="*/ 111694 h 455001"/>
              <a:gd name="connsiteX4" fmla="*/ 95196 w 1713299"/>
              <a:gd name="connsiteY4" fmla="*/ 455001 h 455001"/>
              <a:gd name="connsiteX0" fmla="*/ 67137 w 1685240"/>
              <a:gd name="connsiteY0" fmla="*/ 455001 h 455001"/>
              <a:gd name="connsiteX1" fmla="*/ 1685240 w 1685240"/>
              <a:gd name="connsiteY1" fmla="*/ 318680 h 455001"/>
              <a:gd name="connsiteX2" fmla="*/ 1639789 w 1685240"/>
              <a:gd name="connsiteY2" fmla="*/ 0 h 455001"/>
              <a:gd name="connsiteX3" fmla="*/ 0 w 1685240"/>
              <a:gd name="connsiteY3" fmla="*/ 130652 h 455001"/>
              <a:gd name="connsiteX4" fmla="*/ 67137 w 1685240"/>
              <a:gd name="connsiteY4" fmla="*/ 455001 h 455001"/>
              <a:gd name="connsiteX0" fmla="*/ 67137 w 1667473"/>
              <a:gd name="connsiteY0" fmla="*/ 455001 h 455001"/>
              <a:gd name="connsiteX1" fmla="*/ 1667473 w 1667473"/>
              <a:gd name="connsiteY1" fmla="*/ 242054 h 455001"/>
              <a:gd name="connsiteX2" fmla="*/ 1639789 w 1667473"/>
              <a:gd name="connsiteY2" fmla="*/ 0 h 455001"/>
              <a:gd name="connsiteX3" fmla="*/ 0 w 1667473"/>
              <a:gd name="connsiteY3" fmla="*/ 130652 h 455001"/>
              <a:gd name="connsiteX4" fmla="*/ 67137 w 1667473"/>
              <a:gd name="connsiteY4" fmla="*/ 455001 h 455001"/>
              <a:gd name="connsiteX0" fmla="*/ 100217 w 1700553"/>
              <a:gd name="connsiteY0" fmla="*/ 455001 h 455001"/>
              <a:gd name="connsiteX1" fmla="*/ 1700553 w 1700553"/>
              <a:gd name="connsiteY1" fmla="*/ 242054 h 455001"/>
              <a:gd name="connsiteX2" fmla="*/ 1672869 w 1700553"/>
              <a:gd name="connsiteY2" fmla="*/ 0 h 455001"/>
              <a:gd name="connsiteX3" fmla="*/ 0 w 1700553"/>
              <a:gd name="connsiteY3" fmla="*/ 205540 h 455001"/>
              <a:gd name="connsiteX4" fmla="*/ 100217 w 1700553"/>
              <a:gd name="connsiteY4" fmla="*/ 455001 h 455001"/>
              <a:gd name="connsiteX0" fmla="*/ 100217 w 1700553"/>
              <a:gd name="connsiteY0" fmla="*/ 366878 h 366878"/>
              <a:gd name="connsiteX1" fmla="*/ 1700553 w 1700553"/>
              <a:gd name="connsiteY1" fmla="*/ 153931 h 366878"/>
              <a:gd name="connsiteX2" fmla="*/ 1588975 w 1700553"/>
              <a:gd name="connsiteY2" fmla="*/ 0 h 366878"/>
              <a:gd name="connsiteX3" fmla="*/ 0 w 1700553"/>
              <a:gd name="connsiteY3" fmla="*/ 117417 h 366878"/>
              <a:gd name="connsiteX4" fmla="*/ 100217 w 1700553"/>
              <a:gd name="connsiteY4" fmla="*/ 366878 h 366878"/>
              <a:gd name="connsiteX0" fmla="*/ 115726 w 1700553"/>
              <a:gd name="connsiteY0" fmla="*/ 305211 h 305211"/>
              <a:gd name="connsiteX1" fmla="*/ 1700553 w 1700553"/>
              <a:gd name="connsiteY1" fmla="*/ 153931 h 305211"/>
              <a:gd name="connsiteX2" fmla="*/ 1588975 w 1700553"/>
              <a:gd name="connsiteY2" fmla="*/ 0 h 305211"/>
              <a:gd name="connsiteX3" fmla="*/ 0 w 1700553"/>
              <a:gd name="connsiteY3" fmla="*/ 117417 h 305211"/>
              <a:gd name="connsiteX4" fmla="*/ 115726 w 1700553"/>
              <a:gd name="connsiteY4" fmla="*/ 305211 h 305211"/>
              <a:gd name="connsiteX0" fmla="*/ 115726 w 1700553"/>
              <a:gd name="connsiteY0" fmla="*/ 321895 h 321895"/>
              <a:gd name="connsiteX1" fmla="*/ 1700553 w 1700553"/>
              <a:gd name="connsiteY1" fmla="*/ 170615 h 321895"/>
              <a:gd name="connsiteX2" fmla="*/ 1471607 w 1700553"/>
              <a:gd name="connsiteY2" fmla="*/ 0 h 321895"/>
              <a:gd name="connsiteX3" fmla="*/ 0 w 1700553"/>
              <a:gd name="connsiteY3" fmla="*/ 134101 h 321895"/>
              <a:gd name="connsiteX4" fmla="*/ 115726 w 1700553"/>
              <a:gd name="connsiteY4" fmla="*/ 321895 h 321895"/>
              <a:gd name="connsiteX0" fmla="*/ 115726 w 1581352"/>
              <a:gd name="connsiteY0" fmla="*/ 321895 h 321895"/>
              <a:gd name="connsiteX1" fmla="*/ 1581352 w 1581352"/>
              <a:gd name="connsiteY1" fmla="*/ 210307 h 321895"/>
              <a:gd name="connsiteX2" fmla="*/ 1471607 w 1581352"/>
              <a:gd name="connsiteY2" fmla="*/ 0 h 321895"/>
              <a:gd name="connsiteX3" fmla="*/ 0 w 1581352"/>
              <a:gd name="connsiteY3" fmla="*/ 134101 h 321895"/>
              <a:gd name="connsiteX4" fmla="*/ 115726 w 1581352"/>
              <a:gd name="connsiteY4" fmla="*/ 321895 h 321895"/>
              <a:gd name="connsiteX0" fmla="*/ 92298 w 1557924"/>
              <a:gd name="connsiteY0" fmla="*/ 321895 h 321895"/>
              <a:gd name="connsiteX1" fmla="*/ 1557924 w 1557924"/>
              <a:gd name="connsiteY1" fmla="*/ 210307 h 321895"/>
              <a:gd name="connsiteX2" fmla="*/ 1448179 w 1557924"/>
              <a:gd name="connsiteY2" fmla="*/ 0 h 321895"/>
              <a:gd name="connsiteX3" fmla="*/ 0 w 1557924"/>
              <a:gd name="connsiteY3" fmla="*/ 116473 h 321895"/>
              <a:gd name="connsiteX4" fmla="*/ 92298 w 1557924"/>
              <a:gd name="connsiteY4" fmla="*/ 321895 h 321895"/>
              <a:gd name="connsiteX0" fmla="*/ 152961 w 1557924"/>
              <a:gd name="connsiteY0" fmla="*/ 341247 h 341247"/>
              <a:gd name="connsiteX1" fmla="*/ 1557924 w 1557924"/>
              <a:gd name="connsiteY1" fmla="*/ 210307 h 341247"/>
              <a:gd name="connsiteX2" fmla="*/ 1448179 w 1557924"/>
              <a:gd name="connsiteY2" fmla="*/ 0 h 341247"/>
              <a:gd name="connsiteX3" fmla="*/ 0 w 1557924"/>
              <a:gd name="connsiteY3" fmla="*/ 116473 h 341247"/>
              <a:gd name="connsiteX4" fmla="*/ 152961 w 1557924"/>
              <a:gd name="connsiteY4" fmla="*/ 341247 h 341247"/>
              <a:gd name="connsiteX0" fmla="*/ 135357 w 1557924"/>
              <a:gd name="connsiteY0" fmla="*/ 339493 h 339493"/>
              <a:gd name="connsiteX1" fmla="*/ 1557924 w 1557924"/>
              <a:gd name="connsiteY1" fmla="*/ 210307 h 339493"/>
              <a:gd name="connsiteX2" fmla="*/ 1448179 w 1557924"/>
              <a:gd name="connsiteY2" fmla="*/ 0 h 339493"/>
              <a:gd name="connsiteX3" fmla="*/ 0 w 1557924"/>
              <a:gd name="connsiteY3" fmla="*/ 116473 h 339493"/>
              <a:gd name="connsiteX4" fmla="*/ 135357 w 1557924"/>
              <a:gd name="connsiteY4" fmla="*/ 339493 h 339493"/>
              <a:gd name="connsiteX0" fmla="*/ 109934 w 1532501"/>
              <a:gd name="connsiteY0" fmla="*/ 339493 h 339493"/>
              <a:gd name="connsiteX1" fmla="*/ 1532501 w 1532501"/>
              <a:gd name="connsiteY1" fmla="*/ 210307 h 339493"/>
              <a:gd name="connsiteX2" fmla="*/ 1422756 w 1532501"/>
              <a:gd name="connsiteY2" fmla="*/ 0 h 339493"/>
              <a:gd name="connsiteX3" fmla="*/ 0 w 1532501"/>
              <a:gd name="connsiteY3" fmla="*/ 117343 h 339493"/>
              <a:gd name="connsiteX4" fmla="*/ 109934 w 1532501"/>
              <a:gd name="connsiteY4" fmla="*/ 339493 h 339493"/>
              <a:gd name="connsiteX0" fmla="*/ 133525 w 1556092"/>
              <a:gd name="connsiteY0" fmla="*/ 339493 h 339493"/>
              <a:gd name="connsiteX1" fmla="*/ 1556092 w 1556092"/>
              <a:gd name="connsiteY1" fmla="*/ 210307 h 339493"/>
              <a:gd name="connsiteX2" fmla="*/ 1446347 w 1556092"/>
              <a:gd name="connsiteY2" fmla="*/ 0 h 339493"/>
              <a:gd name="connsiteX3" fmla="*/ 0 w 1556092"/>
              <a:gd name="connsiteY3" fmla="*/ 60098 h 339493"/>
              <a:gd name="connsiteX4" fmla="*/ 133525 w 1556092"/>
              <a:gd name="connsiteY4" fmla="*/ 339493 h 339493"/>
              <a:gd name="connsiteX0" fmla="*/ 133525 w 2343667"/>
              <a:gd name="connsiteY0" fmla="*/ 459688 h 459688"/>
              <a:gd name="connsiteX1" fmla="*/ 1556092 w 2343667"/>
              <a:gd name="connsiteY1" fmla="*/ 330502 h 459688"/>
              <a:gd name="connsiteX2" fmla="*/ 2343667 w 2343667"/>
              <a:gd name="connsiteY2" fmla="*/ 0 h 459688"/>
              <a:gd name="connsiteX3" fmla="*/ 0 w 2343667"/>
              <a:gd name="connsiteY3" fmla="*/ 180293 h 459688"/>
              <a:gd name="connsiteX4" fmla="*/ 133525 w 2343667"/>
              <a:gd name="connsiteY4" fmla="*/ 459688 h 459688"/>
              <a:gd name="connsiteX0" fmla="*/ 133525 w 2391079"/>
              <a:gd name="connsiteY0" fmla="*/ 459688 h 459688"/>
              <a:gd name="connsiteX1" fmla="*/ 2391079 w 2391079"/>
              <a:gd name="connsiteY1" fmla="*/ 322204 h 459688"/>
              <a:gd name="connsiteX2" fmla="*/ 2343667 w 2391079"/>
              <a:gd name="connsiteY2" fmla="*/ 0 h 459688"/>
              <a:gd name="connsiteX3" fmla="*/ 0 w 2391079"/>
              <a:gd name="connsiteY3" fmla="*/ 180293 h 459688"/>
              <a:gd name="connsiteX4" fmla="*/ 133525 w 2391079"/>
              <a:gd name="connsiteY4" fmla="*/ 459688 h 459688"/>
              <a:gd name="connsiteX0" fmla="*/ 159047 w 2391079"/>
              <a:gd name="connsiteY0" fmla="*/ 505482 h 505482"/>
              <a:gd name="connsiteX1" fmla="*/ 2391079 w 2391079"/>
              <a:gd name="connsiteY1" fmla="*/ 322204 h 505482"/>
              <a:gd name="connsiteX2" fmla="*/ 2343667 w 2391079"/>
              <a:gd name="connsiteY2" fmla="*/ 0 h 505482"/>
              <a:gd name="connsiteX3" fmla="*/ 0 w 2391079"/>
              <a:gd name="connsiteY3" fmla="*/ 180293 h 505482"/>
              <a:gd name="connsiteX4" fmla="*/ 159047 w 2391079"/>
              <a:gd name="connsiteY4" fmla="*/ 505482 h 505482"/>
              <a:gd name="connsiteX0" fmla="*/ 159047 w 2391079"/>
              <a:gd name="connsiteY0" fmla="*/ 518659 h 518659"/>
              <a:gd name="connsiteX1" fmla="*/ 2391079 w 2391079"/>
              <a:gd name="connsiteY1" fmla="*/ 335381 h 518659"/>
              <a:gd name="connsiteX2" fmla="*/ 2261507 w 2391079"/>
              <a:gd name="connsiteY2" fmla="*/ 0 h 518659"/>
              <a:gd name="connsiteX3" fmla="*/ 0 w 2391079"/>
              <a:gd name="connsiteY3" fmla="*/ 193470 h 518659"/>
              <a:gd name="connsiteX4" fmla="*/ 159047 w 2391079"/>
              <a:gd name="connsiteY4" fmla="*/ 518659 h 518659"/>
              <a:gd name="connsiteX0" fmla="*/ 159047 w 2513813"/>
              <a:gd name="connsiteY0" fmla="*/ 498511 h 498511"/>
              <a:gd name="connsiteX1" fmla="*/ 2391079 w 2513813"/>
              <a:gd name="connsiteY1" fmla="*/ 315233 h 498511"/>
              <a:gd name="connsiteX2" fmla="*/ 2513813 w 2513813"/>
              <a:gd name="connsiteY2" fmla="*/ 0 h 498511"/>
              <a:gd name="connsiteX3" fmla="*/ 0 w 2513813"/>
              <a:gd name="connsiteY3" fmla="*/ 173322 h 498511"/>
              <a:gd name="connsiteX4" fmla="*/ 159047 w 2513813"/>
              <a:gd name="connsiteY4" fmla="*/ 498511 h 498511"/>
              <a:gd name="connsiteX0" fmla="*/ 159047 w 2547383"/>
              <a:gd name="connsiteY0" fmla="*/ 498511 h 498511"/>
              <a:gd name="connsiteX1" fmla="*/ 2547383 w 2547383"/>
              <a:gd name="connsiteY1" fmla="*/ 252623 h 498511"/>
              <a:gd name="connsiteX2" fmla="*/ 2513813 w 2547383"/>
              <a:gd name="connsiteY2" fmla="*/ 0 h 498511"/>
              <a:gd name="connsiteX3" fmla="*/ 0 w 2547383"/>
              <a:gd name="connsiteY3" fmla="*/ 173322 h 498511"/>
              <a:gd name="connsiteX4" fmla="*/ 159047 w 2547383"/>
              <a:gd name="connsiteY4" fmla="*/ 498511 h 498511"/>
              <a:gd name="connsiteX0" fmla="*/ 164772 w 2553108"/>
              <a:gd name="connsiteY0" fmla="*/ 498511 h 498511"/>
              <a:gd name="connsiteX1" fmla="*/ 2553108 w 2553108"/>
              <a:gd name="connsiteY1" fmla="*/ 252623 h 498511"/>
              <a:gd name="connsiteX2" fmla="*/ 2519538 w 2553108"/>
              <a:gd name="connsiteY2" fmla="*/ 0 h 498511"/>
              <a:gd name="connsiteX3" fmla="*/ 0 w 2553108"/>
              <a:gd name="connsiteY3" fmla="*/ 237627 h 498511"/>
              <a:gd name="connsiteX4" fmla="*/ 164772 w 2553108"/>
              <a:gd name="connsiteY4" fmla="*/ 498511 h 498511"/>
              <a:gd name="connsiteX0" fmla="*/ 102113 w 2553108"/>
              <a:gd name="connsiteY0" fmla="*/ 460662 h 460662"/>
              <a:gd name="connsiteX1" fmla="*/ 2553108 w 2553108"/>
              <a:gd name="connsiteY1" fmla="*/ 252623 h 460662"/>
              <a:gd name="connsiteX2" fmla="*/ 2519538 w 2553108"/>
              <a:gd name="connsiteY2" fmla="*/ 0 h 460662"/>
              <a:gd name="connsiteX3" fmla="*/ 0 w 2553108"/>
              <a:gd name="connsiteY3" fmla="*/ 237627 h 460662"/>
              <a:gd name="connsiteX4" fmla="*/ 102113 w 2553108"/>
              <a:gd name="connsiteY4" fmla="*/ 460662 h 460662"/>
              <a:gd name="connsiteX0" fmla="*/ 102113 w 2553108"/>
              <a:gd name="connsiteY0" fmla="*/ 424537 h 424537"/>
              <a:gd name="connsiteX1" fmla="*/ 2553108 w 2553108"/>
              <a:gd name="connsiteY1" fmla="*/ 216498 h 424537"/>
              <a:gd name="connsiteX2" fmla="*/ 2498106 w 2553108"/>
              <a:gd name="connsiteY2" fmla="*/ 0 h 424537"/>
              <a:gd name="connsiteX3" fmla="*/ 0 w 2553108"/>
              <a:gd name="connsiteY3" fmla="*/ 201502 h 424537"/>
              <a:gd name="connsiteX4" fmla="*/ 102113 w 2553108"/>
              <a:gd name="connsiteY4" fmla="*/ 424537 h 424537"/>
              <a:gd name="connsiteX0" fmla="*/ 90333 w 2553108"/>
              <a:gd name="connsiteY0" fmla="*/ 403402 h 403402"/>
              <a:gd name="connsiteX1" fmla="*/ 2553108 w 2553108"/>
              <a:gd name="connsiteY1" fmla="*/ 216498 h 403402"/>
              <a:gd name="connsiteX2" fmla="*/ 2498106 w 2553108"/>
              <a:gd name="connsiteY2" fmla="*/ 0 h 403402"/>
              <a:gd name="connsiteX3" fmla="*/ 0 w 2553108"/>
              <a:gd name="connsiteY3" fmla="*/ 201502 h 403402"/>
              <a:gd name="connsiteX4" fmla="*/ 90333 w 2553108"/>
              <a:gd name="connsiteY4" fmla="*/ 403402 h 403402"/>
              <a:gd name="connsiteX0" fmla="*/ 60951 w 2523726"/>
              <a:gd name="connsiteY0" fmla="*/ 403402 h 403402"/>
              <a:gd name="connsiteX1" fmla="*/ 2523726 w 2523726"/>
              <a:gd name="connsiteY1" fmla="*/ 216498 h 403402"/>
              <a:gd name="connsiteX2" fmla="*/ 2468724 w 2523726"/>
              <a:gd name="connsiteY2" fmla="*/ 0 h 403402"/>
              <a:gd name="connsiteX3" fmla="*/ 0 w 2523726"/>
              <a:gd name="connsiteY3" fmla="*/ 224392 h 403402"/>
              <a:gd name="connsiteX4" fmla="*/ 60951 w 2523726"/>
              <a:gd name="connsiteY4" fmla="*/ 403402 h 40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3726" h="403402">
                <a:moveTo>
                  <a:pt x="60951" y="403402"/>
                </a:moveTo>
                <a:lnTo>
                  <a:pt x="2523726" y="216498"/>
                </a:lnTo>
                <a:lnTo>
                  <a:pt x="2468724" y="0"/>
                </a:lnTo>
                <a:lnTo>
                  <a:pt x="0" y="224392"/>
                </a:lnTo>
                <a:lnTo>
                  <a:pt x="60951" y="403402"/>
                </a:lnTo>
                <a:close/>
              </a:path>
            </a:pathLst>
          </a:custGeom>
          <a:solidFill>
            <a:schemeClr val="bg1"/>
          </a:solidFill>
          <a:ln>
            <a:noFill/>
          </a:ln>
          <a:effectLst>
            <a:outerShdw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solidFill>
                <a:schemeClr val="accent4"/>
              </a:solidFill>
            </a:endParaRPr>
          </a:p>
        </p:txBody>
      </p:sp>
      <p:sp>
        <p:nvSpPr>
          <p:cNvPr id="11" name="TextBox 9">
            <a:extLst>
              <a:ext uri="{FF2B5EF4-FFF2-40B4-BE49-F238E27FC236}">
                <a16:creationId xmlns:a16="http://schemas.microsoft.com/office/drawing/2014/main" id="{92565096-9135-4A6E-A4A1-A99493B92790}"/>
              </a:ext>
            </a:extLst>
          </p:cNvPr>
          <p:cNvSpPr txBox="1">
            <a:spLocks noChangeArrowheads="1"/>
          </p:cNvSpPr>
          <p:nvPr/>
        </p:nvSpPr>
        <p:spPr bwMode="auto">
          <a:xfrm>
            <a:off x="273933" y="214098"/>
            <a:ext cx="2485989" cy="369332"/>
          </a:xfrm>
          <a:prstGeom prst="rect">
            <a:avLst/>
          </a:prstGeom>
          <a:noFill/>
          <a:ln w="9525">
            <a:noFill/>
            <a:miter lim="800000"/>
            <a:headEnd/>
            <a:tailEnd/>
          </a:ln>
          <a:effectLst/>
        </p:spPr>
        <p:txBody>
          <a:bodyPr wrap="square" lIns="0">
            <a:spAutoFit/>
          </a:bodyPr>
          <a:lstStyle/>
          <a:p>
            <a:pPr marL="3174">
              <a:lnSpc>
                <a:spcPct val="90000"/>
              </a:lnSpc>
              <a:spcBef>
                <a:spcPts val="1200"/>
              </a:spcBef>
              <a:buClr>
                <a:srgbClr val="5C5C5C"/>
              </a:buClr>
              <a:buSzPct val="80000"/>
            </a:pPr>
            <a:r>
              <a:rPr lang="nl-BE" sz="2000" b="1" dirty="0">
                <a:solidFill>
                  <a:srgbClr val="FFC000"/>
                </a:solidFill>
                <a:latin typeface="Amaranth" panose="02000503000000020004" pitchFamily="50" charset="0"/>
                <a:cs typeface="Arial" panose="020B0604020202020204" pitchFamily="34" charset="0"/>
              </a:rPr>
              <a:t>Software</a:t>
            </a:r>
          </a:p>
        </p:txBody>
      </p:sp>
      <p:sp>
        <p:nvSpPr>
          <p:cNvPr id="2" name="Rechthoek 1">
            <a:extLst>
              <a:ext uri="{FF2B5EF4-FFF2-40B4-BE49-F238E27FC236}">
                <a16:creationId xmlns:a16="http://schemas.microsoft.com/office/drawing/2014/main" id="{B6F8C064-8952-4C23-AFE4-59D3565943E6}"/>
              </a:ext>
            </a:extLst>
          </p:cNvPr>
          <p:cNvSpPr/>
          <p:nvPr/>
        </p:nvSpPr>
        <p:spPr>
          <a:xfrm>
            <a:off x="5974916" y="1202753"/>
            <a:ext cx="6055504" cy="590931"/>
          </a:xfrm>
          <a:prstGeom prst="rect">
            <a:avLst/>
          </a:prstGeom>
        </p:spPr>
        <p:txBody>
          <a:bodyPr wrap="none">
            <a:spAutoFit/>
          </a:bodyPr>
          <a:lstStyle/>
          <a:p>
            <a:pPr lvl="0">
              <a:lnSpc>
                <a:spcPct val="90000"/>
              </a:lnSpc>
              <a:tabLst>
                <a:tab pos="1971675" algn="l"/>
              </a:tabLst>
              <a:defRPr/>
            </a:pPr>
            <a:r>
              <a:rPr lang="nl-NL" sz="3600" dirty="0">
                <a:solidFill>
                  <a:schemeClr val="bg1"/>
                </a:solidFill>
                <a:latin typeface="Amaranth" panose="02000503000000020004" pitchFamily="50" charset="0"/>
                <a:cs typeface="Arial" panose="020B0604020202020204" pitchFamily="34" charset="0"/>
              </a:rPr>
              <a:t>Leerlingsoftware: twee routes</a:t>
            </a:r>
            <a:endParaRPr lang="nl-NL" sz="3600" dirty="0">
              <a:solidFill>
                <a:schemeClr val="bg1"/>
              </a:solidFill>
              <a:latin typeface="Amaranth" panose="02000503000000020004" pitchFamily="50" charset="0"/>
            </a:endParaRPr>
          </a:p>
        </p:txBody>
      </p:sp>
      <p:pic>
        <p:nvPicPr>
          <p:cNvPr id="17" name="Afbeelding 1" descr="image001">
            <a:extLst>
              <a:ext uri="{FF2B5EF4-FFF2-40B4-BE49-F238E27FC236}">
                <a16:creationId xmlns:a16="http://schemas.microsoft.com/office/drawing/2014/main" id="{3BAACCCA-8CD2-46E5-84E9-34750F6216A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9486" y="3461122"/>
            <a:ext cx="3922644" cy="3388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069350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hoek 12">
            <a:extLst>
              <a:ext uri="{FF2B5EF4-FFF2-40B4-BE49-F238E27FC236}">
                <a16:creationId xmlns:a16="http://schemas.microsoft.com/office/drawing/2014/main" id="{CECEAB52-2BFE-4DB7-83D8-2B3EABF14D7F}"/>
              </a:ext>
            </a:extLst>
          </p:cNvPr>
          <p:cNvSpPr/>
          <p:nvPr/>
        </p:nvSpPr>
        <p:spPr>
          <a:xfrm>
            <a:off x="36308" y="1701879"/>
            <a:ext cx="12192000" cy="4453958"/>
          </a:xfrm>
          <a:prstGeom prst="rect">
            <a:avLst/>
          </a:prstGeom>
          <a:solidFill>
            <a:srgbClr val="FFC00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39" name="think-cell Slide" r:id="rId5" imgW="353" imgH="353" progId="TCLayout.ActiveDocument.1">
                  <p:embed/>
                </p:oleObj>
              </mc:Choice>
              <mc:Fallback>
                <p:oleObj name="think-cell Slide" r:id="rId5" imgW="353" imgH="353"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extBox 14"/>
          <p:cNvSpPr txBox="1"/>
          <p:nvPr/>
        </p:nvSpPr>
        <p:spPr>
          <a:xfrm>
            <a:off x="6013497" y="598226"/>
            <a:ext cx="6178503" cy="646331"/>
          </a:xfrm>
          <a:prstGeom prst="rect">
            <a:avLst/>
          </a:prstGeom>
          <a:noFill/>
        </p:spPr>
        <p:txBody>
          <a:bodyPr wrap="square" rtlCol="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tab pos="1971675" algn="l"/>
              </a:tabLst>
              <a:defRPr/>
            </a:pPr>
            <a:r>
              <a:rPr kumimoji="0" lang="nl-BE" sz="4000" b="0" i="0" u="none" strike="noStrike" kern="1200" cap="none" spc="0" normalizeH="0" baseline="0" noProof="0" dirty="0" err="1">
                <a:ln>
                  <a:noFill/>
                </a:ln>
                <a:solidFill>
                  <a:srgbClr val="FFC000"/>
                </a:solidFill>
                <a:effectLst/>
                <a:uLnTx/>
                <a:uFillTx/>
                <a:latin typeface="Amaranth" panose="02000503000000020004" pitchFamily="50" charset="0"/>
                <a:ea typeface="+mn-ea"/>
                <a:cs typeface="Arial" panose="020B0604020202020204" pitchFamily="34" charset="0"/>
              </a:rPr>
              <a:t>Leerlingsoftware</a:t>
            </a:r>
            <a:r>
              <a:rPr kumimoji="0" lang="nl-BE" sz="4000" b="0" i="0" u="none" strike="noStrike" kern="1200" cap="none" spc="0" normalizeH="0" baseline="0" noProof="0" dirty="0">
                <a:ln>
                  <a:noFill/>
                </a:ln>
                <a:solidFill>
                  <a:srgbClr val="FFC000"/>
                </a:solidFill>
                <a:effectLst/>
                <a:uLnTx/>
                <a:uFillTx/>
                <a:latin typeface="Amaranth" panose="02000503000000020004" pitchFamily="50" charset="0"/>
                <a:ea typeface="+mn-ea"/>
                <a:cs typeface="Arial" panose="020B0604020202020204" pitchFamily="34" charset="0"/>
              </a:rPr>
              <a:t>: spellen</a:t>
            </a:r>
          </a:p>
        </p:txBody>
      </p:sp>
      <p:sp>
        <p:nvSpPr>
          <p:cNvPr id="20" name="TextBox 9">
            <a:extLst>
              <a:ext uri="{FF2B5EF4-FFF2-40B4-BE49-F238E27FC236}">
                <a16:creationId xmlns:a16="http://schemas.microsoft.com/office/drawing/2014/main" id="{C7AA8425-6DE2-48BD-9D9B-550BF08EB454}"/>
              </a:ext>
            </a:extLst>
          </p:cNvPr>
          <p:cNvSpPr txBox="1">
            <a:spLocks noChangeArrowheads="1"/>
          </p:cNvSpPr>
          <p:nvPr/>
        </p:nvSpPr>
        <p:spPr bwMode="auto">
          <a:xfrm>
            <a:off x="414395" y="682432"/>
            <a:ext cx="1429916" cy="369332"/>
          </a:xfrm>
          <a:prstGeom prst="rect">
            <a:avLst/>
          </a:prstGeom>
          <a:noFill/>
          <a:ln w="9525">
            <a:noFill/>
            <a:miter lim="800000"/>
            <a:headEnd/>
            <a:tailEnd/>
          </a:ln>
        </p:spPr>
        <p:txBody>
          <a:bodyPr wrap="square" lIns="0">
            <a:spAutoFit/>
          </a:bodyPr>
          <a:lstStyle/>
          <a:p>
            <a:pPr marL="3174" marR="0" lvl="0" indent="0" algn="l" defTabSz="914400" rtl="0" eaLnBrk="1" fontAlgn="auto" latinLnBrk="0" hangingPunct="1">
              <a:lnSpc>
                <a:spcPct val="90000"/>
              </a:lnSpc>
              <a:spcBef>
                <a:spcPts val="1200"/>
              </a:spcBef>
              <a:spcAft>
                <a:spcPts val="0"/>
              </a:spcAft>
              <a:buClr>
                <a:srgbClr val="5C5C5C"/>
              </a:buClr>
              <a:buSzPct val="80000"/>
              <a:buFontTx/>
              <a:buNone/>
              <a:tabLst/>
              <a:defRPr/>
            </a:pPr>
            <a:r>
              <a:rPr kumimoji="0" lang="nl-BE" sz="2000" b="1" i="0" u="none" strike="noStrike" kern="1200" cap="none" spc="0" normalizeH="0" baseline="0" noProof="0" dirty="0">
                <a:ln>
                  <a:noFill/>
                </a:ln>
                <a:solidFill>
                  <a:prstClr val="white"/>
                </a:solidFill>
                <a:effectLst/>
                <a:uLnTx/>
                <a:uFillTx/>
                <a:latin typeface="Amaranth" panose="02000503000000020004" pitchFamily="50" charset="0"/>
                <a:ea typeface="+mn-ea"/>
                <a:cs typeface="Arial" panose="020B0604020202020204" pitchFamily="34" charset="0"/>
              </a:rPr>
              <a:t>Software</a:t>
            </a:r>
          </a:p>
        </p:txBody>
      </p:sp>
      <p:sp>
        <p:nvSpPr>
          <p:cNvPr id="10" name="Freeform 41">
            <a:extLst>
              <a:ext uri="{FF2B5EF4-FFF2-40B4-BE49-F238E27FC236}">
                <a16:creationId xmlns:a16="http://schemas.microsoft.com/office/drawing/2014/main" id="{19C4BFF1-338F-4238-B984-12D30DA19C04}"/>
              </a:ext>
            </a:extLst>
          </p:cNvPr>
          <p:cNvSpPr/>
          <p:nvPr/>
        </p:nvSpPr>
        <p:spPr>
          <a:xfrm rot="845560">
            <a:off x="-82083" y="352836"/>
            <a:ext cx="2164079" cy="1020274"/>
          </a:xfrm>
          <a:custGeom>
            <a:avLst/>
            <a:gdLst>
              <a:gd name="connsiteX0" fmla="*/ 45720 w 1267097"/>
              <a:gd name="connsiteY0" fmla="*/ 378823 h 378823"/>
              <a:gd name="connsiteX1" fmla="*/ 1267097 w 1267097"/>
              <a:gd name="connsiteY1" fmla="*/ 182880 h 378823"/>
              <a:gd name="connsiteX2" fmla="*/ 1267097 w 1267097"/>
              <a:gd name="connsiteY2" fmla="*/ 0 h 378823"/>
              <a:gd name="connsiteX3" fmla="*/ 0 w 1267097"/>
              <a:gd name="connsiteY3" fmla="*/ 189412 h 378823"/>
              <a:gd name="connsiteX4" fmla="*/ 45720 w 1267097"/>
              <a:gd name="connsiteY4" fmla="*/ 378823 h 378823"/>
              <a:gd name="connsiteX0" fmla="*/ 71845 w 1293222"/>
              <a:gd name="connsiteY0" fmla="*/ 378823 h 378823"/>
              <a:gd name="connsiteX1" fmla="*/ 1293222 w 1293222"/>
              <a:gd name="connsiteY1" fmla="*/ 182880 h 378823"/>
              <a:gd name="connsiteX2" fmla="*/ 1293222 w 1293222"/>
              <a:gd name="connsiteY2" fmla="*/ 0 h 378823"/>
              <a:gd name="connsiteX3" fmla="*/ 0 w 1293222"/>
              <a:gd name="connsiteY3" fmla="*/ 130629 h 378823"/>
              <a:gd name="connsiteX4" fmla="*/ 71845 w 1293222"/>
              <a:gd name="connsiteY4" fmla="*/ 378823 h 378823"/>
              <a:gd name="connsiteX0" fmla="*/ 65313 w 1293222"/>
              <a:gd name="connsiteY0" fmla="*/ 398417 h 398417"/>
              <a:gd name="connsiteX1" fmla="*/ 1293222 w 1293222"/>
              <a:gd name="connsiteY1" fmla="*/ 182880 h 398417"/>
              <a:gd name="connsiteX2" fmla="*/ 1293222 w 1293222"/>
              <a:gd name="connsiteY2" fmla="*/ 0 h 398417"/>
              <a:gd name="connsiteX3" fmla="*/ 0 w 1293222"/>
              <a:gd name="connsiteY3" fmla="*/ 130629 h 398417"/>
              <a:gd name="connsiteX4" fmla="*/ 65313 w 1293222"/>
              <a:gd name="connsiteY4" fmla="*/ 398417 h 398417"/>
              <a:gd name="connsiteX0" fmla="*/ 104663 w 1332572"/>
              <a:gd name="connsiteY0" fmla="*/ 488407 h 488407"/>
              <a:gd name="connsiteX1" fmla="*/ 1332572 w 1332572"/>
              <a:gd name="connsiteY1" fmla="*/ 272870 h 488407"/>
              <a:gd name="connsiteX2" fmla="*/ 1332572 w 1332572"/>
              <a:gd name="connsiteY2" fmla="*/ 89990 h 488407"/>
              <a:gd name="connsiteX3" fmla="*/ 0 w 1332572"/>
              <a:gd name="connsiteY3" fmla="*/ 0 h 488407"/>
              <a:gd name="connsiteX4" fmla="*/ 104663 w 1332572"/>
              <a:gd name="connsiteY4" fmla="*/ 488407 h 488407"/>
              <a:gd name="connsiteX0" fmla="*/ 58754 w 1286663"/>
              <a:gd name="connsiteY0" fmla="*/ 488407 h 488407"/>
              <a:gd name="connsiteX1" fmla="*/ 1286663 w 1286663"/>
              <a:gd name="connsiteY1" fmla="*/ 272870 h 488407"/>
              <a:gd name="connsiteX2" fmla="*/ 1286663 w 1286663"/>
              <a:gd name="connsiteY2" fmla="*/ 89990 h 488407"/>
              <a:gd name="connsiteX3" fmla="*/ 0 w 1286663"/>
              <a:gd name="connsiteY3" fmla="*/ 0 h 488407"/>
              <a:gd name="connsiteX4" fmla="*/ 58754 w 1286663"/>
              <a:gd name="connsiteY4" fmla="*/ 488407 h 488407"/>
              <a:gd name="connsiteX0" fmla="*/ 58754 w 1293221"/>
              <a:gd name="connsiteY0" fmla="*/ 574912 h 574912"/>
              <a:gd name="connsiteX1" fmla="*/ 1286663 w 1293221"/>
              <a:gd name="connsiteY1" fmla="*/ 359375 h 574912"/>
              <a:gd name="connsiteX2" fmla="*/ 1293221 w 1293221"/>
              <a:gd name="connsiteY2" fmla="*/ 0 h 574912"/>
              <a:gd name="connsiteX3" fmla="*/ 0 w 1293221"/>
              <a:gd name="connsiteY3" fmla="*/ 86505 h 574912"/>
              <a:gd name="connsiteX4" fmla="*/ 58754 w 1293221"/>
              <a:gd name="connsiteY4" fmla="*/ 574912 h 574912"/>
              <a:gd name="connsiteX0" fmla="*/ 58754 w 1470298"/>
              <a:gd name="connsiteY0" fmla="*/ 574912 h 574912"/>
              <a:gd name="connsiteX1" fmla="*/ 1470298 w 1470298"/>
              <a:gd name="connsiteY1" fmla="*/ 561083 h 574912"/>
              <a:gd name="connsiteX2" fmla="*/ 1293221 w 1470298"/>
              <a:gd name="connsiteY2" fmla="*/ 0 h 574912"/>
              <a:gd name="connsiteX3" fmla="*/ 0 w 1470298"/>
              <a:gd name="connsiteY3" fmla="*/ 86505 h 574912"/>
              <a:gd name="connsiteX4" fmla="*/ 58754 w 1470298"/>
              <a:gd name="connsiteY4" fmla="*/ 574912 h 574912"/>
              <a:gd name="connsiteX0" fmla="*/ 65313 w 1470298"/>
              <a:gd name="connsiteY0" fmla="*/ 795531 h 795531"/>
              <a:gd name="connsiteX1" fmla="*/ 1470298 w 1470298"/>
              <a:gd name="connsiteY1" fmla="*/ 561083 h 795531"/>
              <a:gd name="connsiteX2" fmla="*/ 1293221 w 1470298"/>
              <a:gd name="connsiteY2" fmla="*/ 0 h 795531"/>
              <a:gd name="connsiteX3" fmla="*/ 0 w 1470298"/>
              <a:gd name="connsiteY3" fmla="*/ 86505 h 795531"/>
              <a:gd name="connsiteX4" fmla="*/ 65313 w 1470298"/>
              <a:gd name="connsiteY4" fmla="*/ 795531 h 795531"/>
              <a:gd name="connsiteX0" fmla="*/ 65313 w 1844126"/>
              <a:gd name="connsiteY0" fmla="*/ 795531 h 795531"/>
              <a:gd name="connsiteX1" fmla="*/ 1844126 w 1844126"/>
              <a:gd name="connsiteY1" fmla="*/ 504352 h 795531"/>
              <a:gd name="connsiteX2" fmla="*/ 1293221 w 1844126"/>
              <a:gd name="connsiteY2" fmla="*/ 0 h 795531"/>
              <a:gd name="connsiteX3" fmla="*/ 0 w 1844126"/>
              <a:gd name="connsiteY3" fmla="*/ 86505 h 795531"/>
              <a:gd name="connsiteX4" fmla="*/ 65313 w 1844126"/>
              <a:gd name="connsiteY4" fmla="*/ 795531 h 795531"/>
              <a:gd name="connsiteX0" fmla="*/ 65313 w 1844126"/>
              <a:gd name="connsiteY0" fmla="*/ 845958 h 845958"/>
              <a:gd name="connsiteX1" fmla="*/ 1844126 w 1844126"/>
              <a:gd name="connsiteY1" fmla="*/ 554779 h 845958"/>
              <a:gd name="connsiteX2" fmla="*/ 1621141 w 1844126"/>
              <a:gd name="connsiteY2" fmla="*/ 0 h 845958"/>
              <a:gd name="connsiteX3" fmla="*/ 0 w 1844126"/>
              <a:gd name="connsiteY3" fmla="*/ 136932 h 845958"/>
              <a:gd name="connsiteX4" fmla="*/ 65313 w 1844126"/>
              <a:gd name="connsiteY4" fmla="*/ 845958 h 845958"/>
              <a:gd name="connsiteX0" fmla="*/ 65313 w 1844126"/>
              <a:gd name="connsiteY0" fmla="*/ 864868 h 864868"/>
              <a:gd name="connsiteX1" fmla="*/ 1844126 w 1844126"/>
              <a:gd name="connsiteY1" fmla="*/ 573689 h 864868"/>
              <a:gd name="connsiteX2" fmla="*/ 1621141 w 1844126"/>
              <a:gd name="connsiteY2" fmla="*/ 0 h 864868"/>
              <a:gd name="connsiteX3" fmla="*/ 0 w 1844126"/>
              <a:gd name="connsiteY3" fmla="*/ 155842 h 864868"/>
              <a:gd name="connsiteX4" fmla="*/ 65313 w 1844126"/>
              <a:gd name="connsiteY4" fmla="*/ 864868 h 864868"/>
              <a:gd name="connsiteX0" fmla="*/ 65313 w 1686724"/>
              <a:gd name="connsiteY0" fmla="*/ 864868 h 864868"/>
              <a:gd name="connsiteX1" fmla="*/ 1686724 w 1686724"/>
              <a:gd name="connsiteY1" fmla="*/ 561082 h 864868"/>
              <a:gd name="connsiteX2" fmla="*/ 1621141 w 1686724"/>
              <a:gd name="connsiteY2" fmla="*/ 0 h 864868"/>
              <a:gd name="connsiteX3" fmla="*/ 0 w 1686724"/>
              <a:gd name="connsiteY3" fmla="*/ 155842 h 864868"/>
              <a:gd name="connsiteX4" fmla="*/ 65313 w 1686724"/>
              <a:gd name="connsiteY4" fmla="*/ 864868 h 864868"/>
              <a:gd name="connsiteX0" fmla="*/ 39079 w 1660490"/>
              <a:gd name="connsiteY0" fmla="*/ 864868 h 864868"/>
              <a:gd name="connsiteX1" fmla="*/ 1660490 w 1660490"/>
              <a:gd name="connsiteY1" fmla="*/ 561082 h 864868"/>
              <a:gd name="connsiteX2" fmla="*/ 1594907 w 1660490"/>
              <a:gd name="connsiteY2" fmla="*/ 0 h 864868"/>
              <a:gd name="connsiteX3" fmla="*/ 0 w 1660490"/>
              <a:gd name="connsiteY3" fmla="*/ 351248 h 864868"/>
              <a:gd name="connsiteX4" fmla="*/ 39079 w 1660490"/>
              <a:gd name="connsiteY4" fmla="*/ 864868 h 864868"/>
              <a:gd name="connsiteX0" fmla="*/ 39079 w 1857243"/>
              <a:gd name="connsiteY0" fmla="*/ 719889 h 719889"/>
              <a:gd name="connsiteX1" fmla="*/ 1660490 w 1857243"/>
              <a:gd name="connsiteY1" fmla="*/ 416103 h 719889"/>
              <a:gd name="connsiteX2" fmla="*/ 1857243 w 1857243"/>
              <a:gd name="connsiteY2" fmla="*/ 0 h 719889"/>
              <a:gd name="connsiteX3" fmla="*/ 0 w 1857243"/>
              <a:gd name="connsiteY3" fmla="*/ 206269 h 719889"/>
              <a:gd name="connsiteX4" fmla="*/ 39079 w 1857243"/>
              <a:gd name="connsiteY4" fmla="*/ 719889 h 719889"/>
              <a:gd name="connsiteX0" fmla="*/ 39079 w 1909709"/>
              <a:gd name="connsiteY0" fmla="*/ 719889 h 719889"/>
              <a:gd name="connsiteX1" fmla="*/ 1909709 w 1909709"/>
              <a:gd name="connsiteY1" fmla="*/ 208090 h 719889"/>
              <a:gd name="connsiteX2" fmla="*/ 1857243 w 1909709"/>
              <a:gd name="connsiteY2" fmla="*/ 0 h 719889"/>
              <a:gd name="connsiteX3" fmla="*/ 0 w 1909709"/>
              <a:gd name="connsiteY3" fmla="*/ 206269 h 719889"/>
              <a:gd name="connsiteX4" fmla="*/ 39079 w 1909709"/>
              <a:gd name="connsiteY4" fmla="*/ 719889 h 719889"/>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206269 h 511876"/>
              <a:gd name="connsiteX4" fmla="*/ 39079 w 1909709"/>
              <a:gd name="connsiteY4" fmla="*/ 511876 h 511876"/>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121173 h 511876"/>
              <a:gd name="connsiteX4" fmla="*/ 39079 w 1909709"/>
              <a:gd name="connsiteY4" fmla="*/ 511876 h 511876"/>
              <a:gd name="connsiteX0" fmla="*/ 39079 w 1857243"/>
              <a:gd name="connsiteY0" fmla="*/ 511876 h 511876"/>
              <a:gd name="connsiteX1" fmla="*/ 1748372 w 1857243"/>
              <a:gd name="connsiteY1" fmla="*/ 309201 h 511876"/>
              <a:gd name="connsiteX2" fmla="*/ 1857243 w 1857243"/>
              <a:gd name="connsiteY2" fmla="*/ 0 h 511876"/>
              <a:gd name="connsiteX3" fmla="*/ 0 w 1857243"/>
              <a:gd name="connsiteY3" fmla="*/ 121173 h 511876"/>
              <a:gd name="connsiteX4" fmla="*/ 39079 w 1857243"/>
              <a:gd name="connsiteY4" fmla="*/ 511876 h 511876"/>
              <a:gd name="connsiteX0" fmla="*/ 39079 w 1748372"/>
              <a:gd name="connsiteY0" fmla="*/ 499237 h 499237"/>
              <a:gd name="connsiteX1" fmla="*/ 1748372 w 1748372"/>
              <a:gd name="connsiteY1" fmla="*/ 296562 h 499237"/>
              <a:gd name="connsiteX2" fmla="*/ 1723965 w 1748372"/>
              <a:gd name="connsiteY2" fmla="*/ 0 h 499237"/>
              <a:gd name="connsiteX3" fmla="*/ 0 w 1748372"/>
              <a:gd name="connsiteY3" fmla="*/ 108534 h 499237"/>
              <a:gd name="connsiteX4" fmla="*/ 39079 w 1748372"/>
              <a:gd name="connsiteY4" fmla="*/ 499237 h 499237"/>
              <a:gd name="connsiteX0" fmla="*/ 95196 w 1748372"/>
              <a:gd name="connsiteY0" fmla="*/ 451841 h 451841"/>
              <a:gd name="connsiteX1" fmla="*/ 1748372 w 1748372"/>
              <a:gd name="connsiteY1" fmla="*/ 296562 h 451841"/>
              <a:gd name="connsiteX2" fmla="*/ 1723965 w 1748372"/>
              <a:gd name="connsiteY2" fmla="*/ 0 h 451841"/>
              <a:gd name="connsiteX3" fmla="*/ 0 w 1748372"/>
              <a:gd name="connsiteY3" fmla="*/ 108534 h 451841"/>
              <a:gd name="connsiteX4" fmla="*/ 95196 w 1748372"/>
              <a:gd name="connsiteY4" fmla="*/ 451841 h 451841"/>
              <a:gd name="connsiteX0" fmla="*/ 95196 w 1723965"/>
              <a:gd name="connsiteY0" fmla="*/ 451841 h 451841"/>
              <a:gd name="connsiteX1" fmla="*/ 1713299 w 1723965"/>
              <a:gd name="connsiteY1" fmla="*/ 315520 h 451841"/>
              <a:gd name="connsiteX2" fmla="*/ 1723965 w 1723965"/>
              <a:gd name="connsiteY2" fmla="*/ 0 h 451841"/>
              <a:gd name="connsiteX3" fmla="*/ 0 w 1723965"/>
              <a:gd name="connsiteY3" fmla="*/ 108534 h 451841"/>
              <a:gd name="connsiteX4" fmla="*/ 95196 w 1723965"/>
              <a:gd name="connsiteY4" fmla="*/ 451841 h 451841"/>
              <a:gd name="connsiteX0" fmla="*/ 95196 w 1713299"/>
              <a:gd name="connsiteY0" fmla="*/ 455001 h 455001"/>
              <a:gd name="connsiteX1" fmla="*/ 1713299 w 1713299"/>
              <a:gd name="connsiteY1" fmla="*/ 318680 h 455001"/>
              <a:gd name="connsiteX2" fmla="*/ 1667848 w 1713299"/>
              <a:gd name="connsiteY2" fmla="*/ 0 h 455001"/>
              <a:gd name="connsiteX3" fmla="*/ 0 w 1713299"/>
              <a:gd name="connsiteY3" fmla="*/ 111694 h 455001"/>
              <a:gd name="connsiteX4" fmla="*/ 95196 w 1713299"/>
              <a:gd name="connsiteY4" fmla="*/ 455001 h 455001"/>
              <a:gd name="connsiteX0" fmla="*/ 67137 w 1685240"/>
              <a:gd name="connsiteY0" fmla="*/ 455001 h 455001"/>
              <a:gd name="connsiteX1" fmla="*/ 1685240 w 1685240"/>
              <a:gd name="connsiteY1" fmla="*/ 318680 h 455001"/>
              <a:gd name="connsiteX2" fmla="*/ 1639789 w 1685240"/>
              <a:gd name="connsiteY2" fmla="*/ 0 h 455001"/>
              <a:gd name="connsiteX3" fmla="*/ 0 w 1685240"/>
              <a:gd name="connsiteY3" fmla="*/ 130652 h 455001"/>
              <a:gd name="connsiteX4" fmla="*/ 67137 w 1685240"/>
              <a:gd name="connsiteY4" fmla="*/ 455001 h 455001"/>
              <a:gd name="connsiteX0" fmla="*/ 67137 w 1667473"/>
              <a:gd name="connsiteY0" fmla="*/ 455001 h 455001"/>
              <a:gd name="connsiteX1" fmla="*/ 1667473 w 1667473"/>
              <a:gd name="connsiteY1" fmla="*/ 242054 h 455001"/>
              <a:gd name="connsiteX2" fmla="*/ 1639789 w 1667473"/>
              <a:gd name="connsiteY2" fmla="*/ 0 h 455001"/>
              <a:gd name="connsiteX3" fmla="*/ 0 w 1667473"/>
              <a:gd name="connsiteY3" fmla="*/ 130652 h 455001"/>
              <a:gd name="connsiteX4" fmla="*/ 67137 w 1667473"/>
              <a:gd name="connsiteY4" fmla="*/ 455001 h 455001"/>
              <a:gd name="connsiteX0" fmla="*/ 100217 w 1700553"/>
              <a:gd name="connsiteY0" fmla="*/ 455001 h 455001"/>
              <a:gd name="connsiteX1" fmla="*/ 1700553 w 1700553"/>
              <a:gd name="connsiteY1" fmla="*/ 242054 h 455001"/>
              <a:gd name="connsiteX2" fmla="*/ 1672869 w 1700553"/>
              <a:gd name="connsiteY2" fmla="*/ 0 h 455001"/>
              <a:gd name="connsiteX3" fmla="*/ 0 w 1700553"/>
              <a:gd name="connsiteY3" fmla="*/ 205540 h 455001"/>
              <a:gd name="connsiteX4" fmla="*/ 100217 w 1700553"/>
              <a:gd name="connsiteY4" fmla="*/ 455001 h 455001"/>
              <a:gd name="connsiteX0" fmla="*/ 100217 w 1700553"/>
              <a:gd name="connsiteY0" fmla="*/ 366878 h 366878"/>
              <a:gd name="connsiteX1" fmla="*/ 1700553 w 1700553"/>
              <a:gd name="connsiteY1" fmla="*/ 153931 h 366878"/>
              <a:gd name="connsiteX2" fmla="*/ 1588975 w 1700553"/>
              <a:gd name="connsiteY2" fmla="*/ 0 h 366878"/>
              <a:gd name="connsiteX3" fmla="*/ 0 w 1700553"/>
              <a:gd name="connsiteY3" fmla="*/ 117417 h 366878"/>
              <a:gd name="connsiteX4" fmla="*/ 100217 w 1700553"/>
              <a:gd name="connsiteY4" fmla="*/ 366878 h 366878"/>
              <a:gd name="connsiteX0" fmla="*/ 115726 w 1700553"/>
              <a:gd name="connsiteY0" fmla="*/ 305211 h 305211"/>
              <a:gd name="connsiteX1" fmla="*/ 1700553 w 1700553"/>
              <a:gd name="connsiteY1" fmla="*/ 153931 h 305211"/>
              <a:gd name="connsiteX2" fmla="*/ 1588975 w 1700553"/>
              <a:gd name="connsiteY2" fmla="*/ 0 h 305211"/>
              <a:gd name="connsiteX3" fmla="*/ 0 w 1700553"/>
              <a:gd name="connsiteY3" fmla="*/ 117417 h 305211"/>
              <a:gd name="connsiteX4" fmla="*/ 115726 w 1700553"/>
              <a:gd name="connsiteY4" fmla="*/ 305211 h 305211"/>
              <a:gd name="connsiteX0" fmla="*/ 115726 w 1700553"/>
              <a:gd name="connsiteY0" fmla="*/ 321895 h 321895"/>
              <a:gd name="connsiteX1" fmla="*/ 1700553 w 1700553"/>
              <a:gd name="connsiteY1" fmla="*/ 170615 h 321895"/>
              <a:gd name="connsiteX2" fmla="*/ 1471607 w 1700553"/>
              <a:gd name="connsiteY2" fmla="*/ 0 h 321895"/>
              <a:gd name="connsiteX3" fmla="*/ 0 w 1700553"/>
              <a:gd name="connsiteY3" fmla="*/ 134101 h 321895"/>
              <a:gd name="connsiteX4" fmla="*/ 115726 w 1700553"/>
              <a:gd name="connsiteY4" fmla="*/ 321895 h 321895"/>
              <a:gd name="connsiteX0" fmla="*/ 115726 w 1581352"/>
              <a:gd name="connsiteY0" fmla="*/ 321895 h 321895"/>
              <a:gd name="connsiteX1" fmla="*/ 1581352 w 1581352"/>
              <a:gd name="connsiteY1" fmla="*/ 210307 h 321895"/>
              <a:gd name="connsiteX2" fmla="*/ 1471607 w 1581352"/>
              <a:gd name="connsiteY2" fmla="*/ 0 h 321895"/>
              <a:gd name="connsiteX3" fmla="*/ 0 w 1581352"/>
              <a:gd name="connsiteY3" fmla="*/ 134101 h 321895"/>
              <a:gd name="connsiteX4" fmla="*/ 115726 w 1581352"/>
              <a:gd name="connsiteY4" fmla="*/ 321895 h 321895"/>
              <a:gd name="connsiteX0" fmla="*/ 92298 w 1557924"/>
              <a:gd name="connsiteY0" fmla="*/ 321895 h 321895"/>
              <a:gd name="connsiteX1" fmla="*/ 1557924 w 1557924"/>
              <a:gd name="connsiteY1" fmla="*/ 210307 h 321895"/>
              <a:gd name="connsiteX2" fmla="*/ 1448179 w 1557924"/>
              <a:gd name="connsiteY2" fmla="*/ 0 h 321895"/>
              <a:gd name="connsiteX3" fmla="*/ 0 w 1557924"/>
              <a:gd name="connsiteY3" fmla="*/ 116473 h 321895"/>
              <a:gd name="connsiteX4" fmla="*/ 92298 w 1557924"/>
              <a:gd name="connsiteY4" fmla="*/ 321895 h 321895"/>
              <a:gd name="connsiteX0" fmla="*/ 152961 w 1557924"/>
              <a:gd name="connsiteY0" fmla="*/ 341247 h 341247"/>
              <a:gd name="connsiteX1" fmla="*/ 1557924 w 1557924"/>
              <a:gd name="connsiteY1" fmla="*/ 210307 h 341247"/>
              <a:gd name="connsiteX2" fmla="*/ 1448179 w 1557924"/>
              <a:gd name="connsiteY2" fmla="*/ 0 h 341247"/>
              <a:gd name="connsiteX3" fmla="*/ 0 w 1557924"/>
              <a:gd name="connsiteY3" fmla="*/ 116473 h 341247"/>
              <a:gd name="connsiteX4" fmla="*/ 152961 w 1557924"/>
              <a:gd name="connsiteY4" fmla="*/ 341247 h 341247"/>
              <a:gd name="connsiteX0" fmla="*/ 135357 w 1557924"/>
              <a:gd name="connsiteY0" fmla="*/ 339493 h 339493"/>
              <a:gd name="connsiteX1" fmla="*/ 1557924 w 1557924"/>
              <a:gd name="connsiteY1" fmla="*/ 210307 h 339493"/>
              <a:gd name="connsiteX2" fmla="*/ 1448179 w 1557924"/>
              <a:gd name="connsiteY2" fmla="*/ 0 h 339493"/>
              <a:gd name="connsiteX3" fmla="*/ 0 w 1557924"/>
              <a:gd name="connsiteY3" fmla="*/ 116473 h 339493"/>
              <a:gd name="connsiteX4" fmla="*/ 135357 w 1557924"/>
              <a:gd name="connsiteY4" fmla="*/ 339493 h 339493"/>
              <a:gd name="connsiteX0" fmla="*/ 109934 w 1532501"/>
              <a:gd name="connsiteY0" fmla="*/ 339493 h 339493"/>
              <a:gd name="connsiteX1" fmla="*/ 1532501 w 1532501"/>
              <a:gd name="connsiteY1" fmla="*/ 210307 h 339493"/>
              <a:gd name="connsiteX2" fmla="*/ 1422756 w 1532501"/>
              <a:gd name="connsiteY2" fmla="*/ 0 h 339493"/>
              <a:gd name="connsiteX3" fmla="*/ 0 w 1532501"/>
              <a:gd name="connsiteY3" fmla="*/ 117343 h 339493"/>
              <a:gd name="connsiteX4" fmla="*/ 109934 w 1532501"/>
              <a:gd name="connsiteY4" fmla="*/ 339493 h 339493"/>
              <a:gd name="connsiteX0" fmla="*/ 133525 w 1556092"/>
              <a:gd name="connsiteY0" fmla="*/ 339493 h 339493"/>
              <a:gd name="connsiteX1" fmla="*/ 1556092 w 1556092"/>
              <a:gd name="connsiteY1" fmla="*/ 210307 h 339493"/>
              <a:gd name="connsiteX2" fmla="*/ 1446347 w 1556092"/>
              <a:gd name="connsiteY2" fmla="*/ 0 h 339493"/>
              <a:gd name="connsiteX3" fmla="*/ 0 w 1556092"/>
              <a:gd name="connsiteY3" fmla="*/ 60098 h 339493"/>
              <a:gd name="connsiteX4" fmla="*/ 133525 w 1556092"/>
              <a:gd name="connsiteY4" fmla="*/ 339493 h 339493"/>
              <a:gd name="connsiteX0" fmla="*/ 133525 w 2343667"/>
              <a:gd name="connsiteY0" fmla="*/ 459688 h 459688"/>
              <a:gd name="connsiteX1" fmla="*/ 1556092 w 2343667"/>
              <a:gd name="connsiteY1" fmla="*/ 330502 h 459688"/>
              <a:gd name="connsiteX2" fmla="*/ 2343667 w 2343667"/>
              <a:gd name="connsiteY2" fmla="*/ 0 h 459688"/>
              <a:gd name="connsiteX3" fmla="*/ 0 w 2343667"/>
              <a:gd name="connsiteY3" fmla="*/ 180293 h 459688"/>
              <a:gd name="connsiteX4" fmla="*/ 133525 w 2343667"/>
              <a:gd name="connsiteY4" fmla="*/ 459688 h 459688"/>
              <a:gd name="connsiteX0" fmla="*/ 133525 w 2391079"/>
              <a:gd name="connsiteY0" fmla="*/ 459688 h 459688"/>
              <a:gd name="connsiteX1" fmla="*/ 2391079 w 2391079"/>
              <a:gd name="connsiteY1" fmla="*/ 322204 h 459688"/>
              <a:gd name="connsiteX2" fmla="*/ 2343667 w 2391079"/>
              <a:gd name="connsiteY2" fmla="*/ 0 h 459688"/>
              <a:gd name="connsiteX3" fmla="*/ 0 w 2391079"/>
              <a:gd name="connsiteY3" fmla="*/ 180293 h 459688"/>
              <a:gd name="connsiteX4" fmla="*/ 133525 w 2391079"/>
              <a:gd name="connsiteY4" fmla="*/ 459688 h 459688"/>
              <a:gd name="connsiteX0" fmla="*/ 159047 w 2391079"/>
              <a:gd name="connsiteY0" fmla="*/ 505482 h 505482"/>
              <a:gd name="connsiteX1" fmla="*/ 2391079 w 2391079"/>
              <a:gd name="connsiteY1" fmla="*/ 322204 h 505482"/>
              <a:gd name="connsiteX2" fmla="*/ 2343667 w 2391079"/>
              <a:gd name="connsiteY2" fmla="*/ 0 h 505482"/>
              <a:gd name="connsiteX3" fmla="*/ 0 w 2391079"/>
              <a:gd name="connsiteY3" fmla="*/ 180293 h 505482"/>
              <a:gd name="connsiteX4" fmla="*/ 159047 w 2391079"/>
              <a:gd name="connsiteY4" fmla="*/ 505482 h 505482"/>
              <a:gd name="connsiteX0" fmla="*/ 159047 w 2391079"/>
              <a:gd name="connsiteY0" fmla="*/ 518659 h 518659"/>
              <a:gd name="connsiteX1" fmla="*/ 2391079 w 2391079"/>
              <a:gd name="connsiteY1" fmla="*/ 335381 h 518659"/>
              <a:gd name="connsiteX2" fmla="*/ 2261507 w 2391079"/>
              <a:gd name="connsiteY2" fmla="*/ 0 h 518659"/>
              <a:gd name="connsiteX3" fmla="*/ 0 w 2391079"/>
              <a:gd name="connsiteY3" fmla="*/ 193470 h 518659"/>
              <a:gd name="connsiteX4" fmla="*/ 159047 w 2391079"/>
              <a:gd name="connsiteY4" fmla="*/ 518659 h 518659"/>
              <a:gd name="connsiteX0" fmla="*/ 159047 w 2513813"/>
              <a:gd name="connsiteY0" fmla="*/ 498511 h 498511"/>
              <a:gd name="connsiteX1" fmla="*/ 2391079 w 2513813"/>
              <a:gd name="connsiteY1" fmla="*/ 315233 h 498511"/>
              <a:gd name="connsiteX2" fmla="*/ 2513813 w 2513813"/>
              <a:gd name="connsiteY2" fmla="*/ 0 h 498511"/>
              <a:gd name="connsiteX3" fmla="*/ 0 w 2513813"/>
              <a:gd name="connsiteY3" fmla="*/ 173322 h 498511"/>
              <a:gd name="connsiteX4" fmla="*/ 159047 w 2513813"/>
              <a:gd name="connsiteY4" fmla="*/ 498511 h 498511"/>
              <a:gd name="connsiteX0" fmla="*/ 159047 w 2547383"/>
              <a:gd name="connsiteY0" fmla="*/ 498511 h 498511"/>
              <a:gd name="connsiteX1" fmla="*/ 2547383 w 2547383"/>
              <a:gd name="connsiteY1" fmla="*/ 252623 h 498511"/>
              <a:gd name="connsiteX2" fmla="*/ 2513813 w 2547383"/>
              <a:gd name="connsiteY2" fmla="*/ 0 h 498511"/>
              <a:gd name="connsiteX3" fmla="*/ 0 w 2547383"/>
              <a:gd name="connsiteY3" fmla="*/ 173322 h 498511"/>
              <a:gd name="connsiteX4" fmla="*/ 159047 w 2547383"/>
              <a:gd name="connsiteY4" fmla="*/ 498511 h 498511"/>
              <a:gd name="connsiteX0" fmla="*/ 164772 w 2553108"/>
              <a:gd name="connsiteY0" fmla="*/ 498511 h 498511"/>
              <a:gd name="connsiteX1" fmla="*/ 2553108 w 2553108"/>
              <a:gd name="connsiteY1" fmla="*/ 252623 h 498511"/>
              <a:gd name="connsiteX2" fmla="*/ 2519538 w 2553108"/>
              <a:gd name="connsiteY2" fmla="*/ 0 h 498511"/>
              <a:gd name="connsiteX3" fmla="*/ 0 w 2553108"/>
              <a:gd name="connsiteY3" fmla="*/ 237627 h 498511"/>
              <a:gd name="connsiteX4" fmla="*/ 164772 w 2553108"/>
              <a:gd name="connsiteY4" fmla="*/ 498511 h 498511"/>
              <a:gd name="connsiteX0" fmla="*/ 102113 w 2553108"/>
              <a:gd name="connsiteY0" fmla="*/ 460662 h 460662"/>
              <a:gd name="connsiteX1" fmla="*/ 2553108 w 2553108"/>
              <a:gd name="connsiteY1" fmla="*/ 252623 h 460662"/>
              <a:gd name="connsiteX2" fmla="*/ 2519538 w 2553108"/>
              <a:gd name="connsiteY2" fmla="*/ 0 h 460662"/>
              <a:gd name="connsiteX3" fmla="*/ 0 w 2553108"/>
              <a:gd name="connsiteY3" fmla="*/ 237627 h 460662"/>
              <a:gd name="connsiteX4" fmla="*/ 102113 w 2553108"/>
              <a:gd name="connsiteY4" fmla="*/ 460662 h 460662"/>
              <a:gd name="connsiteX0" fmla="*/ 102113 w 2553108"/>
              <a:gd name="connsiteY0" fmla="*/ 424537 h 424537"/>
              <a:gd name="connsiteX1" fmla="*/ 2553108 w 2553108"/>
              <a:gd name="connsiteY1" fmla="*/ 216498 h 424537"/>
              <a:gd name="connsiteX2" fmla="*/ 2498106 w 2553108"/>
              <a:gd name="connsiteY2" fmla="*/ 0 h 424537"/>
              <a:gd name="connsiteX3" fmla="*/ 0 w 2553108"/>
              <a:gd name="connsiteY3" fmla="*/ 201502 h 424537"/>
              <a:gd name="connsiteX4" fmla="*/ 102113 w 2553108"/>
              <a:gd name="connsiteY4" fmla="*/ 424537 h 424537"/>
              <a:gd name="connsiteX0" fmla="*/ 90333 w 2553108"/>
              <a:gd name="connsiteY0" fmla="*/ 403402 h 403402"/>
              <a:gd name="connsiteX1" fmla="*/ 2553108 w 2553108"/>
              <a:gd name="connsiteY1" fmla="*/ 216498 h 403402"/>
              <a:gd name="connsiteX2" fmla="*/ 2498106 w 2553108"/>
              <a:gd name="connsiteY2" fmla="*/ 0 h 403402"/>
              <a:gd name="connsiteX3" fmla="*/ 0 w 2553108"/>
              <a:gd name="connsiteY3" fmla="*/ 201502 h 403402"/>
              <a:gd name="connsiteX4" fmla="*/ 90333 w 2553108"/>
              <a:gd name="connsiteY4" fmla="*/ 403402 h 403402"/>
              <a:gd name="connsiteX0" fmla="*/ 60951 w 2523726"/>
              <a:gd name="connsiteY0" fmla="*/ 403402 h 403402"/>
              <a:gd name="connsiteX1" fmla="*/ 2523726 w 2523726"/>
              <a:gd name="connsiteY1" fmla="*/ 216498 h 403402"/>
              <a:gd name="connsiteX2" fmla="*/ 2468724 w 2523726"/>
              <a:gd name="connsiteY2" fmla="*/ 0 h 403402"/>
              <a:gd name="connsiteX3" fmla="*/ 0 w 2523726"/>
              <a:gd name="connsiteY3" fmla="*/ 224392 h 403402"/>
              <a:gd name="connsiteX4" fmla="*/ 60951 w 2523726"/>
              <a:gd name="connsiteY4" fmla="*/ 403402 h 40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3726" h="403402">
                <a:moveTo>
                  <a:pt x="60951" y="403402"/>
                </a:moveTo>
                <a:lnTo>
                  <a:pt x="2523726" y="216498"/>
                </a:lnTo>
                <a:lnTo>
                  <a:pt x="2468724" y="0"/>
                </a:lnTo>
                <a:lnTo>
                  <a:pt x="0" y="224392"/>
                </a:lnTo>
                <a:lnTo>
                  <a:pt x="60951" y="403402"/>
                </a:lnTo>
                <a:close/>
              </a:path>
            </a:pathLst>
          </a:custGeom>
          <a:solidFill>
            <a:schemeClr val="bg1"/>
          </a:solidFill>
          <a:ln>
            <a:noFill/>
          </a:ln>
          <a:effectLst>
            <a:outerShdw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solidFill>
                <a:schemeClr val="accent4"/>
              </a:solidFill>
            </a:endParaRPr>
          </a:p>
        </p:txBody>
      </p:sp>
      <p:sp>
        <p:nvSpPr>
          <p:cNvPr id="12" name="TextBox 9">
            <a:extLst>
              <a:ext uri="{FF2B5EF4-FFF2-40B4-BE49-F238E27FC236}">
                <a16:creationId xmlns:a16="http://schemas.microsoft.com/office/drawing/2014/main" id="{C3944AA2-7FD8-4EED-A32C-A9F6411C21EC}"/>
              </a:ext>
            </a:extLst>
          </p:cNvPr>
          <p:cNvSpPr txBox="1">
            <a:spLocks noChangeArrowheads="1"/>
          </p:cNvSpPr>
          <p:nvPr/>
        </p:nvSpPr>
        <p:spPr bwMode="auto">
          <a:xfrm>
            <a:off x="224576" y="678307"/>
            <a:ext cx="2485989" cy="369332"/>
          </a:xfrm>
          <a:prstGeom prst="rect">
            <a:avLst/>
          </a:prstGeom>
          <a:noFill/>
          <a:ln w="9525">
            <a:noFill/>
            <a:miter lim="800000"/>
            <a:headEnd/>
            <a:tailEnd/>
          </a:ln>
          <a:effectLst/>
        </p:spPr>
        <p:txBody>
          <a:bodyPr wrap="square" lIns="0">
            <a:spAutoFit/>
          </a:bodyPr>
          <a:lstStyle/>
          <a:p>
            <a:pPr marL="3174">
              <a:lnSpc>
                <a:spcPct val="90000"/>
              </a:lnSpc>
              <a:spcBef>
                <a:spcPts val="1200"/>
              </a:spcBef>
              <a:buClr>
                <a:srgbClr val="5C5C5C"/>
              </a:buClr>
              <a:buSzPct val="80000"/>
            </a:pPr>
            <a:r>
              <a:rPr lang="nl-BE" sz="2000" b="1" dirty="0">
                <a:solidFill>
                  <a:srgbClr val="FFC000"/>
                </a:solidFill>
                <a:latin typeface="Amaranth" panose="02000503000000020004" pitchFamily="50" charset="0"/>
                <a:cs typeface="Arial" panose="020B0604020202020204" pitchFamily="34" charset="0"/>
              </a:rPr>
              <a:t>Software</a:t>
            </a:r>
          </a:p>
        </p:txBody>
      </p:sp>
      <p:pic>
        <p:nvPicPr>
          <p:cNvPr id="17" name="Afbeelding 16">
            <a:extLst>
              <a:ext uri="{FF2B5EF4-FFF2-40B4-BE49-F238E27FC236}">
                <a16:creationId xmlns:a16="http://schemas.microsoft.com/office/drawing/2014/main" id="{CC74526C-91E5-4356-9F09-02B38EF18E16}"/>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1241707" y="6052930"/>
            <a:ext cx="661508" cy="556592"/>
          </a:xfrm>
          <a:prstGeom prst="rect">
            <a:avLst/>
          </a:prstGeom>
        </p:spPr>
      </p:pic>
      <p:sp>
        <p:nvSpPr>
          <p:cNvPr id="4" name="Rechthoek 3">
            <a:extLst>
              <a:ext uri="{FF2B5EF4-FFF2-40B4-BE49-F238E27FC236}">
                <a16:creationId xmlns:a16="http://schemas.microsoft.com/office/drawing/2014/main" id="{6E34873F-D599-4070-801D-C5117BF9D951}"/>
              </a:ext>
            </a:extLst>
          </p:cNvPr>
          <p:cNvSpPr/>
          <p:nvPr/>
        </p:nvSpPr>
        <p:spPr>
          <a:xfrm>
            <a:off x="6132308" y="1862948"/>
            <a:ext cx="4706738" cy="424732"/>
          </a:xfrm>
          <a:prstGeom prst="rect">
            <a:avLst/>
          </a:prstGeom>
        </p:spPr>
        <p:txBody>
          <a:bodyPr wrap="none">
            <a:spAutoFit/>
          </a:bodyPr>
          <a:lstStyle/>
          <a:p>
            <a:pPr lvl="0">
              <a:lnSpc>
                <a:spcPct val="90000"/>
              </a:lnSpc>
              <a:tabLst>
                <a:tab pos="1971675" algn="l"/>
              </a:tabLst>
              <a:defRPr/>
            </a:pPr>
            <a:r>
              <a:rPr lang="nl-NL" sz="2400" b="1" dirty="0">
                <a:solidFill>
                  <a:schemeClr val="bg1"/>
                </a:solidFill>
              </a:rPr>
              <a:t>Zeven doelgebieden, zeven spellen:</a:t>
            </a:r>
            <a:endParaRPr lang="nl-BE" sz="2400" dirty="0">
              <a:solidFill>
                <a:schemeClr val="bg1"/>
              </a:solidFill>
              <a:cs typeface="Arial" panose="020B0604020202020204" pitchFamily="34" charset="0"/>
            </a:endParaRPr>
          </a:p>
        </p:txBody>
      </p:sp>
      <p:sp>
        <p:nvSpPr>
          <p:cNvPr id="7" name="Rechthoek 6">
            <a:extLst>
              <a:ext uri="{FF2B5EF4-FFF2-40B4-BE49-F238E27FC236}">
                <a16:creationId xmlns:a16="http://schemas.microsoft.com/office/drawing/2014/main" id="{78D2B217-536D-4ADA-B8B2-B324706501FE}"/>
              </a:ext>
            </a:extLst>
          </p:cNvPr>
          <p:cNvSpPr/>
          <p:nvPr/>
        </p:nvSpPr>
        <p:spPr>
          <a:xfrm>
            <a:off x="6096000" y="2359611"/>
            <a:ext cx="5625077" cy="3693319"/>
          </a:xfrm>
          <a:prstGeom prst="rect">
            <a:avLst/>
          </a:prstGeom>
        </p:spPr>
        <p:txBody>
          <a:bodyPr wrap="square">
            <a:spAutoFit/>
          </a:bodyPr>
          <a:lstStyle/>
          <a:p>
            <a:r>
              <a:rPr lang="nl-NL" dirty="0">
                <a:solidFill>
                  <a:schemeClr val="bg1"/>
                </a:solidFill>
              </a:rPr>
              <a:t>1. </a:t>
            </a:r>
            <a:r>
              <a:rPr lang="nl-NL" b="1" dirty="0">
                <a:solidFill>
                  <a:schemeClr val="bg1"/>
                </a:solidFill>
              </a:rPr>
              <a:t>Onderzoekend en ontwerpend leren</a:t>
            </a:r>
            <a:r>
              <a:rPr lang="nl-NL" dirty="0">
                <a:solidFill>
                  <a:schemeClr val="bg1"/>
                </a:solidFill>
              </a:rPr>
              <a:t>: creatiespel</a:t>
            </a:r>
          </a:p>
          <a:p>
            <a:pPr marL="514350" indent="-514350">
              <a:buAutoNum type="arabicPeriod"/>
            </a:pPr>
            <a:endParaRPr lang="nl-NL" dirty="0">
              <a:solidFill>
                <a:schemeClr val="bg1"/>
              </a:solidFill>
            </a:endParaRPr>
          </a:p>
          <a:p>
            <a:r>
              <a:rPr lang="nl-NL" dirty="0">
                <a:solidFill>
                  <a:schemeClr val="bg1"/>
                </a:solidFill>
              </a:rPr>
              <a:t>2. </a:t>
            </a:r>
            <a:r>
              <a:rPr lang="nl-NL" b="1" dirty="0" err="1">
                <a:solidFill>
                  <a:schemeClr val="bg1"/>
                </a:solidFill>
              </a:rPr>
              <a:t>Computational</a:t>
            </a:r>
            <a:r>
              <a:rPr lang="nl-NL" b="1" dirty="0">
                <a:solidFill>
                  <a:schemeClr val="bg1"/>
                </a:solidFill>
              </a:rPr>
              <a:t> thinking</a:t>
            </a:r>
            <a:r>
              <a:rPr lang="nl-NL" dirty="0">
                <a:solidFill>
                  <a:schemeClr val="bg1"/>
                </a:solidFill>
              </a:rPr>
              <a:t>: overkoepelend rekenspel</a:t>
            </a:r>
          </a:p>
          <a:p>
            <a:endParaRPr lang="nl-NL" dirty="0">
              <a:solidFill>
                <a:schemeClr val="bg1"/>
              </a:solidFill>
            </a:endParaRPr>
          </a:p>
          <a:p>
            <a:r>
              <a:rPr lang="nl-NL" dirty="0">
                <a:solidFill>
                  <a:schemeClr val="bg1"/>
                </a:solidFill>
              </a:rPr>
              <a:t>3. </a:t>
            </a:r>
            <a:r>
              <a:rPr lang="nl-NL" b="1" dirty="0">
                <a:solidFill>
                  <a:schemeClr val="bg1"/>
                </a:solidFill>
              </a:rPr>
              <a:t>Getalbegrip</a:t>
            </a:r>
            <a:r>
              <a:rPr lang="nl-NL" dirty="0">
                <a:solidFill>
                  <a:schemeClr val="bg1"/>
                </a:solidFill>
              </a:rPr>
              <a:t>: rekenspel</a:t>
            </a:r>
          </a:p>
          <a:p>
            <a:endParaRPr lang="nl-NL" dirty="0">
              <a:solidFill>
                <a:schemeClr val="bg1"/>
              </a:solidFill>
            </a:endParaRPr>
          </a:p>
          <a:p>
            <a:r>
              <a:rPr lang="nl-NL" dirty="0">
                <a:solidFill>
                  <a:schemeClr val="bg1"/>
                </a:solidFill>
              </a:rPr>
              <a:t>4. </a:t>
            </a:r>
            <a:r>
              <a:rPr lang="nl-NL" b="1" dirty="0">
                <a:solidFill>
                  <a:schemeClr val="bg1"/>
                </a:solidFill>
              </a:rPr>
              <a:t>Meten</a:t>
            </a:r>
            <a:r>
              <a:rPr lang="nl-NL" dirty="0">
                <a:solidFill>
                  <a:schemeClr val="bg1"/>
                </a:solidFill>
              </a:rPr>
              <a:t>: rekenspel</a:t>
            </a:r>
          </a:p>
          <a:p>
            <a:endParaRPr lang="nl-NL" dirty="0">
              <a:solidFill>
                <a:schemeClr val="bg1"/>
              </a:solidFill>
            </a:endParaRPr>
          </a:p>
          <a:p>
            <a:r>
              <a:rPr lang="nl-NL" dirty="0">
                <a:solidFill>
                  <a:schemeClr val="bg1"/>
                </a:solidFill>
              </a:rPr>
              <a:t>5. </a:t>
            </a:r>
            <a:r>
              <a:rPr lang="nl-NL" b="1" dirty="0">
                <a:solidFill>
                  <a:schemeClr val="bg1"/>
                </a:solidFill>
              </a:rPr>
              <a:t>Meetkunde</a:t>
            </a:r>
            <a:r>
              <a:rPr lang="nl-NL" dirty="0">
                <a:solidFill>
                  <a:schemeClr val="bg1"/>
                </a:solidFill>
              </a:rPr>
              <a:t>: rekenspel</a:t>
            </a:r>
          </a:p>
          <a:p>
            <a:endParaRPr lang="nl-NL" dirty="0">
              <a:solidFill>
                <a:schemeClr val="bg1"/>
              </a:solidFill>
            </a:endParaRPr>
          </a:p>
          <a:p>
            <a:r>
              <a:rPr lang="nl-NL" dirty="0">
                <a:solidFill>
                  <a:schemeClr val="bg1"/>
                </a:solidFill>
              </a:rPr>
              <a:t>6. </a:t>
            </a:r>
            <a:r>
              <a:rPr lang="nl-NL" b="1" dirty="0">
                <a:solidFill>
                  <a:schemeClr val="bg1"/>
                </a:solidFill>
              </a:rPr>
              <a:t>Klanken en letters</a:t>
            </a:r>
            <a:r>
              <a:rPr lang="nl-NL" dirty="0">
                <a:solidFill>
                  <a:schemeClr val="bg1"/>
                </a:solidFill>
              </a:rPr>
              <a:t>: Zoemspel</a:t>
            </a:r>
          </a:p>
          <a:p>
            <a:endParaRPr lang="nl-NL" dirty="0">
              <a:solidFill>
                <a:schemeClr val="bg1"/>
              </a:solidFill>
            </a:endParaRPr>
          </a:p>
          <a:p>
            <a:r>
              <a:rPr lang="nl-NL" dirty="0">
                <a:solidFill>
                  <a:schemeClr val="bg1"/>
                </a:solidFill>
              </a:rPr>
              <a:t>7. </a:t>
            </a:r>
            <a:r>
              <a:rPr lang="nl-NL" b="1" dirty="0">
                <a:solidFill>
                  <a:schemeClr val="bg1"/>
                </a:solidFill>
              </a:rPr>
              <a:t>Woordenschat</a:t>
            </a:r>
            <a:r>
              <a:rPr lang="nl-NL" dirty="0">
                <a:solidFill>
                  <a:schemeClr val="bg1"/>
                </a:solidFill>
              </a:rPr>
              <a:t>: Tims woordenmachine</a:t>
            </a:r>
          </a:p>
        </p:txBody>
      </p:sp>
      <p:pic>
        <p:nvPicPr>
          <p:cNvPr id="16" name="Afbeelding 15">
            <a:extLst>
              <a:ext uri="{FF2B5EF4-FFF2-40B4-BE49-F238E27FC236}">
                <a16:creationId xmlns:a16="http://schemas.microsoft.com/office/drawing/2014/main" id="{F886B360-5C1A-489A-90A0-9ECCD7C9D45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57010" y="1975639"/>
            <a:ext cx="5531911" cy="3711350"/>
          </a:xfrm>
          <a:prstGeom prst="rect">
            <a:avLst/>
          </a:prstGeom>
        </p:spPr>
      </p:pic>
    </p:spTree>
    <p:extLst>
      <p:ext uri="{BB962C8B-B14F-4D97-AF65-F5344CB8AC3E}">
        <p14:creationId xmlns:p14="http://schemas.microsoft.com/office/powerpoint/2010/main" val="283849088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hoek 12">
            <a:extLst>
              <a:ext uri="{FF2B5EF4-FFF2-40B4-BE49-F238E27FC236}">
                <a16:creationId xmlns:a16="http://schemas.microsoft.com/office/drawing/2014/main" id="{CECEAB52-2BFE-4DB7-83D8-2B3EABF14D7F}"/>
              </a:ext>
            </a:extLst>
          </p:cNvPr>
          <p:cNvSpPr/>
          <p:nvPr/>
        </p:nvSpPr>
        <p:spPr>
          <a:xfrm>
            <a:off x="36308" y="1621224"/>
            <a:ext cx="12192000" cy="4638550"/>
          </a:xfrm>
          <a:prstGeom prst="rect">
            <a:avLst/>
          </a:prstGeom>
          <a:solidFill>
            <a:srgbClr val="FFC00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62" name="think-cell Slide" r:id="rId5" imgW="353" imgH="353" progId="TCLayout.ActiveDocument.1">
                  <p:embed/>
                </p:oleObj>
              </mc:Choice>
              <mc:Fallback>
                <p:oleObj name="think-cell Slide" r:id="rId5" imgW="353" imgH="353"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extBox 14"/>
          <p:cNvSpPr txBox="1"/>
          <p:nvPr/>
        </p:nvSpPr>
        <p:spPr>
          <a:xfrm>
            <a:off x="5588001" y="598226"/>
            <a:ext cx="6604000" cy="646331"/>
          </a:xfrm>
          <a:prstGeom prst="rect">
            <a:avLst/>
          </a:prstGeom>
          <a:noFill/>
        </p:spPr>
        <p:txBody>
          <a:bodyPr wrap="square" rtlCol="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tab pos="1971675" algn="l"/>
              </a:tabLst>
              <a:defRPr/>
            </a:pPr>
            <a:r>
              <a:rPr kumimoji="0" lang="nl-BE" sz="4000" b="0" i="0" u="none" strike="noStrike" kern="1200" cap="none" spc="0" normalizeH="0" baseline="0" noProof="0" dirty="0">
                <a:ln>
                  <a:noFill/>
                </a:ln>
                <a:solidFill>
                  <a:srgbClr val="FFC000"/>
                </a:solidFill>
                <a:effectLst/>
                <a:uLnTx/>
                <a:uFillTx/>
                <a:latin typeface="Amaranth" panose="02000503000000020004" pitchFamily="50" charset="0"/>
                <a:ea typeface="+mn-ea"/>
                <a:cs typeface="Arial" panose="020B0604020202020204" pitchFamily="34" charset="0"/>
              </a:rPr>
              <a:t>Leerlingsoftware: creatiespel</a:t>
            </a:r>
          </a:p>
        </p:txBody>
      </p:sp>
      <p:sp>
        <p:nvSpPr>
          <p:cNvPr id="20" name="TextBox 9">
            <a:extLst>
              <a:ext uri="{FF2B5EF4-FFF2-40B4-BE49-F238E27FC236}">
                <a16:creationId xmlns:a16="http://schemas.microsoft.com/office/drawing/2014/main" id="{C7AA8425-6DE2-48BD-9D9B-550BF08EB454}"/>
              </a:ext>
            </a:extLst>
          </p:cNvPr>
          <p:cNvSpPr txBox="1">
            <a:spLocks noChangeArrowheads="1"/>
          </p:cNvSpPr>
          <p:nvPr/>
        </p:nvSpPr>
        <p:spPr bwMode="auto">
          <a:xfrm>
            <a:off x="414395" y="682432"/>
            <a:ext cx="1429916" cy="369332"/>
          </a:xfrm>
          <a:prstGeom prst="rect">
            <a:avLst/>
          </a:prstGeom>
          <a:noFill/>
          <a:ln w="9525">
            <a:noFill/>
            <a:miter lim="800000"/>
            <a:headEnd/>
            <a:tailEnd/>
          </a:ln>
        </p:spPr>
        <p:txBody>
          <a:bodyPr wrap="square" lIns="0">
            <a:spAutoFit/>
          </a:bodyPr>
          <a:lstStyle/>
          <a:p>
            <a:pPr marL="3174" marR="0" lvl="0" indent="0" algn="l" defTabSz="914400" rtl="0" eaLnBrk="1" fontAlgn="auto" latinLnBrk="0" hangingPunct="1">
              <a:lnSpc>
                <a:spcPct val="90000"/>
              </a:lnSpc>
              <a:spcBef>
                <a:spcPts val="1200"/>
              </a:spcBef>
              <a:spcAft>
                <a:spcPts val="0"/>
              </a:spcAft>
              <a:buClr>
                <a:srgbClr val="5C5C5C"/>
              </a:buClr>
              <a:buSzPct val="80000"/>
              <a:buFontTx/>
              <a:buNone/>
              <a:tabLst/>
              <a:defRPr/>
            </a:pPr>
            <a:r>
              <a:rPr kumimoji="0" lang="nl-BE" sz="2000" b="1" i="0" u="none" strike="noStrike" kern="1200" cap="none" spc="0" normalizeH="0" baseline="0" noProof="0" dirty="0">
                <a:ln>
                  <a:noFill/>
                </a:ln>
                <a:solidFill>
                  <a:prstClr val="white"/>
                </a:solidFill>
                <a:effectLst/>
                <a:uLnTx/>
                <a:uFillTx/>
                <a:latin typeface="Amaranth" panose="02000503000000020004" pitchFamily="50" charset="0"/>
                <a:ea typeface="+mn-ea"/>
                <a:cs typeface="Arial" panose="020B0604020202020204" pitchFamily="34" charset="0"/>
              </a:rPr>
              <a:t>Software</a:t>
            </a:r>
          </a:p>
        </p:txBody>
      </p:sp>
      <p:sp>
        <p:nvSpPr>
          <p:cNvPr id="10" name="Freeform 41">
            <a:extLst>
              <a:ext uri="{FF2B5EF4-FFF2-40B4-BE49-F238E27FC236}">
                <a16:creationId xmlns:a16="http://schemas.microsoft.com/office/drawing/2014/main" id="{19C4BFF1-338F-4238-B984-12D30DA19C04}"/>
              </a:ext>
            </a:extLst>
          </p:cNvPr>
          <p:cNvSpPr/>
          <p:nvPr/>
        </p:nvSpPr>
        <p:spPr>
          <a:xfrm rot="845560">
            <a:off x="-82083" y="352836"/>
            <a:ext cx="2164079" cy="1020274"/>
          </a:xfrm>
          <a:custGeom>
            <a:avLst/>
            <a:gdLst>
              <a:gd name="connsiteX0" fmla="*/ 45720 w 1267097"/>
              <a:gd name="connsiteY0" fmla="*/ 378823 h 378823"/>
              <a:gd name="connsiteX1" fmla="*/ 1267097 w 1267097"/>
              <a:gd name="connsiteY1" fmla="*/ 182880 h 378823"/>
              <a:gd name="connsiteX2" fmla="*/ 1267097 w 1267097"/>
              <a:gd name="connsiteY2" fmla="*/ 0 h 378823"/>
              <a:gd name="connsiteX3" fmla="*/ 0 w 1267097"/>
              <a:gd name="connsiteY3" fmla="*/ 189412 h 378823"/>
              <a:gd name="connsiteX4" fmla="*/ 45720 w 1267097"/>
              <a:gd name="connsiteY4" fmla="*/ 378823 h 378823"/>
              <a:gd name="connsiteX0" fmla="*/ 71845 w 1293222"/>
              <a:gd name="connsiteY0" fmla="*/ 378823 h 378823"/>
              <a:gd name="connsiteX1" fmla="*/ 1293222 w 1293222"/>
              <a:gd name="connsiteY1" fmla="*/ 182880 h 378823"/>
              <a:gd name="connsiteX2" fmla="*/ 1293222 w 1293222"/>
              <a:gd name="connsiteY2" fmla="*/ 0 h 378823"/>
              <a:gd name="connsiteX3" fmla="*/ 0 w 1293222"/>
              <a:gd name="connsiteY3" fmla="*/ 130629 h 378823"/>
              <a:gd name="connsiteX4" fmla="*/ 71845 w 1293222"/>
              <a:gd name="connsiteY4" fmla="*/ 378823 h 378823"/>
              <a:gd name="connsiteX0" fmla="*/ 65313 w 1293222"/>
              <a:gd name="connsiteY0" fmla="*/ 398417 h 398417"/>
              <a:gd name="connsiteX1" fmla="*/ 1293222 w 1293222"/>
              <a:gd name="connsiteY1" fmla="*/ 182880 h 398417"/>
              <a:gd name="connsiteX2" fmla="*/ 1293222 w 1293222"/>
              <a:gd name="connsiteY2" fmla="*/ 0 h 398417"/>
              <a:gd name="connsiteX3" fmla="*/ 0 w 1293222"/>
              <a:gd name="connsiteY3" fmla="*/ 130629 h 398417"/>
              <a:gd name="connsiteX4" fmla="*/ 65313 w 1293222"/>
              <a:gd name="connsiteY4" fmla="*/ 398417 h 398417"/>
              <a:gd name="connsiteX0" fmla="*/ 104663 w 1332572"/>
              <a:gd name="connsiteY0" fmla="*/ 488407 h 488407"/>
              <a:gd name="connsiteX1" fmla="*/ 1332572 w 1332572"/>
              <a:gd name="connsiteY1" fmla="*/ 272870 h 488407"/>
              <a:gd name="connsiteX2" fmla="*/ 1332572 w 1332572"/>
              <a:gd name="connsiteY2" fmla="*/ 89990 h 488407"/>
              <a:gd name="connsiteX3" fmla="*/ 0 w 1332572"/>
              <a:gd name="connsiteY3" fmla="*/ 0 h 488407"/>
              <a:gd name="connsiteX4" fmla="*/ 104663 w 1332572"/>
              <a:gd name="connsiteY4" fmla="*/ 488407 h 488407"/>
              <a:gd name="connsiteX0" fmla="*/ 58754 w 1286663"/>
              <a:gd name="connsiteY0" fmla="*/ 488407 h 488407"/>
              <a:gd name="connsiteX1" fmla="*/ 1286663 w 1286663"/>
              <a:gd name="connsiteY1" fmla="*/ 272870 h 488407"/>
              <a:gd name="connsiteX2" fmla="*/ 1286663 w 1286663"/>
              <a:gd name="connsiteY2" fmla="*/ 89990 h 488407"/>
              <a:gd name="connsiteX3" fmla="*/ 0 w 1286663"/>
              <a:gd name="connsiteY3" fmla="*/ 0 h 488407"/>
              <a:gd name="connsiteX4" fmla="*/ 58754 w 1286663"/>
              <a:gd name="connsiteY4" fmla="*/ 488407 h 488407"/>
              <a:gd name="connsiteX0" fmla="*/ 58754 w 1293221"/>
              <a:gd name="connsiteY0" fmla="*/ 574912 h 574912"/>
              <a:gd name="connsiteX1" fmla="*/ 1286663 w 1293221"/>
              <a:gd name="connsiteY1" fmla="*/ 359375 h 574912"/>
              <a:gd name="connsiteX2" fmla="*/ 1293221 w 1293221"/>
              <a:gd name="connsiteY2" fmla="*/ 0 h 574912"/>
              <a:gd name="connsiteX3" fmla="*/ 0 w 1293221"/>
              <a:gd name="connsiteY3" fmla="*/ 86505 h 574912"/>
              <a:gd name="connsiteX4" fmla="*/ 58754 w 1293221"/>
              <a:gd name="connsiteY4" fmla="*/ 574912 h 574912"/>
              <a:gd name="connsiteX0" fmla="*/ 58754 w 1470298"/>
              <a:gd name="connsiteY0" fmla="*/ 574912 h 574912"/>
              <a:gd name="connsiteX1" fmla="*/ 1470298 w 1470298"/>
              <a:gd name="connsiteY1" fmla="*/ 561083 h 574912"/>
              <a:gd name="connsiteX2" fmla="*/ 1293221 w 1470298"/>
              <a:gd name="connsiteY2" fmla="*/ 0 h 574912"/>
              <a:gd name="connsiteX3" fmla="*/ 0 w 1470298"/>
              <a:gd name="connsiteY3" fmla="*/ 86505 h 574912"/>
              <a:gd name="connsiteX4" fmla="*/ 58754 w 1470298"/>
              <a:gd name="connsiteY4" fmla="*/ 574912 h 574912"/>
              <a:gd name="connsiteX0" fmla="*/ 65313 w 1470298"/>
              <a:gd name="connsiteY0" fmla="*/ 795531 h 795531"/>
              <a:gd name="connsiteX1" fmla="*/ 1470298 w 1470298"/>
              <a:gd name="connsiteY1" fmla="*/ 561083 h 795531"/>
              <a:gd name="connsiteX2" fmla="*/ 1293221 w 1470298"/>
              <a:gd name="connsiteY2" fmla="*/ 0 h 795531"/>
              <a:gd name="connsiteX3" fmla="*/ 0 w 1470298"/>
              <a:gd name="connsiteY3" fmla="*/ 86505 h 795531"/>
              <a:gd name="connsiteX4" fmla="*/ 65313 w 1470298"/>
              <a:gd name="connsiteY4" fmla="*/ 795531 h 795531"/>
              <a:gd name="connsiteX0" fmla="*/ 65313 w 1844126"/>
              <a:gd name="connsiteY0" fmla="*/ 795531 h 795531"/>
              <a:gd name="connsiteX1" fmla="*/ 1844126 w 1844126"/>
              <a:gd name="connsiteY1" fmla="*/ 504352 h 795531"/>
              <a:gd name="connsiteX2" fmla="*/ 1293221 w 1844126"/>
              <a:gd name="connsiteY2" fmla="*/ 0 h 795531"/>
              <a:gd name="connsiteX3" fmla="*/ 0 w 1844126"/>
              <a:gd name="connsiteY3" fmla="*/ 86505 h 795531"/>
              <a:gd name="connsiteX4" fmla="*/ 65313 w 1844126"/>
              <a:gd name="connsiteY4" fmla="*/ 795531 h 795531"/>
              <a:gd name="connsiteX0" fmla="*/ 65313 w 1844126"/>
              <a:gd name="connsiteY0" fmla="*/ 845958 h 845958"/>
              <a:gd name="connsiteX1" fmla="*/ 1844126 w 1844126"/>
              <a:gd name="connsiteY1" fmla="*/ 554779 h 845958"/>
              <a:gd name="connsiteX2" fmla="*/ 1621141 w 1844126"/>
              <a:gd name="connsiteY2" fmla="*/ 0 h 845958"/>
              <a:gd name="connsiteX3" fmla="*/ 0 w 1844126"/>
              <a:gd name="connsiteY3" fmla="*/ 136932 h 845958"/>
              <a:gd name="connsiteX4" fmla="*/ 65313 w 1844126"/>
              <a:gd name="connsiteY4" fmla="*/ 845958 h 845958"/>
              <a:gd name="connsiteX0" fmla="*/ 65313 w 1844126"/>
              <a:gd name="connsiteY0" fmla="*/ 864868 h 864868"/>
              <a:gd name="connsiteX1" fmla="*/ 1844126 w 1844126"/>
              <a:gd name="connsiteY1" fmla="*/ 573689 h 864868"/>
              <a:gd name="connsiteX2" fmla="*/ 1621141 w 1844126"/>
              <a:gd name="connsiteY2" fmla="*/ 0 h 864868"/>
              <a:gd name="connsiteX3" fmla="*/ 0 w 1844126"/>
              <a:gd name="connsiteY3" fmla="*/ 155842 h 864868"/>
              <a:gd name="connsiteX4" fmla="*/ 65313 w 1844126"/>
              <a:gd name="connsiteY4" fmla="*/ 864868 h 864868"/>
              <a:gd name="connsiteX0" fmla="*/ 65313 w 1686724"/>
              <a:gd name="connsiteY0" fmla="*/ 864868 h 864868"/>
              <a:gd name="connsiteX1" fmla="*/ 1686724 w 1686724"/>
              <a:gd name="connsiteY1" fmla="*/ 561082 h 864868"/>
              <a:gd name="connsiteX2" fmla="*/ 1621141 w 1686724"/>
              <a:gd name="connsiteY2" fmla="*/ 0 h 864868"/>
              <a:gd name="connsiteX3" fmla="*/ 0 w 1686724"/>
              <a:gd name="connsiteY3" fmla="*/ 155842 h 864868"/>
              <a:gd name="connsiteX4" fmla="*/ 65313 w 1686724"/>
              <a:gd name="connsiteY4" fmla="*/ 864868 h 864868"/>
              <a:gd name="connsiteX0" fmla="*/ 39079 w 1660490"/>
              <a:gd name="connsiteY0" fmla="*/ 864868 h 864868"/>
              <a:gd name="connsiteX1" fmla="*/ 1660490 w 1660490"/>
              <a:gd name="connsiteY1" fmla="*/ 561082 h 864868"/>
              <a:gd name="connsiteX2" fmla="*/ 1594907 w 1660490"/>
              <a:gd name="connsiteY2" fmla="*/ 0 h 864868"/>
              <a:gd name="connsiteX3" fmla="*/ 0 w 1660490"/>
              <a:gd name="connsiteY3" fmla="*/ 351248 h 864868"/>
              <a:gd name="connsiteX4" fmla="*/ 39079 w 1660490"/>
              <a:gd name="connsiteY4" fmla="*/ 864868 h 864868"/>
              <a:gd name="connsiteX0" fmla="*/ 39079 w 1857243"/>
              <a:gd name="connsiteY0" fmla="*/ 719889 h 719889"/>
              <a:gd name="connsiteX1" fmla="*/ 1660490 w 1857243"/>
              <a:gd name="connsiteY1" fmla="*/ 416103 h 719889"/>
              <a:gd name="connsiteX2" fmla="*/ 1857243 w 1857243"/>
              <a:gd name="connsiteY2" fmla="*/ 0 h 719889"/>
              <a:gd name="connsiteX3" fmla="*/ 0 w 1857243"/>
              <a:gd name="connsiteY3" fmla="*/ 206269 h 719889"/>
              <a:gd name="connsiteX4" fmla="*/ 39079 w 1857243"/>
              <a:gd name="connsiteY4" fmla="*/ 719889 h 719889"/>
              <a:gd name="connsiteX0" fmla="*/ 39079 w 1909709"/>
              <a:gd name="connsiteY0" fmla="*/ 719889 h 719889"/>
              <a:gd name="connsiteX1" fmla="*/ 1909709 w 1909709"/>
              <a:gd name="connsiteY1" fmla="*/ 208090 h 719889"/>
              <a:gd name="connsiteX2" fmla="*/ 1857243 w 1909709"/>
              <a:gd name="connsiteY2" fmla="*/ 0 h 719889"/>
              <a:gd name="connsiteX3" fmla="*/ 0 w 1909709"/>
              <a:gd name="connsiteY3" fmla="*/ 206269 h 719889"/>
              <a:gd name="connsiteX4" fmla="*/ 39079 w 1909709"/>
              <a:gd name="connsiteY4" fmla="*/ 719889 h 719889"/>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206269 h 511876"/>
              <a:gd name="connsiteX4" fmla="*/ 39079 w 1909709"/>
              <a:gd name="connsiteY4" fmla="*/ 511876 h 511876"/>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121173 h 511876"/>
              <a:gd name="connsiteX4" fmla="*/ 39079 w 1909709"/>
              <a:gd name="connsiteY4" fmla="*/ 511876 h 511876"/>
              <a:gd name="connsiteX0" fmla="*/ 39079 w 1857243"/>
              <a:gd name="connsiteY0" fmla="*/ 511876 h 511876"/>
              <a:gd name="connsiteX1" fmla="*/ 1748372 w 1857243"/>
              <a:gd name="connsiteY1" fmla="*/ 309201 h 511876"/>
              <a:gd name="connsiteX2" fmla="*/ 1857243 w 1857243"/>
              <a:gd name="connsiteY2" fmla="*/ 0 h 511876"/>
              <a:gd name="connsiteX3" fmla="*/ 0 w 1857243"/>
              <a:gd name="connsiteY3" fmla="*/ 121173 h 511876"/>
              <a:gd name="connsiteX4" fmla="*/ 39079 w 1857243"/>
              <a:gd name="connsiteY4" fmla="*/ 511876 h 511876"/>
              <a:gd name="connsiteX0" fmla="*/ 39079 w 1748372"/>
              <a:gd name="connsiteY0" fmla="*/ 499237 h 499237"/>
              <a:gd name="connsiteX1" fmla="*/ 1748372 w 1748372"/>
              <a:gd name="connsiteY1" fmla="*/ 296562 h 499237"/>
              <a:gd name="connsiteX2" fmla="*/ 1723965 w 1748372"/>
              <a:gd name="connsiteY2" fmla="*/ 0 h 499237"/>
              <a:gd name="connsiteX3" fmla="*/ 0 w 1748372"/>
              <a:gd name="connsiteY3" fmla="*/ 108534 h 499237"/>
              <a:gd name="connsiteX4" fmla="*/ 39079 w 1748372"/>
              <a:gd name="connsiteY4" fmla="*/ 499237 h 499237"/>
              <a:gd name="connsiteX0" fmla="*/ 95196 w 1748372"/>
              <a:gd name="connsiteY0" fmla="*/ 451841 h 451841"/>
              <a:gd name="connsiteX1" fmla="*/ 1748372 w 1748372"/>
              <a:gd name="connsiteY1" fmla="*/ 296562 h 451841"/>
              <a:gd name="connsiteX2" fmla="*/ 1723965 w 1748372"/>
              <a:gd name="connsiteY2" fmla="*/ 0 h 451841"/>
              <a:gd name="connsiteX3" fmla="*/ 0 w 1748372"/>
              <a:gd name="connsiteY3" fmla="*/ 108534 h 451841"/>
              <a:gd name="connsiteX4" fmla="*/ 95196 w 1748372"/>
              <a:gd name="connsiteY4" fmla="*/ 451841 h 451841"/>
              <a:gd name="connsiteX0" fmla="*/ 95196 w 1723965"/>
              <a:gd name="connsiteY0" fmla="*/ 451841 h 451841"/>
              <a:gd name="connsiteX1" fmla="*/ 1713299 w 1723965"/>
              <a:gd name="connsiteY1" fmla="*/ 315520 h 451841"/>
              <a:gd name="connsiteX2" fmla="*/ 1723965 w 1723965"/>
              <a:gd name="connsiteY2" fmla="*/ 0 h 451841"/>
              <a:gd name="connsiteX3" fmla="*/ 0 w 1723965"/>
              <a:gd name="connsiteY3" fmla="*/ 108534 h 451841"/>
              <a:gd name="connsiteX4" fmla="*/ 95196 w 1723965"/>
              <a:gd name="connsiteY4" fmla="*/ 451841 h 451841"/>
              <a:gd name="connsiteX0" fmla="*/ 95196 w 1713299"/>
              <a:gd name="connsiteY0" fmla="*/ 455001 h 455001"/>
              <a:gd name="connsiteX1" fmla="*/ 1713299 w 1713299"/>
              <a:gd name="connsiteY1" fmla="*/ 318680 h 455001"/>
              <a:gd name="connsiteX2" fmla="*/ 1667848 w 1713299"/>
              <a:gd name="connsiteY2" fmla="*/ 0 h 455001"/>
              <a:gd name="connsiteX3" fmla="*/ 0 w 1713299"/>
              <a:gd name="connsiteY3" fmla="*/ 111694 h 455001"/>
              <a:gd name="connsiteX4" fmla="*/ 95196 w 1713299"/>
              <a:gd name="connsiteY4" fmla="*/ 455001 h 455001"/>
              <a:gd name="connsiteX0" fmla="*/ 67137 w 1685240"/>
              <a:gd name="connsiteY0" fmla="*/ 455001 h 455001"/>
              <a:gd name="connsiteX1" fmla="*/ 1685240 w 1685240"/>
              <a:gd name="connsiteY1" fmla="*/ 318680 h 455001"/>
              <a:gd name="connsiteX2" fmla="*/ 1639789 w 1685240"/>
              <a:gd name="connsiteY2" fmla="*/ 0 h 455001"/>
              <a:gd name="connsiteX3" fmla="*/ 0 w 1685240"/>
              <a:gd name="connsiteY3" fmla="*/ 130652 h 455001"/>
              <a:gd name="connsiteX4" fmla="*/ 67137 w 1685240"/>
              <a:gd name="connsiteY4" fmla="*/ 455001 h 455001"/>
              <a:gd name="connsiteX0" fmla="*/ 67137 w 1667473"/>
              <a:gd name="connsiteY0" fmla="*/ 455001 h 455001"/>
              <a:gd name="connsiteX1" fmla="*/ 1667473 w 1667473"/>
              <a:gd name="connsiteY1" fmla="*/ 242054 h 455001"/>
              <a:gd name="connsiteX2" fmla="*/ 1639789 w 1667473"/>
              <a:gd name="connsiteY2" fmla="*/ 0 h 455001"/>
              <a:gd name="connsiteX3" fmla="*/ 0 w 1667473"/>
              <a:gd name="connsiteY3" fmla="*/ 130652 h 455001"/>
              <a:gd name="connsiteX4" fmla="*/ 67137 w 1667473"/>
              <a:gd name="connsiteY4" fmla="*/ 455001 h 455001"/>
              <a:gd name="connsiteX0" fmla="*/ 100217 w 1700553"/>
              <a:gd name="connsiteY0" fmla="*/ 455001 h 455001"/>
              <a:gd name="connsiteX1" fmla="*/ 1700553 w 1700553"/>
              <a:gd name="connsiteY1" fmla="*/ 242054 h 455001"/>
              <a:gd name="connsiteX2" fmla="*/ 1672869 w 1700553"/>
              <a:gd name="connsiteY2" fmla="*/ 0 h 455001"/>
              <a:gd name="connsiteX3" fmla="*/ 0 w 1700553"/>
              <a:gd name="connsiteY3" fmla="*/ 205540 h 455001"/>
              <a:gd name="connsiteX4" fmla="*/ 100217 w 1700553"/>
              <a:gd name="connsiteY4" fmla="*/ 455001 h 455001"/>
              <a:gd name="connsiteX0" fmla="*/ 100217 w 1700553"/>
              <a:gd name="connsiteY0" fmla="*/ 366878 h 366878"/>
              <a:gd name="connsiteX1" fmla="*/ 1700553 w 1700553"/>
              <a:gd name="connsiteY1" fmla="*/ 153931 h 366878"/>
              <a:gd name="connsiteX2" fmla="*/ 1588975 w 1700553"/>
              <a:gd name="connsiteY2" fmla="*/ 0 h 366878"/>
              <a:gd name="connsiteX3" fmla="*/ 0 w 1700553"/>
              <a:gd name="connsiteY3" fmla="*/ 117417 h 366878"/>
              <a:gd name="connsiteX4" fmla="*/ 100217 w 1700553"/>
              <a:gd name="connsiteY4" fmla="*/ 366878 h 366878"/>
              <a:gd name="connsiteX0" fmla="*/ 115726 w 1700553"/>
              <a:gd name="connsiteY0" fmla="*/ 305211 h 305211"/>
              <a:gd name="connsiteX1" fmla="*/ 1700553 w 1700553"/>
              <a:gd name="connsiteY1" fmla="*/ 153931 h 305211"/>
              <a:gd name="connsiteX2" fmla="*/ 1588975 w 1700553"/>
              <a:gd name="connsiteY2" fmla="*/ 0 h 305211"/>
              <a:gd name="connsiteX3" fmla="*/ 0 w 1700553"/>
              <a:gd name="connsiteY3" fmla="*/ 117417 h 305211"/>
              <a:gd name="connsiteX4" fmla="*/ 115726 w 1700553"/>
              <a:gd name="connsiteY4" fmla="*/ 305211 h 305211"/>
              <a:gd name="connsiteX0" fmla="*/ 115726 w 1700553"/>
              <a:gd name="connsiteY0" fmla="*/ 321895 h 321895"/>
              <a:gd name="connsiteX1" fmla="*/ 1700553 w 1700553"/>
              <a:gd name="connsiteY1" fmla="*/ 170615 h 321895"/>
              <a:gd name="connsiteX2" fmla="*/ 1471607 w 1700553"/>
              <a:gd name="connsiteY2" fmla="*/ 0 h 321895"/>
              <a:gd name="connsiteX3" fmla="*/ 0 w 1700553"/>
              <a:gd name="connsiteY3" fmla="*/ 134101 h 321895"/>
              <a:gd name="connsiteX4" fmla="*/ 115726 w 1700553"/>
              <a:gd name="connsiteY4" fmla="*/ 321895 h 321895"/>
              <a:gd name="connsiteX0" fmla="*/ 115726 w 1581352"/>
              <a:gd name="connsiteY0" fmla="*/ 321895 h 321895"/>
              <a:gd name="connsiteX1" fmla="*/ 1581352 w 1581352"/>
              <a:gd name="connsiteY1" fmla="*/ 210307 h 321895"/>
              <a:gd name="connsiteX2" fmla="*/ 1471607 w 1581352"/>
              <a:gd name="connsiteY2" fmla="*/ 0 h 321895"/>
              <a:gd name="connsiteX3" fmla="*/ 0 w 1581352"/>
              <a:gd name="connsiteY3" fmla="*/ 134101 h 321895"/>
              <a:gd name="connsiteX4" fmla="*/ 115726 w 1581352"/>
              <a:gd name="connsiteY4" fmla="*/ 321895 h 321895"/>
              <a:gd name="connsiteX0" fmla="*/ 92298 w 1557924"/>
              <a:gd name="connsiteY0" fmla="*/ 321895 h 321895"/>
              <a:gd name="connsiteX1" fmla="*/ 1557924 w 1557924"/>
              <a:gd name="connsiteY1" fmla="*/ 210307 h 321895"/>
              <a:gd name="connsiteX2" fmla="*/ 1448179 w 1557924"/>
              <a:gd name="connsiteY2" fmla="*/ 0 h 321895"/>
              <a:gd name="connsiteX3" fmla="*/ 0 w 1557924"/>
              <a:gd name="connsiteY3" fmla="*/ 116473 h 321895"/>
              <a:gd name="connsiteX4" fmla="*/ 92298 w 1557924"/>
              <a:gd name="connsiteY4" fmla="*/ 321895 h 321895"/>
              <a:gd name="connsiteX0" fmla="*/ 152961 w 1557924"/>
              <a:gd name="connsiteY0" fmla="*/ 341247 h 341247"/>
              <a:gd name="connsiteX1" fmla="*/ 1557924 w 1557924"/>
              <a:gd name="connsiteY1" fmla="*/ 210307 h 341247"/>
              <a:gd name="connsiteX2" fmla="*/ 1448179 w 1557924"/>
              <a:gd name="connsiteY2" fmla="*/ 0 h 341247"/>
              <a:gd name="connsiteX3" fmla="*/ 0 w 1557924"/>
              <a:gd name="connsiteY3" fmla="*/ 116473 h 341247"/>
              <a:gd name="connsiteX4" fmla="*/ 152961 w 1557924"/>
              <a:gd name="connsiteY4" fmla="*/ 341247 h 341247"/>
              <a:gd name="connsiteX0" fmla="*/ 135357 w 1557924"/>
              <a:gd name="connsiteY0" fmla="*/ 339493 h 339493"/>
              <a:gd name="connsiteX1" fmla="*/ 1557924 w 1557924"/>
              <a:gd name="connsiteY1" fmla="*/ 210307 h 339493"/>
              <a:gd name="connsiteX2" fmla="*/ 1448179 w 1557924"/>
              <a:gd name="connsiteY2" fmla="*/ 0 h 339493"/>
              <a:gd name="connsiteX3" fmla="*/ 0 w 1557924"/>
              <a:gd name="connsiteY3" fmla="*/ 116473 h 339493"/>
              <a:gd name="connsiteX4" fmla="*/ 135357 w 1557924"/>
              <a:gd name="connsiteY4" fmla="*/ 339493 h 339493"/>
              <a:gd name="connsiteX0" fmla="*/ 109934 w 1532501"/>
              <a:gd name="connsiteY0" fmla="*/ 339493 h 339493"/>
              <a:gd name="connsiteX1" fmla="*/ 1532501 w 1532501"/>
              <a:gd name="connsiteY1" fmla="*/ 210307 h 339493"/>
              <a:gd name="connsiteX2" fmla="*/ 1422756 w 1532501"/>
              <a:gd name="connsiteY2" fmla="*/ 0 h 339493"/>
              <a:gd name="connsiteX3" fmla="*/ 0 w 1532501"/>
              <a:gd name="connsiteY3" fmla="*/ 117343 h 339493"/>
              <a:gd name="connsiteX4" fmla="*/ 109934 w 1532501"/>
              <a:gd name="connsiteY4" fmla="*/ 339493 h 339493"/>
              <a:gd name="connsiteX0" fmla="*/ 133525 w 1556092"/>
              <a:gd name="connsiteY0" fmla="*/ 339493 h 339493"/>
              <a:gd name="connsiteX1" fmla="*/ 1556092 w 1556092"/>
              <a:gd name="connsiteY1" fmla="*/ 210307 h 339493"/>
              <a:gd name="connsiteX2" fmla="*/ 1446347 w 1556092"/>
              <a:gd name="connsiteY2" fmla="*/ 0 h 339493"/>
              <a:gd name="connsiteX3" fmla="*/ 0 w 1556092"/>
              <a:gd name="connsiteY3" fmla="*/ 60098 h 339493"/>
              <a:gd name="connsiteX4" fmla="*/ 133525 w 1556092"/>
              <a:gd name="connsiteY4" fmla="*/ 339493 h 339493"/>
              <a:gd name="connsiteX0" fmla="*/ 133525 w 2343667"/>
              <a:gd name="connsiteY0" fmla="*/ 459688 h 459688"/>
              <a:gd name="connsiteX1" fmla="*/ 1556092 w 2343667"/>
              <a:gd name="connsiteY1" fmla="*/ 330502 h 459688"/>
              <a:gd name="connsiteX2" fmla="*/ 2343667 w 2343667"/>
              <a:gd name="connsiteY2" fmla="*/ 0 h 459688"/>
              <a:gd name="connsiteX3" fmla="*/ 0 w 2343667"/>
              <a:gd name="connsiteY3" fmla="*/ 180293 h 459688"/>
              <a:gd name="connsiteX4" fmla="*/ 133525 w 2343667"/>
              <a:gd name="connsiteY4" fmla="*/ 459688 h 459688"/>
              <a:gd name="connsiteX0" fmla="*/ 133525 w 2391079"/>
              <a:gd name="connsiteY0" fmla="*/ 459688 h 459688"/>
              <a:gd name="connsiteX1" fmla="*/ 2391079 w 2391079"/>
              <a:gd name="connsiteY1" fmla="*/ 322204 h 459688"/>
              <a:gd name="connsiteX2" fmla="*/ 2343667 w 2391079"/>
              <a:gd name="connsiteY2" fmla="*/ 0 h 459688"/>
              <a:gd name="connsiteX3" fmla="*/ 0 w 2391079"/>
              <a:gd name="connsiteY3" fmla="*/ 180293 h 459688"/>
              <a:gd name="connsiteX4" fmla="*/ 133525 w 2391079"/>
              <a:gd name="connsiteY4" fmla="*/ 459688 h 459688"/>
              <a:gd name="connsiteX0" fmla="*/ 159047 w 2391079"/>
              <a:gd name="connsiteY0" fmla="*/ 505482 h 505482"/>
              <a:gd name="connsiteX1" fmla="*/ 2391079 w 2391079"/>
              <a:gd name="connsiteY1" fmla="*/ 322204 h 505482"/>
              <a:gd name="connsiteX2" fmla="*/ 2343667 w 2391079"/>
              <a:gd name="connsiteY2" fmla="*/ 0 h 505482"/>
              <a:gd name="connsiteX3" fmla="*/ 0 w 2391079"/>
              <a:gd name="connsiteY3" fmla="*/ 180293 h 505482"/>
              <a:gd name="connsiteX4" fmla="*/ 159047 w 2391079"/>
              <a:gd name="connsiteY4" fmla="*/ 505482 h 505482"/>
              <a:gd name="connsiteX0" fmla="*/ 159047 w 2391079"/>
              <a:gd name="connsiteY0" fmla="*/ 518659 h 518659"/>
              <a:gd name="connsiteX1" fmla="*/ 2391079 w 2391079"/>
              <a:gd name="connsiteY1" fmla="*/ 335381 h 518659"/>
              <a:gd name="connsiteX2" fmla="*/ 2261507 w 2391079"/>
              <a:gd name="connsiteY2" fmla="*/ 0 h 518659"/>
              <a:gd name="connsiteX3" fmla="*/ 0 w 2391079"/>
              <a:gd name="connsiteY3" fmla="*/ 193470 h 518659"/>
              <a:gd name="connsiteX4" fmla="*/ 159047 w 2391079"/>
              <a:gd name="connsiteY4" fmla="*/ 518659 h 518659"/>
              <a:gd name="connsiteX0" fmla="*/ 159047 w 2513813"/>
              <a:gd name="connsiteY0" fmla="*/ 498511 h 498511"/>
              <a:gd name="connsiteX1" fmla="*/ 2391079 w 2513813"/>
              <a:gd name="connsiteY1" fmla="*/ 315233 h 498511"/>
              <a:gd name="connsiteX2" fmla="*/ 2513813 w 2513813"/>
              <a:gd name="connsiteY2" fmla="*/ 0 h 498511"/>
              <a:gd name="connsiteX3" fmla="*/ 0 w 2513813"/>
              <a:gd name="connsiteY3" fmla="*/ 173322 h 498511"/>
              <a:gd name="connsiteX4" fmla="*/ 159047 w 2513813"/>
              <a:gd name="connsiteY4" fmla="*/ 498511 h 498511"/>
              <a:gd name="connsiteX0" fmla="*/ 159047 w 2547383"/>
              <a:gd name="connsiteY0" fmla="*/ 498511 h 498511"/>
              <a:gd name="connsiteX1" fmla="*/ 2547383 w 2547383"/>
              <a:gd name="connsiteY1" fmla="*/ 252623 h 498511"/>
              <a:gd name="connsiteX2" fmla="*/ 2513813 w 2547383"/>
              <a:gd name="connsiteY2" fmla="*/ 0 h 498511"/>
              <a:gd name="connsiteX3" fmla="*/ 0 w 2547383"/>
              <a:gd name="connsiteY3" fmla="*/ 173322 h 498511"/>
              <a:gd name="connsiteX4" fmla="*/ 159047 w 2547383"/>
              <a:gd name="connsiteY4" fmla="*/ 498511 h 498511"/>
              <a:gd name="connsiteX0" fmla="*/ 164772 w 2553108"/>
              <a:gd name="connsiteY0" fmla="*/ 498511 h 498511"/>
              <a:gd name="connsiteX1" fmla="*/ 2553108 w 2553108"/>
              <a:gd name="connsiteY1" fmla="*/ 252623 h 498511"/>
              <a:gd name="connsiteX2" fmla="*/ 2519538 w 2553108"/>
              <a:gd name="connsiteY2" fmla="*/ 0 h 498511"/>
              <a:gd name="connsiteX3" fmla="*/ 0 w 2553108"/>
              <a:gd name="connsiteY3" fmla="*/ 237627 h 498511"/>
              <a:gd name="connsiteX4" fmla="*/ 164772 w 2553108"/>
              <a:gd name="connsiteY4" fmla="*/ 498511 h 498511"/>
              <a:gd name="connsiteX0" fmla="*/ 102113 w 2553108"/>
              <a:gd name="connsiteY0" fmla="*/ 460662 h 460662"/>
              <a:gd name="connsiteX1" fmla="*/ 2553108 w 2553108"/>
              <a:gd name="connsiteY1" fmla="*/ 252623 h 460662"/>
              <a:gd name="connsiteX2" fmla="*/ 2519538 w 2553108"/>
              <a:gd name="connsiteY2" fmla="*/ 0 h 460662"/>
              <a:gd name="connsiteX3" fmla="*/ 0 w 2553108"/>
              <a:gd name="connsiteY3" fmla="*/ 237627 h 460662"/>
              <a:gd name="connsiteX4" fmla="*/ 102113 w 2553108"/>
              <a:gd name="connsiteY4" fmla="*/ 460662 h 460662"/>
              <a:gd name="connsiteX0" fmla="*/ 102113 w 2553108"/>
              <a:gd name="connsiteY0" fmla="*/ 424537 h 424537"/>
              <a:gd name="connsiteX1" fmla="*/ 2553108 w 2553108"/>
              <a:gd name="connsiteY1" fmla="*/ 216498 h 424537"/>
              <a:gd name="connsiteX2" fmla="*/ 2498106 w 2553108"/>
              <a:gd name="connsiteY2" fmla="*/ 0 h 424537"/>
              <a:gd name="connsiteX3" fmla="*/ 0 w 2553108"/>
              <a:gd name="connsiteY3" fmla="*/ 201502 h 424537"/>
              <a:gd name="connsiteX4" fmla="*/ 102113 w 2553108"/>
              <a:gd name="connsiteY4" fmla="*/ 424537 h 424537"/>
              <a:gd name="connsiteX0" fmla="*/ 90333 w 2553108"/>
              <a:gd name="connsiteY0" fmla="*/ 403402 h 403402"/>
              <a:gd name="connsiteX1" fmla="*/ 2553108 w 2553108"/>
              <a:gd name="connsiteY1" fmla="*/ 216498 h 403402"/>
              <a:gd name="connsiteX2" fmla="*/ 2498106 w 2553108"/>
              <a:gd name="connsiteY2" fmla="*/ 0 h 403402"/>
              <a:gd name="connsiteX3" fmla="*/ 0 w 2553108"/>
              <a:gd name="connsiteY3" fmla="*/ 201502 h 403402"/>
              <a:gd name="connsiteX4" fmla="*/ 90333 w 2553108"/>
              <a:gd name="connsiteY4" fmla="*/ 403402 h 403402"/>
              <a:gd name="connsiteX0" fmla="*/ 60951 w 2523726"/>
              <a:gd name="connsiteY0" fmla="*/ 403402 h 403402"/>
              <a:gd name="connsiteX1" fmla="*/ 2523726 w 2523726"/>
              <a:gd name="connsiteY1" fmla="*/ 216498 h 403402"/>
              <a:gd name="connsiteX2" fmla="*/ 2468724 w 2523726"/>
              <a:gd name="connsiteY2" fmla="*/ 0 h 403402"/>
              <a:gd name="connsiteX3" fmla="*/ 0 w 2523726"/>
              <a:gd name="connsiteY3" fmla="*/ 224392 h 403402"/>
              <a:gd name="connsiteX4" fmla="*/ 60951 w 2523726"/>
              <a:gd name="connsiteY4" fmla="*/ 403402 h 40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3726" h="403402">
                <a:moveTo>
                  <a:pt x="60951" y="403402"/>
                </a:moveTo>
                <a:lnTo>
                  <a:pt x="2523726" y="216498"/>
                </a:lnTo>
                <a:lnTo>
                  <a:pt x="2468724" y="0"/>
                </a:lnTo>
                <a:lnTo>
                  <a:pt x="0" y="224392"/>
                </a:lnTo>
                <a:lnTo>
                  <a:pt x="60951" y="403402"/>
                </a:lnTo>
                <a:close/>
              </a:path>
            </a:pathLst>
          </a:custGeom>
          <a:solidFill>
            <a:schemeClr val="bg1"/>
          </a:solidFill>
          <a:ln>
            <a:noFill/>
          </a:ln>
          <a:effectLst>
            <a:outerShdw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solidFill>
                <a:schemeClr val="accent4"/>
              </a:solidFill>
            </a:endParaRPr>
          </a:p>
        </p:txBody>
      </p:sp>
      <p:sp>
        <p:nvSpPr>
          <p:cNvPr id="12" name="TextBox 9">
            <a:extLst>
              <a:ext uri="{FF2B5EF4-FFF2-40B4-BE49-F238E27FC236}">
                <a16:creationId xmlns:a16="http://schemas.microsoft.com/office/drawing/2014/main" id="{C3944AA2-7FD8-4EED-A32C-A9F6411C21EC}"/>
              </a:ext>
            </a:extLst>
          </p:cNvPr>
          <p:cNvSpPr txBox="1">
            <a:spLocks noChangeArrowheads="1"/>
          </p:cNvSpPr>
          <p:nvPr/>
        </p:nvSpPr>
        <p:spPr bwMode="auto">
          <a:xfrm>
            <a:off x="224576" y="678307"/>
            <a:ext cx="2485989" cy="369332"/>
          </a:xfrm>
          <a:prstGeom prst="rect">
            <a:avLst/>
          </a:prstGeom>
          <a:noFill/>
          <a:ln w="9525">
            <a:noFill/>
            <a:miter lim="800000"/>
            <a:headEnd/>
            <a:tailEnd/>
          </a:ln>
          <a:effectLst/>
        </p:spPr>
        <p:txBody>
          <a:bodyPr wrap="square" lIns="0">
            <a:spAutoFit/>
          </a:bodyPr>
          <a:lstStyle/>
          <a:p>
            <a:pPr marL="3174">
              <a:lnSpc>
                <a:spcPct val="90000"/>
              </a:lnSpc>
              <a:spcBef>
                <a:spcPts val="1200"/>
              </a:spcBef>
              <a:buClr>
                <a:srgbClr val="5C5C5C"/>
              </a:buClr>
              <a:buSzPct val="80000"/>
            </a:pPr>
            <a:r>
              <a:rPr lang="nl-BE" sz="2000" b="1" dirty="0">
                <a:solidFill>
                  <a:srgbClr val="FFC000"/>
                </a:solidFill>
                <a:latin typeface="Amaranth" panose="02000503000000020004" pitchFamily="50" charset="0"/>
                <a:cs typeface="Arial" panose="020B0604020202020204" pitchFamily="34" charset="0"/>
              </a:rPr>
              <a:t>Software</a:t>
            </a:r>
          </a:p>
        </p:txBody>
      </p:sp>
      <p:pic>
        <p:nvPicPr>
          <p:cNvPr id="17" name="Afbeelding 16">
            <a:extLst>
              <a:ext uri="{FF2B5EF4-FFF2-40B4-BE49-F238E27FC236}">
                <a16:creationId xmlns:a16="http://schemas.microsoft.com/office/drawing/2014/main" id="{CC74526C-91E5-4356-9F09-02B38EF18E16}"/>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1241707" y="6052930"/>
            <a:ext cx="661508" cy="556592"/>
          </a:xfrm>
          <a:prstGeom prst="rect">
            <a:avLst/>
          </a:prstGeom>
        </p:spPr>
      </p:pic>
      <p:sp>
        <p:nvSpPr>
          <p:cNvPr id="7" name="Rechthoek 6">
            <a:extLst>
              <a:ext uri="{FF2B5EF4-FFF2-40B4-BE49-F238E27FC236}">
                <a16:creationId xmlns:a16="http://schemas.microsoft.com/office/drawing/2014/main" id="{78D2B217-536D-4ADA-B8B2-B324706501FE}"/>
              </a:ext>
            </a:extLst>
          </p:cNvPr>
          <p:cNvSpPr/>
          <p:nvPr/>
        </p:nvSpPr>
        <p:spPr>
          <a:xfrm>
            <a:off x="5635408" y="1621224"/>
            <a:ext cx="6338106" cy="4939814"/>
          </a:xfrm>
          <a:prstGeom prst="rect">
            <a:avLst/>
          </a:prstGeom>
        </p:spPr>
        <p:txBody>
          <a:bodyPr wrap="square">
            <a:spAutoFit/>
          </a:bodyPr>
          <a:lstStyle/>
          <a:p>
            <a:r>
              <a:rPr lang="nl-NL" sz="2400" b="1" dirty="0">
                <a:solidFill>
                  <a:schemeClr val="bg1"/>
                </a:solidFill>
              </a:rPr>
              <a:t>Creatiespel: onderzoekend en ontwerpend leren</a:t>
            </a:r>
          </a:p>
          <a:p>
            <a:endParaRPr lang="nl-NL" dirty="0">
              <a:solidFill>
                <a:schemeClr val="bg1"/>
              </a:solidFill>
            </a:endParaRPr>
          </a:p>
          <a:p>
            <a:pPr marL="285750" indent="-285750">
              <a:buFont typeface="Arial" panose="020B0604020202020204" pitchFamily="34" charset="0"/>
              <a:buChar char="•"/>
            </a:pPr>
            <a:r>
              <a:rPr lang="nl-NL" sz="1700" dirty="0">
                <a:solidFill>
                  <a:schemeClr val="bg1"/>
                </a:solidFill>
              </a:rPr>
              <a:t>Het centrale overkoepelende beloningsspel</a:t>
            </a:r>
          </a:p>
          <a:p>
            <a:endParaRPr lang="nl-NL" sz="1700" dirty="0">
              <a:solidFill>
                <a:schemeClr val="bg1"/>
              </a:solidFill>
            </a:endParaRPr>
          </a:p>
          <a:p>
            <a:pPr marL="285750" indent="-285750">
              <a:buFont typeface="Arial" panose="020B0604020202020204" pitchFamily="34" charset="0"/>
              <a:buChar char="•"/>
            </a:pPr>
            <a:r>
              <a:rPr lang="nl-NL" sz="1700" dirty="0">
                <a:solidFill>
                  <a:schemeClr val="bg1"/>
                </a:solidFill>
              </a:rPr>
              <a:t>Motiveert de leerlingen om steeds weer spellen te spelen en dus te leren en herhaald te oefenen</a:t>
            </a:r>
          </a:p>
          <a:p>
            <a:pPr marL="285750" indent="-285750">
              <a:buFont typeface="Arial" panose="020B0604020202020204" pitchFamily="34" charset="0"/>
              <a:buChar char="•"/>
            </a:pPr>
            <a:endParaRPr lang="nl-NL" sz="1700" dirty="0">
              <a:solidFill>
                <a:schemeClr val="bg1"/>
              </a:solidFill>
            </a:endParaRPr>
          </a:p>
          <a:p>
            <a:pPr marL="285750" indent="-285750">
              <a:buFont typeface="Arial" panose="020B0604020202020204" pitchFamily="34" charset="0"/>
              <a:buChar char="•"/>
            </a:pPr>
            <a:r>
              <a:rPr lang="nl-NL" sz="1700" dirty="0" err="1">
                <a:solidFill>
                  <a:schemeClr val="bg1"/>
                </a:solidFill>
              </a:rPr>
              <a:t>Pompom</a:t>
            </a:r>
            <a:r>
              <a:rPr lang="nl-NL" sz="1700" dirty="0">
                <a:solidFill>
                  <a:schemeClr val="bg1"/>
                </a:solidFill>
              </a:rPr>
              <a:t> heeft een ‘probleem’</a:t>
            </a:r>
          </a:p>
          <a:p>
            <a:pPr marL="285750" indent="-285750">
              <a:buFont typeface="Arial" panose="020B0604020202020204" pitchFamily="34" charset="0"/>
              <a:buChar char="•"/>
            </a:pPr>
            <a:endParaRPr lang="nl-NL" sz="1700" dirty="0">
              <a:solidFill>
                <a:schemeClr val="bg1"/>
              </a:solidFill>
            </a:endParaRPr>
          </a:p>
          <a:p>
            <a:pPr marL="285750" indent="-285750">
              <a:buFont typeface="Arial" panose="020B0604020202020204" pitchFamily="34" charset="0"/>
              <a:buChar char="•"/>
            </a:pPr>
            <a:r>
              <a:rPr lang="nl-NL" sz="1700" dirty="0">
                <a:solidFill>
                  <a:schemeClr val="bg1"/>
                </a:solidFill>
              </a:rPr>
              <a:t>De leerling helpt </a:t>
            </a:r>
            <a:r>
              <a:rPr lang="nl-NL" sz="1700" dirty="0" err="1">
                <a:solidFill>
                  <a:schemeClr val="bg1"/>
                </a:solidFill>
              </a:rPr>
              <a:t>Pompom</a:t>
            </a:r>
            <a:r>
              <a:rPr lang="nl-NL" sz="1700" dirty="0">
                <a:solidFill>
                  <a:schemeClr val="bg1"/>
                </a:solidFill>
              </a:rPr>
              <a:t> door de spellen te spelen en beloningen te verdienen</a:t>
            </a:r>
          </a:p>
          <a:p>
            <a:pPr marL="285750" indent="-285750">
              <a:buFont typeface="Arial" panose="020B0604020202020204" pitchFamily="34" charset="0"/>
              <a:buChar char="•"/>
            </a:pPr>
            <a:endParaRPr lang="nl-NL" sz="1700" dirty="0">
              <a:solidFill>
                <a:schemeClr val="bg1"/>
              </a:solidFill>
            </a:endParaRPr>
          </a:p>
          <a:p>
            <a:pPr marL="285750" indent="-285750">
              <a:buFont typeface="Arial" panose="020B0604020202020204" pitchFamily="34" charset="0"/>
              <a:buChar char="•"/>
            </a:pPr>
            <a:r>
              <a:rPr lang="nl-NL" sz="1700" dirty="0">
                <a:solidFill>
                  <a:schemeClr val="bg1"/>
                </a:solidFill>
              </a:rPr>
              <a:t>Met de beloningen bedenkt de leerling op het ontwerp-canvas een oplossing voor het probleem van </a:t>
            </a:r>
            <a:r>
              <a:rPr lang="nl-NL" sz="1700" dirty="0" err="1">
                <a:solidFill>
                  <a:schemeClr val="bg1"/>
                </a:solidFill>
              </a:rPr>
              <a:t>Pompom</a:t>
            </a:r>
            <a:endParaRPr lang="nl-NL" sz="1700" dirty="0">
              <a:solidFill>
                <a:schemeClr val="bg1"/>
              </a:solidFill>
            </a:endParaRPr>
          </a:p>
          <a:p>
            <a:pPr marL="285750" indent="-285750">
              <a:buFont typeface="Arial" panose="020B0604020202020204" pitchFamily="34" charset="0"/>
              <a:buChar char="•"/>
            </a:pPr>
            <a:endParaRPr lang="nl-NL" sz="1700" dirty="0">
              <a:solidFill>
                <a:schemeClr val="bg1"/>
              </a:solidFill>
            </a:endParaRPr>
          </a:p>
          <a:p>
            <a:pPr marL="285750" indent="-285750">
              <a:buFont typeface="Arial" panose="020B0604020202020204" pitchFamily="34" charset="0"/>
              <a:buChar char="•"/>
            </a:pPr>
            <a:r>
              <a:rPr lang="nl-NL" sz="1700" dirty="0">
                <a:solidFill>
                  <a:schemeClr val="bg1"/>
                </a:solidFill>
              </a:rPr>
              <a:t>Het ontwerp wordt opgeslagen als een foto en kan gedeeld worden via mail of WhatsApp</a:t>
            </a:r>
          </a:p>
          <a:p>
            <a:pPr marL="285750" indent="-285750">
              <a:buFont typeface="Arial" panose="020B0604020202020204" pitchFamily="34" charset="0"/>
              <a:buChar char="•"/>
            </a:pPr>
            <a:endParaRPr lang="nl-NL" dirty="0">
              <a:solidFill>
                <a:schemeClr val="bg1"/>
              </a:solidFill>
            </a:endParaRPr>
          </a:p>
        </p:txBody>
      </p:sp>
      <p:pic>
        <p:nvPicPr>
          <p:cNvPr id="3" name="Afbeelding 2">
            <a:extLst>
              <a:ext uri="{FF2B5EF4-FFF2-40B4-BE49-F238E27FC236}">
                <a16:creationId xmlns:a16="http://schemas.microsoft.com/office/drawing/2014/main" id="{E96B81FB-565A-4B53-8636-DB5892DACCDC}"/>
              </a:ext>
            </a:extLst>
          </p:cNvPr>
          <p:cNvPicPr>
            <a:picLocks noChangeAspect="1"/>
          </p:cNvPicPr>
          <p:nvPr/>
        </p:nvPicPr>
        <p:blipFill>
          <a:blip r:embed="rId8"/>
          <a:stretch>
            <a:fillRect/>
          </a:stretch>
        </p:blipFill>
        <p:spPr>
          <a:xfrm>
            <a:off x="316547" y="2174349"/>
            <a:ext cx="5064068" cy="3239276"/>
          </a:xfrm>
          <a:prstGeom prst="rect">
            <a:avLst/>
          </a:prstGeom>
        </p:spPr>
      </p:pic>
    </p:spTree>
    <p:extLst>
      <p:ext uri="{BB962C8B-B14F-4D97-AF65-F5344CB8AC3E}">
        <p14:creationId xmlns:p14="http://schemas.microsoft.com/office/powerpoint/2010/main" val="21187629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D5ACD6DB-F49E-43E0-9717-FE4961683A7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9608" t="5731" r="12759" b="-34"/>
          <a:stretch/>
        </p:blipFill>
        <p:spPr>
          <a:xfrm>
            <a:off x="751840" y="0"/>
            <a:ext cx="11440160" cy="6858000"/>
          </a:xfrm>
          <a:prstGeom prst="rect">
            <a:avLst/>
          </a:prstGeom>
        </p:spPr>
      </p:pic>
      <p:sp>
        <p:nvSpPr>
          <p:cNvPr id="5" name="Rechthoek 4">
            <a:extLst>
              <a:ext uri="{FF2B5EF4-FFF2-40B4-BE49-F238E27FC236}">
                <a16:creationId xmlns:a16="http://schemas.microsoft.com/office/drawing/2014/main" id="{DB3DE502-6FBF-49F9-A8CE-C55896AB4EF6}"/>
              </a:ext>
            </a:extLst>
          </p:cNvPr>
          <p:cNvSpPr/>
          <p:nvPr/>
        </p:nvSpPr>
        <p:spPr>
          <a:xfrm>
            <a:off x="0" y="0"/>
            <a:ext cx="7073592" cy="6858000"/>
          </a:xfrm>
          <a:prstGeom prst="rect">
            <a:avLst/>
          </a:prstGeom>
          <a:solidFill>
            <a:srgbClr val="3AA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hthoekige driehoek 5">
            <a:extLst>
              <a:ext uri="{FF2B5EF4-FFF2-40B4-BE49-F238E27FC236}">
                <a16:creationId xmlns:a16="http://schemas.microsoft.com/office/drawing/2014/main" id="{DC6D234D-B498-46D6-8CFD-461153B3131E}"/>
              </a:ext>
            </a:extLst>
          </p:cNvPr>
          <p:cNvSpPr/>
          <p:nvPr/>
        </p:nvSpPr>
        <p:spPr>
          <a:xfrm flipV="1">
            <a:off x="7073592" y="0"/>
            <a:ext cx="1390470" cy="6858000"/>
          </a:xfrm>
          <a:prstGeom prst="rtTriangle">
            <a:avLst/>
          </a:prstGeom>
          <a:solidFill>
            <a:srgbClr val="3AA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hthoek 12">
            <a:extLst>
              <a:ext uri="{FF2B5EF4-FFF2-40B4-BE49-F238E27FC236}">
                <a16:creationId xmlns:a16="http://schemas.microsoft.com/office/drawing/2014/main" id="{CFEBF6F2-3B8C-4F23-A033-0C8F9AB9BF4A}"/>
              </a:ext>
            </a:extLst>
          </p:cNvPr>
          <p:cNvSpPr/>
          <p:nvPr/>
        </p:nvSpPr>
        <p:spPr>
          <a:xfrm>
            <a:off x="599615" y="1225688"/>
            <a:ext cx="6919931" cy="5170646"/>
          </a:xfrm>
          <a:prstGeom prst="rect">
            <a:avLst/>
          </a:prstGeom>
          <a:noFill/>
        </p:spPr>
        <p:txBody>
          <a:bodyPr wrap="square" lIns="0" tIns="0" rIns="0" bIns="0">
            <a:spAutoFit/>
          </a:bodyPr>
          <a:lstStyle/>
          <a:p>
            <a:pPr marL="342900" indent="-342900">
              <a:buFont typeface="Arial" panose="020B0604020202020204" pitchFamily="34" charset="0"/>
              <a:buChar char="•"/>
            </a:pPr>
            <a:r>
              <a:rPr lang="nl-NL" sz="2100" dirty="0">
                <a:solidFill>
                  <a:schemeClr val="bg1"/>
                </a:solidFill>
              </a:rPr>
              <a:t>Spelenderwijs leren en ontdekken</a:t>
            </a:r>
          </a:p>
          <a:p>
            <a:pPr marL="457200" indent="-457200">
              <a:buFont typeface="Wingdings" panose="05000000000000000000" pitchFamily="2" charset="2"/>
              <a:buChar char="ü"/>
            </a:pPr>
            <a:endParaRPr lang="nl-NL" sz="2100" dirty="0">
              <a:solidFill>
                <a:schemeClr val="bg1"/>
              </a:solidFill>
            </a:endParaRPr>
          </a:p>
          <a:p>
            <a:pPr marL="342900" indent="-342900">
              <a:buFont typeface="Arial" panose="020B0604020202020204" pitchFamily="34" charset="0"/>
              <a:buChar char="•"/>
            </a:pPr>
            <a:r>
              <a:rPr lang="nl-NL" sz="2100" dirty="0">
                <a:solidFill>
                  <a:schemeClr val="bg1"/>
                </a:solidFill>
              </a:rPr>
              <a:t>Volledige keuzevrijheid &amp; flexibiliteit </a:t>
            </a:r>
          </a:p>
          <a:p>
            <a:pPr marL="457200" indent="-457200">
              <a:buFont typeface="Wingdings" panose="05000000000000000000" pitchFamily="2" charset="2"/>
              <a:buChar char="ü"/>
            </a:pPr>
            <a:endParaRPr lang="nl-NL" sz="2100" dirty="0">
              <a:solidFill>
                <a:schemeClr val="bg1"/>
              </a:solidFill>
            </a:endParaRPr>
          </a:p>
          <a:p>
            <a:pPr marL="342900" indent="-342900">
              <a:buFont typeface="Arial" panose="020B0604020202020204" pitchFamily="34" charset="0"/>
              <a:buChar char="•"/>
            </a:pPr>
            <a:r>
              <a:rPr lang="nl-NL" sz="2100" dirty="0">
                <a:solidFill>
                  <a:schemeClr val="bg1"/>
                </a:solidFill>
              </a:rPr>
              <a:t>Ondersteuning bij eigen thema’s &amp; activiteiten</a:t>
            </a:r>
          </a:p>
          <a:p>
            <a:pPr marL="457200" indent="-457200">
              <a:buFont typeface="Wingdings" panose="05000000000000000000" pitchFamily="2" charset="2"/>
              <a:buChar char="ü"/>
            </a:pPr>
            <a:endParaRPr lang="nl-NL" sz="2100" dirty="0">
              <a:solidFill>
                <a:schemeClr val="bg1"/>
              </a:solidFill>
            </a:endParaRPr>
          </a:p>
          <a:p>
            <a:pPr marL="342900" indent="-342900">
              <a:buFont typeface="Arial" panose="020B0604020202020204" pitchFamily="34" charset="0"/>
              <a:buChar char="•"/>
            </a:pPr>
            <a:r>
              <a:rPr lang="nl-NL" sz="2100" dirty="0" err="1">
                <a:solidFill>
                  <a:schemeClr val="bg1"/>
                </a:solidFill>
              </a:rPr>
              <a:t>Kerndoeldekkend</a:t>
            </a:r>
            <a:r>
              <a:rPr lang="nl-NL" sz="2100" dirty="0">
                <a:solidFill>
                  <a:schemeClr val="bg1"/>
                </a:solidFill>
              </a:rPr>
              <a:t> aanbod op alle ontwikkelingsgebieden</a:t>
            </a:r>
          </a:p>
          <a:p>
            <a:endParaRPr lang="nl-NL" sz="2100" dirty="0">
              <a:solidFill>
                <a:schemeClr val="bg1"/>
              </a:solidFill>
            </a:endParaRPr>
          </a:p>
          <a:p>
            <a:pPr marL="342900" indent="-342900">
              <a:buFont typeface="Arial" panose="020B0604020202020204" pitchFamily="34" charset="0"/>
              <a:buChar char="•"/>
            </a:pPr>
            <a:r>
              <a:rPr lang="nl-NL" sz="2100" dirty="0">
                <a:solidFill>
                  <a:schemeClr val="bg1"/>
                </a:solidFill>
              </a:rPr>
              <a:t>Minimaal 20 rekenactiviteiten per anker voor alle domeinen</a:t>
            </a:r>
          </a:p>
          <a:p>
            <a:pPr marL="457200" indent="-457200">
              <a:buFont typeface="Wingdings" panose="05000000000000000000" pitchFamily="2" charset="2"/>
              <a:buChar char="ü"/>
            </a:pPr>
            <a:endParaRPr lang="nl-NL" sz="2100" dirty="0">
              <a:solidFill>
                <a:schemeClr val="bg1"/>
              </a:solidFill>
            </a:endParaRPr>
          </a:p>
          <a:p>
            <a:pPr marL="342900" indent="-342900">
              <a:buFont typeface="Arial" panose="020B0604020202020204" pitchFamily="34" charset="0"/>
              <a:buChar char="•"/>
            </a:pPr>
            <a:r>
              <a:rPr lang="nl-NL" sz="2100" dirty="0">
                <a:solidFill>
                  <a:schemeClr val="bg1"/>
                </a:solidFill>
              </a:rPr>
              <a:t>Doorgaande leerlijn met Veilig leren lezen kim-versie voor groep 3</a:t>
            </a:r>
          </a:p>
          <a:p>
            <a:pPr marL="457200" indent="-457200">
              <a:buFont typeface="Wingdings" panose="05000000000000000000" pitchFamily="2" charset="2"/>
              <a:buChar char="ü"/>
            </a:pPr>
            <a:endParaRPr lang="nl-NL" sz="2100" dirty="0">
              <a:solidFill>
                <a:schemeClr val="bg1"/>
              </a:solidFill>
            </a:endParaRPr>
          </a:p>
          <a:p>
            <a:pPr marL="342900" indent="-342900">
              <a:buFont typeface="Arial" panose="020B0604020202020204" pitchFamily="34" charset="0"/>
              <a:buChar char="•"/>
            </a:pPr>
            <a:r>
              <a:rPr lang="nl-NL" sz="2100" dirty="0">
                <a:solidFill>
                  <a:schemeClr val="bg1"/>
                </a:solidFill>
              </a:rPr>
              <a:t>VVE-gecertificeerd</a:t>
            </a:r>
          </a:p>
          <a:p>
            <a:pPr marL="457200" indent="-457200">
              <a:buFont typeface="Wingdings" panose="05000000000000000000" pitchFamily="2" charset="2"/>
              <a:buChar char="ü"/>
            </a:pPr>
            <a:endParaRPr lang="nl-NL" sz="2100" dirty="0">
              <a:solidFill>
                <a:schemeClr val="bg1"/>
              </a:solidFill>
            </a:endParaRPr>
          </a:p>
          <a:p>
            <a:pPr marL="342900" indent="-342900">
              <a:buFont typeface="Arial" panose="020B0604020202020204" pitchFamily="34" charset="0"/>
              <a:buChar char="•"/>
            </a:pPr>
            <a:r>
              <a:rPr lang="nl-NL" sz="2100" dirty="0">
                <a:solidFill>
                  <a:schemeClr val="bg1"/>
                </a:solidFill>
              </a:rPr>
              <a:t>Wetenschap en technologie geïntegreerd </a:t>
            </a:r>
          </a:p>
        </p:txBody>
      </p:sp>
      <p:pic>
        <p:nvPicPr>
          <p:cNvPr id="10" name="Afbeelding 9">
            <a:extLst>
              <a:ext uri="{FF2B5EF4-FFF2-40B4-BE49-F238E27FC236}">
                <a16:creationId xmlns:a16="http://schemas.microsoft.com/office/drawing/2014/main" id="{77206B3F-3B9D-40F5-9222-7635F597496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294831" y="6164016"/>
            <a:ext cx="724228" cy="563044"/>
          </a:xfrm>
          <a:prstGeom prst="rect">
            <a:avLst/>
          </a:prstGeom>
        </p:spPr>
      </p:pic>
      <p:pic>
        <p:nvPicPr>
          <p:cNvPr id="9" name="Picture 4" descr="https://citylifepro.be/images/playbutton.png">
            <a:hlinkClick r:id="rId6"/>
            <a:extLst>
              <a:ext uri="{FF2B5EF4-FFF2-40B4-BE49-F238E27FC236}">
                <a16:creationId xmlns:a16="http://schemas.microsoft.com/office/drawing/2014/main" id="{2BD80F5D-6167-4749-9D98-7DCE526A32B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282966" y="3012553"/>
            <a:ext cx="1437238" cy="1437238"/>
          </a:xfrm>
          <a:prstGeom prst="rect">
            <a:avLst/>
          </a:prstGeom>
          <a:noFill/>
          <a:effectLst/>
          <a:extLst>
            <a:ext uri="{909E8E84-426E-40DD-AFC4-6F175D3DCCD1}">
              <a14:hiddenFill xmlns:a14="http://schemas.microsoft.com/office/drawing/2010/main">
                <a:solidFill>
                  <a:srgbClr val="FFFFFF"/>
                </a:solidFill>
              </a14:hiddenFill>
            </a:ext>
          </a:extLst>
        </p:spPr>
      </p:pic>
      <p:sp>
        <p:nvSpPr>
          <p:cNvPr id="8" name="Rechthoek 7">
            <a:extLst>
              <a:ext uri="{FF2B5EF4-FFF2-40B4-BE49-F238E27FC236}">
                <a16:creationId xmlns:a16="http://schemas.microsoft.com/office/drawing/2014/main" id="{3A35795F-C054-4C61-B448-4462036868C9}"/>
              </a:ext>
            </a:extLst>
          </p:cNvPr>
          <p:cNvSpPr/>
          <p:nvPr/>
        </p:nvSpPr>
        <p:spPr>
          <a:xfrm>
            <a:off x="599614" y="330199"/>
            <a:ext cx="7225817" cy="646331"/>
          </a:xfrm>
          <a:prstGeom prst="rect">
            <a:avLst/>
          </a:prstGeom>
        </p:spPr>
        <p:txBody>
          <a:bodyPr wrap="square">
            <a:spAutoFit/>
          </a:bodyPr>
          <a:lstStyle/>
          <a:p>
            <a:pPr>
              <a:lnSpc>
                <a:spcPct val="90000"/>
              </a:lnSpc>
              <a:tabLst>
                <a:tab pos="1971675" algn="l"/>
              </a:tabLst>
            </a:pPr>
            <a:r>
              <a:rPr lang="nl-BE" sz="4000" dirty="0">
                <a:solidFill>
                  <a:schemeClr val="bg1"/>
                </a:solidFill>
                <a:latin typeface="Amaranth" panose="02000503000000020004" pitchFamily="50" charset="0"/>
                <a:cs typeface="Arial" panose="020B0604020202020204" pitchFamily="34" charset="0"/>
              </a:rPr>
              <a:t>De sterke punten van Schatkist:</a:t>
            </a:r>
          </a:p>
        </p:txBody>
      </p:sp>
    </p:spTree>
    <p:extLst>
      <p:ext uri="{BB962C8B-B14F-4D97-AF65-F5344CB8AC3E}">
        <p14:creationId xmlns:p14="http://schemas.microsoft.com/office/powerpoint/2010/main" val="3024046631"/>
      </p:ext>
    </p:extLst>
  </p:cSld>
  <p:clrMapOvr>
    <a:masterClrMapping/>
  </p:clrMapOvr>
  <p:transition spd="slow">
    <p:push/>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hoek 12">
            <a:extLst>
              <a:ext uri="{FF2B5EF4-FFF2-40B4-BE49-F238E27FC236}">
                <a16:creationId xmlns:a16="http://schemas.microsoft.com/office/drawing/2014/main" id="{CECEAB52-2BFE-4DB7-83D8-2B3EABF14D7F}"/>
              </a:ext>
            </a:extLst>
          </p:cNvPr>
          <p:cNvSpPr/>
          <p:nvPr/>
        </p:nvSpPr>
        <p:spPr>
          <a:xfrm>
            <a:off x="36308" y="1701879"/>
            <a:ext cx="12192000" cy="4453958"/>
          </a:xfrm>
          <a:prstGeom prst="rect">
            <a:avLst/>
          </a:prstGeom>
          <a:solidFill>
            <a:srgbClr val="FFC00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85" name="think-cell Slide" r:id="rId5" imgW="353" imgH="353" progId="TCLayout.ActiveDocument.1">
                  <p:embed/>
                </p:oleObj>
              </mc:Choice>
              <mc:Fallback>
                <p:oleObj name="think-cell Slide" r:id="rId5" imgW="353" imgH="353"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extBox 14"/>
          <p:cNvSpPr txBox="1"/>
          <p:nvPr/>
        </p:nvSpPr>
        <p:spPr>
          <a:xfrm>
            <a:off x="5819286" y="601863"/>
            <a:ext cx="6178503" cy="646331"/>
          </a:xfrm>
          <a:prstGeom prst="rect">
            <a:avLst/>
          </a:prstGeom>
          <a:noFill/>
        </p:spPr>
        <p:txBody>
          <a:bodyPr wrap="square" rtlCol="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tab pos="1971675" algn="l"/>
              </a:tabLst>
              <a:defRPr/>
            </a:pPr>
            <a:r>
              <a:rPr kumimoji="0" lang="nl-BE" sz="4000" b="0" i="0" u="none" strike="noStrike" kern="1200" cap="none" spc="0" normalizeH="0" baseline="0" noProof="0" dirty="0">
                <a:ln>
                  <a:noFill/>
                </a:ln>
                <a:solidFill>
                  <a:srgbClr val="FFC000"/>
                </a:solidFill>
                <a:effectLst/>
                <a:uLnTx/>
                <a:uFillTx/>
                <a:latin typeface="Amaranth" panose="02000503000000020004" pitchFamily="50" charset="0"/>
                <a:ea typeface="+mn-ea"/>
                <a:cs typeface="Arial" panose="020B0604020202020204" pitchFamily="34" charset="0"/>
              </a:rPr>
              <a:t>Leerlingsoftware: </a:t>
            </a:r>
            <a:r>
              <a:rPr lang="nl-BE" sz="4000" dirty="0">
                <a:solidFill>
                  <a:srgbClr val="FFC000"/>
                </a:solidFill>
                <a:latin typeface="Amaranth" panose="02000503000000020004" pitchFamily="50" charset="0"/>
                <a:cs typeface="Arial" panose="020B0604020202020204" pitchFamily="34" charset="0"/>
              </a:rPr>
              <a:t>routespel</a:t>
            </a:r>
            <a:endParaRPr kumimoji="0" lang="nl-BE" sz="4000" b="0" i="0" u="none" strike="noStrike" kern="1200" cap="none" spc="0" normalizeH="0" baseline="0" noProof="0" dirty="0">
              <a:ln>
                <a:noFill/>
              </a:ln>
              <a:solidFill>
                <a:srgbClr val="FFC000"/>
              </a:solidFill>
              <a:effectLst/>
              <a:uLnTx/>
              <a:uFillTx/>
              <a:latin typeface="Amaranth" panose="02000503000000020004" pitchFamily="50" charset="0"/>
              <a:ea typeface="+mn-ea"/>
              <a:cs typeface="Arial" panose="020B0604020202020204" pitchFamily="34" charset="0"/>
            </a:endParaRPr>
          </a:p>
        </p:txBody>
      </p:sp>
      <p:sp>
        <p:nvSpPr>
          <p:cNvPr id="20" name="TextBox 9">
            <a:extLst>
              <a:ext uri="{FF2B5EF4-FFF2-40B4-BE49-F238E27FC236}">
                <a16:creationId xmlns:a16="http://schemas.microsoft.com/office/drawing/2014/main" id="{C7AA8425-6DE2-48BD-9D9B-550BF08EB454}"/>
              </a:ext>
            </a:extLst>
          </p:cNvPr>
          <p:cNvSpPr txBox="1">
            <a:spLocks noChangeArrowheads="1"/>
          </p:cNvSpPr>
          <p:nvPr/>
        </p:nvSpPr>
        <p:spPr bwMode="auto">
          <a:xfrm>
            <a:off x="414395" y="682432"/>
            <a:ext cx="1429916" cy="369332"/>
          </a:xfrm>
          <a:prstGeom prst="rect">
            <a:avLst/>
          </a:prstGeom>
          <a:noFill/>
          <a:ln w="9525">
            <a:noFill/>
            <a:miter lim="800000"/>
            <a:headEnd/>
            <a:tailEnd/>
          </a:ln>
        </p:spPr>
        <p:txBody>
          <a:bodyPr wrap="square" lIns="0">
            <a:spAutoFit/>
          </a:bodyPr>
          <a:lstStyle/>
          <a:p>
            <a:pPr marL="3174" marR="0" lvl="0" indent="0" algn="l" defTabSz="914400" rtl="0" eaLnBrk="1" fontAlgn="auto" latinLnBrk="0" hangingPunct="1">
              <a:lnSpc>
                <a:spcPct val="90000"/>
              </a:lnSpc>
              <a:spcBef>
                <a:spcPts val="1200"/>
              </a:spcBef>
              <a:spcAft>
                <a:spcPts val="0"/>
              </a:spcAft>
              <a:buClr>
                <a:srgbClr val="5C5C5C"/>
              </a:buClr>
              <a:buSzPct val="80000"/>
              <a:buFontTx/>
              <a:buNone/>
              <a:tabLst/>
              <a:defRPr/>
            </a:pPr>
            <a:r>
              <a:rPr kumimoji="0" lang="nl-BE" sz="2000" b="1" i="0" u="none" strike="noStrike" kern="1200" cap="none" spc="0" normalizeH="0" baseline="0" noProof="0" dirty="0">
                <a:ln>
                  <a:noFill/>
                </a:ln>
                <a:solidFill>
                  <a:prstClr val="white"/>
                </a:solidFill>
                <a:effectLst/>
                <a:uLnTx/>
                <a:uFillTx/>
                <a:latin typeface="Amaranth" panose="02000503000000020004" pitchFamily="50" charset="0"/>
                <a:ea typeface="+mn-ea"/>
                <a:cs typeface="Arial" panose="020B0604020202020204" pitchFamily="34" charset="0"/>
              </a:rPr>
              <a:t>Software</a:t>
            </a:r>
          </a:p>
        </p:txBody>
      </p:sp>
      <p:sp>
        <p:nvSpPr>
          <p:cNvPr id="10" name="Freeform 41">
            <a:extLst>
              <a:ext uri="{FF2B5EF4-FFF2-40B4-BE49-F238E27FC236}">
                <a16:creationId xmlns:a16="http://schemas.microsoft.com/office/drawing/2014/main" id="{19C4BFF1-338F-4238-B984-12D30DA19C04}"/>
              </a:ext>
            </a:extLst>
          </p:cNvPr>
          <p:cNvSpPr/>
          <p:nvPr/>
        </p:nvSpPr>
        <p:spPr>
          <a:xfrm rot="845560">
            <a:off x="-82083" y="352836"/>
            <a:ext cx="2164079" cy="1020274"/>
          </a:xfrm>
          <a:custGeom>
            <a:avLst/>
            <a:gdLst>
              <a:gd name="connsiteX0" fmla="*/ 45720 w 1267097"/>
              <a:gd name="connsiteY0" fmla="*/ 378823 h 378823"/>
              <a:gd name="connsiteX1" fmla="*/ 1267097 w 1267097"/>
              <a:gd name="connsiteY1" fmla="*/ 182880 h 378823"/>
              <a:gd name="connsiteX2" fmla="*/ 1267097 w 1267097"/>
              <a:gd name="connsiteY2" fmla="*/ 0 h 378823"/>
              <a:gd name="connsiteX3" fmla="*/ 0 w 1267097"/>
              <a:gd name="connsiteY3" fmla="*/ 189412 h 378823"/>
              <a:gd name="connsiteX4" fmla="*/ 45720 w 1267097"/>
              <a:gd name="connsiteY4" fmla="*/ 378823 h 378823"/>
              <a:gd name="connsiteX0" fmla="*/ 71845 w 1293222"/>
              <a:gd name="connsiteY0" fmla="*/ 378823 h 378823"/>
              <a:gd name="connsiteX1" fmla="*/ 1293222 w 1293222"/>
              <a:gd name="connsiteY1" fmla="*/ 182880 h 378823"/>
              <a:gd name="connsiteX2" fmla="*/ 1293222 w 1293222"/>
              <a:gd name="connsiteY2" fmla="*/ 0 h 378823"/>
              <a:gd name="connsiteX3" fmla="*/ 0 w 1293222"/>
              <a:gd name="connsiteY3" fmla="*/ 130629 h 378823"/>
              <a:gd name="connsiteX4" fmla="*/ 71845 w 1293222"/>
              <a:gd name="connsiteY4" fmla="*/ 378823 h 378823"/>
              <a:gd name="connsiteX0" fmla="*/ 65313 w 1293222"/>
              <a:gd name="connsiteY0" fmla="*/ 398417 h 398417"/>
              <a:gd name="connsiteX1" fmla="*/ 1293222 w 1293222"/>
              <a:gd name="connsiteY1" fmla="*/ 182880 h 398417"/>
              <a:gd name="connsiteX2" fmla="*/ 1293222 w 1293222"/>
              <a:gd name="connsiteY2" fmla="*/ 0 h 398417"/>
              <a:gd name="connsiteX3" fmla="*/ 0 w 1293222"/>
              <a:gd name="connsiteY3" fmla="*/ 130629 h 398417"/>
              <a:gd name="connsiteX4" fmla="*/ 65313 w 1293222"/>
              <a:gd name="connsiteY4" fmla="*/ 398417 h 398417"/>
              <a:gd name="connsiteX0" fmla="*/ 104663 w 1332572"/>
              <a:gd name="connsiteY0" fmla="*/ 488407 h 488407"/>
              <a:gd name="connsiteX1" fmla="*/ 1332572 w 1332572"/>
              <a:gd name="connsiteY1" fmla="*/ 272870 h 488407"/>
              <a:gd name="connsiteX2" fmla="*/ 1332572 w 1332572"/>
              <a:gd name="connsiteY2" fmla="*/ 89990 h 488407"/>
              <a:gd name="connsiteX3" fmla="*/ 0 w 1332572"/>
              <a:gd name="connsiteY3" fmla="*/ 0 h 488407"/>
              <a:gd name="connsiteX4" fmla="*/ 104663 w 1332572"/>
              <a:gd name="connsiteY4" fmla="*/ 488407 h 488407"/>
              <a:gd name="connsiteX0" fmla="*/ 58754 w 1286663"/>
              <a:gd name="connsiteY0" fmla="*/ 488407 h 488407"/>
              <a:gd name="connsiteX1" fmla="*/ 1286663 w 1286663"/>
              <a:gd name="connsiteY1" fmla="*/ 272870 h 488407"/>
              <a:gd name="connsiteX2" fmla="*/ 1286663 w 1286663"/>
              <a:gd name="connsiteY2" fmla="*/ 89990 h 488407"/>
              <a:gd name="connsiteX3" fmla="*/ 0 w 1286663"/>
              <a:gd name="connsiteY3" fmla="*/ 0 h 488407"/>
              <a:gd name="connsiteX4" fmla="*/ 58754 w 1286663"/>
              <a:gd name="connsiteY4" fmla="*/ 488407 h 488407"/>
              <a:gd name="connsiteX0" fmla="*/ 58754 w 1293221"/>
              <a:gd name="connsiteY0" fmla="*/ 574912 h 574912"/>
              <a:gd name="connsiteX1" fmla="*/ 1286663 w 1293221"/>
              <a:gd name="connsiteY1" fmla="*/ 359375 h 574912"/>
              <a:gd name="connsiteX2" fmla="*/ 1293221 w 1293221"/>
              <a:gd name="connsiteY2" fmla="*/ 0 h 574912"/>
              <a:gd name="connsiteX3" fmla="*/ 0 w 1293221"/>
              <a:gd name="connsiteY3" fmla="*/ 86505 h 574912"/>
              <a:gd name="connsiteX4" fmla="*/ 58754 w 1293221"/>
              <a:gd name="connsiteY4" fmla="*/ 574912 h 574912"/>
              <a:gd name="connsiteX0" fmla="*/ 58754 w 1470298"/>
              <a:gd name="connsiteY0" fmla="*/ 574912 h 574912"/>
              <a:gd name="connsiteX1" fmla="*/ 1470298 w 1470298"/>
              <a:gd name="connsiteY1" fmla="*/ 561083 h 574912"/>
              <a:gd name="connsiteX2" fmla="*/ 1293221 w 1470298"/>
              <a:gd name="connsiteY2" fmla="*/ 0 h 574912"/>
              <a:gd name="connsiteX3" fmla="*/ 0 w 1470298"/>
              <a:gd name="connsiteY3" fmla="*/ 86505 h 574912"/>
              <a:gd name="connsiteX4" fmla="*/ 58754 w 1470298"/>
              <a:gd name="connsiteY4" fmla="*/ 574912 h 574912"/>
              <a:gd name="connsiteX0" fmla="*/ 65313 w 1470298"/>
              <a:gd name="connsiteY0" fmla="*/ 795531 h 795531"/>
              <a:gd name="connsiteX1" fmla="*/ 1470298 w 1470298"/>
              <a:gd name="connsiteY1" fmla="*/ 561083 h 795531"/>
              <a:gd name="connsiteX2" fmla="*/ 1293221 w 1470298"/>
              <a:gd name="connsiteY2" fmla="*/ 0 h 795531"/>
              <a:gd name="connsiteX3" fmla="*/ 0 w 1470298"/>
              <a:gd name="connsiteY3" fmla="*/ 86505 h 795531"/>
              <a:gd name="connsiteX4" fmla="*/ 65313 w 1470298"/>
              <a:gd name="connsiteY4" fmla="*/ 795531 h 795531"/>
              <a:gd name="connsiteX0" fmla="*/ 65313 w 1844126"/>
              <a:gd name="connsiteY0" fmla="*/ 795531 h 795531"/>
              <a:gd name="connsiteX1" fmla="*/ 1844126 w 1844126"/>
              <a:gd name="connsiteY1" fmla="*/ 504352 h 795531"/>
              <a:gd name="connsiteX2" fmla="*/ 1293221 w 1844126"/>
              <a:gd name="connsiteY2" fmla="*/ 0 h 795531"/>
              <a:gd name="connsiteX3" fmla="*/ 0 w 1844126"/>
              <a:gd name="connsiteY3" fmla="*/ 86505 h 795531"/>
              <a:gd name="connsiteX4" fmla="*/ 65313 w 1844126"/>
              <a:gd name="connsiteY4" fmla="*/ 795531 h 795531"/>
              <a:gd name="connsiteX0" fmla="*/ 65313 w 1844126"/>
              <a:gd name="connsiteY0" fmla="*/ 845958 h 845958"/>
              <a:gd name="connsiteX1" fmla="*/ 1844126 w 1844126"/>
              <a:gd name="connsiteY1" fmla="*/ 554779 h 845958"/>
              <a:gd name="connsiteX2" fmla="*/ 1621141 w 1844126"/>
              <a:gd name="connsiteY2" fmla="*/ 0 h 845958"/>
              <a:gd name="connsiteX3" fmla="*/ 0 w 1844126"/>
              <a:gd name="connsiteY3" fmla="*/ 136932 h 845958"/>
              <a:gd name="connsiteX4" fmla="*/ 65313 w 1844126"/>
              <a:gd name="connsiteY4" fmla="*/ 845958 h 845958"/>
              <a:gd name="connsiteX0" fmla="*/ 65313 w 1844126"/>
              <a:gd name="connsiteY0" fmla="*/ 864868 h 864868"/>
              <a:gd name="connsiteX1" fmla="*/ 1844126 w 1844126"/>
              <a:gd name="connsiteY1" fmla="*/ 573689 h 864868"/>
              <a:gd name="connsiteX2" fmla="*/ 1621141 w 1844126"/>
              <a:gd name="connsiteY2" fmla="*/ 0 h 864868"/>
              <a:gd name="connsiteX3" fmla="*/ 0 w 1844126"/>
              <a:gd name="connsiteY3" fmla="*/ 155842 h 864868"/>
              <a:gd name="connsiteX4" fmla="*/ 65313 w 1844126"/>
              <a:gd name="connsiteY4" fmla="*/ 864868 h 864868"/>
              <a:gd name="connsiteX0" fmla="*/ 65313 w 1686724"/>
              <a:gd name="connsiteY0" fmla="*/ 864868 h 864868"/>
              <a:gd name="connsiteX1" fmla="*/ 1686724 w 1686724"/>
              <a:gd name="connsiteY1" fmla="*/ 561082 h 864868"/>
              <a:gd name="connsiteX2" fmla="*/ 1621141 w 1686724"/>
              <a:gd name="connsiteY2" fmla="*/ 0 h 864868"/>
              <a:gd name="connsiteX3" fmla="*/ 0 w 1686724"/>
              <a:gd name="connsiteY3" fmla="*/ 155842 h 864868"/>
              <a:gd name="connsiteX4" fmla="*/ 65313 w 1686724"/>
              <a:gd name="connsiteY4" fmla="*/ 864868 h 864868"/>
              <a:gd name="connsiteX0" fmla="*/ 39079 w 1660490"/>
              <a:gd name="connsiteY0" fmla="*/ 864868 h 864868"/>
              <a:gd name="connsiteX1" fmla="*/ 1660490 w 1660490"/>
              <a:gd name="connsiteY1" fmla="*/ 561082 h 864868"/>
              <a:gd name="connsiteX2" fmla="*/ 1594907 w 1660490"/>
              <a:gd name="connsiteY2" fmla="*/ 0 h 864868"/>
              <a:gd name="connsiteX3" fmla="*/ 0 w 1660490"/>
              <a:gd name="connsiteY3" fmla="*/ 351248 h 864868"/>
              <a:gd name="connsiteX4" fmla="*/ 39079 w 1660490"/>
              <a:gd name="connsiteY4" fmla="*/ 864868 h 864868"/>
              <a:gd name="connsiteX0" fmla="*/ 39079 w 1857243"/>
              <a:gd name="connsiteY0" fmla="*/ 719889 h 719889"/>
              <a:gd name="connsiteX1" fmla="*/ 1660490 w 1857243"/>
              <a:gd name="connsiteY1" fmla="*/ 416103 h 719889"/>
              <a:gd name="connsiteX2" fmla="*/ 1857243 w 1857243"/>
              <a:gd name="connsiteY2" fmla="*/ 0 h 719889"/>
              <a:gd name="connsiteX3" fmla="*/ 0 w 1857243"/>
              <a:gd name="connsiteY3" fmla="*/ 206269 h 719889"/>
              <a:gd name="connsiteX4" fmla="*/ 39079 w 1857243"/>
              <a:gd name="connsiteY4" fmla="*/ 719889 h 719889"/>
              <a:gd name="connsiteX0" fmla="*/ 39079 w 1909709"/>
              <a:gd name="connsiteY0" fmla="*/ 719889 h 719889"/>
              <a:gd name="connsiteX1" fmla="*/ 1909709 w 1909709"/>
              <a:gd name="connsiteY1" fmla="*/ 208090 h 719889"/>
              <a:gd name="connsiteX2" fmla="*/ 1857243 w 1909709"/>
              <a:gd name="connsiteY2" fmla="*/ 0 h 719889"/>
              <a:gd name="connsiteX3" fmla="*/ 0 w 1909709"/>
              <a:gd name="connsiteY3" fmla="*/ 206269 h 719889"/>
              <a:gd name="connsiteX4" fmla="*/ 39079 w 1909709"/>
              <a:gd name="connsiteY4" fmla="*/ 719889 h 719889"/>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206269 h 511876"/>
              <a:gd name="connsiteX4" fmla="*/ 39079 w 1909709"/>
              <a:gd name="connsiteY4" fmla="*/ 511876 h 511876"/>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121173 h 511876"/>
              <a:gd name="connsiteX4" fmla="*/ 39079 w 1909709"/>
              <a:gd name="connsiteY4" fmla="*/ 511876 h 511876"/>
              <a:gd name="connsiteX0" fmla="*/ 39079 w 1857243"/>
              <a:gd name="connsiteY0" fmla="*/ 511876 h 511876"/>
              <a:gd name="connsiteX1" fmla="*/ 1748372 w 1857243"/>
              <a:gd name="connsiteY1" fmla="*/ 309201 h 511876"/>
              <a:gd name="connsiteX2" fmla="*/ 1857243 w 1857243"/>
              <a:gd name="connsiteY2" fmla="*/ 0 h 511876"/>
              <a:gd name="connsiteX3" fmla="*/ 0 w 1857243"/>
              <a:gd name="connsiteY3" fmla="*/ 121173 h 511876"/>
              <a:gd name="connsiteX4" fmla="*/ 39079 w 1857243"/>
              <a:gd name="connsiteY4" fmla="*/ 511876 h 511876"/>
              <a:gd name="connsiteX0" fmla="*/ 39079 w 1748372"/>
              <a:gd name="connsiteY0" fmla="*/ 499237 h 499237"/>
              <a:gd name="connsiteX1" fmla="*/ 1748372 w 1748372"/>
              <a:gd name="connsiteY1" fmla="*/ 296562 h 499237"/>
              <a:gd name="connsiteX2" fmla="*/ 1723965 w 1748372"/>
              <a:gd name="connsiteY2" fmla="*/ 0 h 499237"/>
              <a:gd name="connsiteX3" fmla="*/ 0 w 1748372"/>
              <a:gd name="connsiteY3" fmla="*/ 108534 h 499237"/>
              <a:gd name="connsiteX4" fmla="*/ 39079 w 1748372"/>
              <a:gd name="connsiteY4" fmla="*/ 499237 h 499237"/>
              <a:gd name="connsiteX0" fmla="*/ 95196 w 1748372"/>
              <a:gd name="connsiteY0" fmla="*/ 451841 h 451841"/>
              <a:gd name="connsiteX1" fmla="*/ 1748372 w 1748372"/>
              <a:gd name="connsiteY1" fmla="*/ 296562 h 451841"/>
              <a:gd name="connsiteX2" fmla="*/ 1723965 w 1748372"/>
              <a:gd name="connsiteY2" fmla="*/ 0 h 451841"/>
              <a:gd name="connsiteX3" fmla="*/ 0 w 1748372"/>
              <a:gd name="connsiteY3" fmla="*/ 108534 h 451841"/>
              <a:gd name="connsiteX4" fmla="*/ 95196 w 1748372"/>
              <a:gd name="connsiteY4" fmla="*/ 451841 h 451841"/>
              <a:gd name="connsiteX0" fmla="*/ 95196 w 1723965"/>
              <a:gd name="connsiteY0" fmla="*/ 451841 h 451841"/>
              <a:gd name="connsiteX1" fmla="*/ 1713299 w 1723965"/>
              <a:gd name="connsiteY1" fmla="*/ 315520 h 451841"/>
              <a:gd name="connsiteX2" fmla="*/ 1723965 w 1723965"/>
              <a:gd name="connsiteY2" fmla="*/ 0 h 451841"/>
              <a:gd name="connsiteX3" fmla="*/ 0 w 1723965"/>
              <a:gd name="connsiteY3" fmla="*/ 108534 h 451841"/>
              <a:gd name="connsiteX4" fmla="*/ 95196 w 1723965"/>
              <a:gd name="connsiteY4" fmla="*/ 451841 h 451841"/>
              <a:gd name="connsiteX0" fmla="*/ 95196 w 1713299"/>
              <a:gd name="connsiteY0" fmla="*/ 455001 h 455001"/>
              <a:gd name="connsiteX1" fmla="*/ 1713299 w 1713299"/>
              <a:gd name="connsiteY1" fmla="*/ 318680 h 455001"/>
              <a:gd name="connsiteX2" fmla="*/ 1667848 w 1713299"/>
              <a:gd name="connsiteY2" fmla="*/ 0 h 455001"/>
              <a:gd name="connsiteX3" fmla="*/ 0 w 1713299"/>
              <a:gd name="connsiteY3" fmla="*/ 111694 h 455001"/>
              <a:gd name="connsiteX4" fmla="*/ 95196 w 1713299"/>
              <a:gd name="connsiteY4" fmla="*/ 455001 h 455001"/>
              <a:gd name="connsiteX0" fmla="*/ 67137 w 1685240"/>
              <a:gd name="connsiteY0" fmla="*/ 455001 h 455001"/>
              <a:gd name="connsiteX1" fmla="*/ 1685240 w 1685240"/>
              <a:gd name="connsiteY1" fmla="*/ 318680 h 455001"/>
              <a:gd name="connsiteX2" fmla="*/ 1639789 w 1685240"/>
              <a:gd name="connsiteY2" fmla="*/ 0 h 455001"/>
              <a:gd name="connsiteX3" fmla="*/ 0 w 1685240"/>
              <a:gd name="connsiteY3" fmla="*/ 130652 h 455001"/>
              <a:gd name="connsiteX4" fmla="*/ 67137 w 1685240"/>
              <a:gd name="connsiteY4" fmla="*/ 455001 h 455001"/>
              <a:gd name="connsiteX0" fmla="*/ 67137 w 1667473"/>
              <a:gd name="connsiteY0" fmla="*/ 455001 h 455001"/>
              <a:gd name="connsiteX1" fmla="*/ 1667473 w 1667473"/>
              <a:gd name="connsiteY1" fmla="*/ 242054 h 455001"/>
              <a:gd name="connsiteX2" fmla="*/ 1639789 w 1667473"/>
              <a:gd name="connsiteY2" fmla="*/ 0 h 455001"/>
              <a:gd name="connsiteX3" fmla="*/ 0 w 1667473"/>
              <a:gd name="connsiteY3" fmla="*/ 130652 h 455001"/>
              <a:gd name="connsiteX4" fmla="*/ 67137 w 1667473"/>
              <a:gd name="connsiteY4" fmla="*/ 455001 h 455001"/>
              <a:gd name="connsiteX0" fmla="*/ 100217 w 1700553"/>
              <a:gd name="connsiteY0" fmla="*/ 455001 h 455001"/>
              <a:gd name="connsiteX1" fmla="*/ 1700553 w 1700553"/>
              <a:gd name="connsiteY1" fmla="*/ 242054 h 455001"/>
              <a:gd name="connsiteX2" fmla="*/ 1672869 w 1700553"/>
              <a:gd name="connsiteY2" fmla="*/ 0 h 455001"/>
              <a:gd name="connsiteX3" fmla="*/ 0 w 1700553"/>
              <a:gd name="connsiteY3" fmla="*/ 205540 h 455001"/>
              <a:gd name="connsiteX4" fmla="*/ 100217 w 1700553"/>
              <a:gd name="connsiteY4" fmla="*/ 455001 h 455001"/>
              <a:gd name="connsiteX0" fmla="*/ 100217 w 1700553"/>
              <a:gd name="connsiteY0" fmla="*/ 366878 h 366878"/>
              <a:gd name="connsiteX1" fmla="*/ 1700553 w 1700553"/>
              <a:gd name="connsiteY1" fmla="*/ 153931 h 366878"/>
              <a:gd name="connsiteX2" fmla="*/ 1588975 w 1700553"/>
              <a:gd name="connsiteY2" fmla="*/ 0 h 366878"/>
              <a:gd name="connsiteX3" fmla="*/ 0 w 1700553"/>
              <a:gd name="connsiteY3" fmla="*/ 117417 h 366878"/>
              <a:gd name="connsiteX4" fmla="*/ 100217 w 1700553"/>
              <a:gd name="connsiteY4" fmla="*/ 366878 h 366878"/>
              <a:gd name="connsiteX0" fmla="*/ 115726 w 1700553"/>
              <a:gd name="connsiteY0" fmla="*/ 305211 h 305211"/>
              <a:gd name="connsiteX1" fmla="*/ 1700553 w 1700553"/>
              <a:gd name="connsiteY1" fmla="*/ 153931 h 305211"/>
              <a:gd name="connsiteX2" fmla="*/ 1588975 w 1700553"/>
              <a:gd name="connsiteY2" fmla="*/ 0 h 305211"/>
              <a:gd name="connsiteX3" fmla="*/ 0 w 1700553"/>
              <a:gd name="connsiteY3" fmla="*/ 117417 h 305211"/>
              <a:gd name="connsiteX4" fmla="*/ 115726 w 1700553"/>
              <a:gd name="connsiteY4" fmla="*/ 305211 h 305211"/>
              <a:gd name="connsiteX0" fmla="*/ 115726 w 1700553"/>
              <a:gd name="connsiteY0" fmla="*/ 321895 h 321895"/>
              <a:gd name="connsiteX1" fmla="*/ 1700553 w 1700553"/>
              <a:gd name="connsiteY1" fmla="*/ 170615 h 321895"/>
              <a:gd name="connsiteX2" fmla="*/ 1471607 w 1700553"/>
              <a:gd name="connsiteY2" fmla="*/ 0 h 321895"/>
              <a:gd name="connsiteX3" fmla="*/ 0 w 1700553"/>
              <a:gd name="connsiteY3" fmla="*/ 134101 h 321895"/>
              <a:gd name="connsiteX4" fmla="*/ 115726 w 1700553"/>
              <a:gd name="connsiteY4" fmla="*/ 321895 h 321895"/>
              <a:gd name="connsiteX0" fmla="*/ 115726 w 1581352"/>
              <a:gd name="connsiteY0" fmla="*/ 321895 h 321895"/>
              <a:gd name="connsiteX1" fmla="*/ 1581352 w 1581352"/>
              <a:gd name="connsiteY1" fmla="*/ 210307 h 321895"/>
              <a:gd name="connsiteX2" fmla="*/ 1471607 w 1581352"/>
              <a:gd name="connsiteY2" fmla="*/ 0 h 321895"/>
              <a:gd name="connsiteX3" fmla="*/ 0 w 1581352"/>
              <a:gd name="connsiteY3" fmla="*/ 134101 h 321895"/>
              <a:gd name="connsiteX4" fmla="*/ 115726 w 1581352"/>
              <a:gd name="connsiteY4" fmla="*/ 321895 h 321895"/>
              <a:gd name="connsiteX0" fmla="*/ 92298 w 1557924"/>
              <a:gd name="connsiteY0" fmla="*/ 321895 h 321895"/>
              <a:gd name="connsiteX1" fmla="*/ 1557924 w 1557924"/>
              <a:gd name="connsiteY1" fmla="*/ 210307 h 321895"/>
              <a:gd name="connsiteX2" fmla="*/ 1448179 w 1557924"/>
              <a:gd name="connsiteY2" fmla="*/ 0 h 321895"/>
              <a:gd name="connsiteX3" fmla="*/ 0 w 1557924"/>
              <a:gd name="connsiteY3" fmla="*/ 116473 h 321895"/>
              <a:gd name="connsiteX4" fmla="*/ 92298 w 1557924"/>
              <a:gd name="connsiteY4" fmla="*/ 321895 h 321895"/>
              <a:gd name="connsiteX0" fmla="*/ 152961 w 1557924"/>
              <a:gd name="connsiteY0" fmla="*/ 341247 h 341247"/>
              <a:gd name="connsiteX1" fmla="*/ 1557924 w 1557924"/>
              <a:gd name="connsiteY1" fmla="*/ 210307 h 341247"/>
              <a:gd name="connsiteX2" fmla="*/ 1448179 w 1557924"/>
              <a:gd name="connsiteY2" fmla="*/ 0 h 341247"/>
              <a:gd name="connsiteX3" fmla="*/ 0 w 1557924"/>
              <a:gd name="connsiteY3" fmla="*/ 116473 h 341247"/>
              <a:gd name="connsiteX4" fmla="*/ 152961 w 1557924"/>
              <a:gd name="connsiteY4" fmla="*/ 341247 h 341247"/>
              <a:gd name="connsiteX0" fmla="*/ 135357 w 1557924"/>
              <a:gd name="connsiteY0" fmla="*/ 339493 h 339493"/>
              <a:gd name="connsiteX1" fmla="*/ 1557924 w 1557924"/>
              <a:gd name="connsiteY1" fmla="*/ 210307 h 339493"/>
              <a:gd name="connsiteX2" fmla="*/ 1448179 w 1557924"/>
              <a:gd name="connsiteY2" fmla="*/ 0 h 339493"/>
              <a:gd name="connsiteX3" fmla="*/ 0 w 1557924"/>
              <a:gd name="connsiteY3" fmla="*/ 116473 h 339493"/>
              <a:gd name="connsiteX4" fmla="*/ 135357 w 1557924"/>
              <a:gd name="connsiteY4" fmla="*/ 339493 h 339493"/>
              <a:gd name="connsiteX0" fmla="*/ 109934 w 1532501"/>
              <a:gd name="connsiteY0" fmla="*/ 339493 h 339493"/>
              <a:gd name="connsiteX1" fmla="*/ 1532501 w 1532501"/>
              <a:gd name="connsiteY1" fmla="*/ 210307 h 339493"/>
              <a:gd name="connsiteX2" fmla="*/ 1422756 w 1532501"/>
              <a:gd name="connsiteY2" fmla="*/ 0 h 339493"/>
              <a:gd name="connsiteX3" fmla="*/ 0 w 1532501"/>
              <a:gd name="connsiteY3" fmla="*/ 117343 h 339493"/>
              <a:gd name="connsiteX4" fmla="*/ 109934 w 1532501"/>
              <a:gd name="connsiteY4" fmla="*/ 339493 h 339493"/>
              <a:gd name="connsiteX0" fmla="*/ 133525 w 1556092"/>
              <a:gd name="connsiteY0" fmla="*/ 339493 h 339493"/>
              <a:gd name="connsiteX1" fmla="*/ 1556092 w 1556092"/>
              <a:gd name="connsiteY1" fmla="*/ 210307 h 339493"/>
              <a:gd name="connsiteX2" fmla="*/ 1446347 w 1556092"/>
              <a:gd name="connsiteY2" fmla="*/ 0 h 339493"/>
              <a:gd name="connsiteX3" fmla="*/ 0 w 1556092"/>
              <a:gd name="connsiteY3" fmla="*/ 60098 h 339493"/>
              <a:gd name="connsiteX4" fmla="*/ 133525 w 1556092"/>
              <a:gd name="connsiteY4" fmla="*/ 339493 h 339493"/>
              <a:gd name="connsiteX0" fmla="*/ 133525 w 2343667"/>
              <a:gd name="connsiteY0" fmla="*/ 459688 h 459688"/>
              <a:gd name="connsiteX1" fmla="*/ 1556092 w 2343667"/>
              <a:gd name="connsiteY1" fmla="*/ 330502 h 459688"/>
              <a:gd name="connsiteX2" fmla="*/ 2343667 w 2343667"/>
              <a:gd name="connsiteY2" fmla="*/ 0 h 459688"/>
              <a:gd name="connsiteX3" fmla="*/ 0 w 2343667"/>
              <a:gd name="connsiteY3" fmla="*/ 180293 h 459688"/>
              <a:gd name="connsiteX4" fmla="*/ 133525 w 2343667"/>
              <a:gd name="connsiteY4" fmla="*/ 459688 h 459688"/>
              <a:gd name="connsiteX0" fmla="*/ 133525 w 2391079"/>
              <a:gd name="connsiteY0" fmla="*/ 459688 h 459688"/>
              <a:gd name="connsiteX1" fmla="*/ 2391079 w 2391079"/>
              <a:gd name="connsiteY1" fmla="*/ 322204 h 459688"/>
              <a:gd name="connsiteX2" fmla="*/ 2343667 w 2391079"/>
              <a:gd name="connsiteY2" fmla="*/ 0 h 459688"/>
              <a:gd name="connsiteX3" fmla="*/ 0 w 2391079"/>
              <a:gd name="connsiteY3" fmla="*/ 180293 h 459688"/>
              <a:gd name="connsiteX4" fmla="*/ 133525 w 2391079"/>
              <a:gd name="connsiteY4" fmla="*/ 459688 h 459688"/>
              <a:gd name="connsiteX0" fmla="*/ 159047 w 2391079"/>
              <a:gd name="connsiteY0" fmla="*/ 505482 h 505482"/>
              <a:gd name="connsiteX1" fmla="*/ 2391079 w 2391079"/>
              <a:gd name="connsiteY1" fmla="*/ 322204 h 505482"/>
              <a:gd name="connsiteX2" fmla="*/ 2343667 w 2391079"/>
              <a:gd name="connsiteY2" fmla="*/ 0 h 505482"/>
              <a:gd name="connsiteX3" fmla="*/ 0 w 2391079"/>
              <a:gd name="connsiteY3" fmla="*/ 180293 h 505482"/>
              <a:gd name="connsiteX4" fmla="*/ 159047 w 2391079"/>
              <a:gd name="connsiteY4" fmla="*/ 505482 h 505482"/>
              <a:gd name="connsiteX0" fmla="*/ 159047 w 2391079"/>
              <a:gd name="connsiteY0" fmla="*/ 518659 h 518659"/>
              <a:gd name="connsiteX1" fmla="*/ 2391079 w 2391079"/>
              <a:gd name="connsiteY1" fmla="*/ 335381 h 518659"/>
              <a:gd name="connsiteX2" fmla="*/ 2261507 w 2391079"/>
              <a:gd name="connsiteY2" fmla="*/ 0 h 518659"/>
              <a:gd name="connsiteX3" fmla="*/ 0 w 2391079"/>
              <a:gd name="connsiteY3" fmla="*/ 193470 h 518659"/>
              <a:gd name="connsiteX4" fmla="*/ 159047 w 2391079"/>
              <a:gd name="connsiteY4" fmla="*/ 518659 h 518659"/>
              <a:gd name="connsiteX0" fmla="*/ 159047 w 2513813"/>
              <a:gd name="connsiteY0" fmla="*/ 498511 h 498511"/>
              <a:gd name="connsiteX1" fmla="*/ 2391079 w 2513813"/>
              <a:gd name="connsiteY1" fmla="*/ 315233 h 498511"/>
              <a:gd name="connsiteX2" fmla="*/ 2513813 w 2513813"/>
              <a:gd name="connsiteY2" fmla="*/ 0 h 498511"/>
              <a:gd name="connsiteX3" fmla="*/ 0 w 2513813"/>
              <a:gd name="connsiteY3" fmla="*/ 173322 h 498511"/>
              <a:gd name="connsiteX4" fmla="*/ 159047 w 2513813"/>
              <a:gd name="connsiteY4" fmla="*/ 498511 h 498511"/>
              <a:gd name="connsiteX0" fmla="*/ 159047 w 2547383"/>
              <a:gd name="connsiteY0" fmla="*/ 498511 h 498511"/>
              <a:gd name="connsiteX1" fmla="*/ 2547383 w 2547383"/>
              <a:gd name="connsiteY1" fmla="*/ 252623 h 498511"/>
              <a:gd name="connsiteX2" fmla="*/ 2513813 w 2547383"/>
              <a:gd name="connsiteY2" fmla="*/ 0 h 498511"/>
              <a:gd name="connsiteX3" fmla="*/ 0 w 2547383"/>
              <a:gd name="connsiteY3" fmla="*/ 173322 h 498511"/>
              <a:gd name="connsiteX4" fmla="*/ 159047 w 2547383"/>
              <a:gd name="connsiteY4" fmla="*/ 498511 h 498511"/>
              <a:gd name="connsiteX0" fmla="*/ 164772 w 2553108"/>
              <a:gd name="connsiteY0" fmla="*/ 498511 h 498511"/>
              <a:gd name="connsiteX1" fmla="*/ 2553108 w 2553108"/>
              <a:gd name="connsiteY1" fmla="*/ 252623 h 498511"/>
              <a:gd name="connsiteX2" fmla="*/ 2519538 w 2553108"/>
              <a:gd name="connsiteY2" fmla="*/ 0 h 498511"/>
              <a:gd name="connsiteX3" fmla="*/ 0 w 2553108"/>
              <a:gd name="connsiteY3" fmla="*/ 237627 h 498511"/>
              <a:gd name="connsiteX4" fmla="*/ 164772 w 2553108"/>
              <a:gd name="connsiteY4" fmla="*/ 498511 h 498511"/>
              <a:gd name="connsiteX0" fmla="*/ 102113 w 2553108"/>
              <a:gd name="connsiteY0" fmla="*/ 460662 h 460662"/>
              <a:gd name="connsiteX1" fmla="*/ 2553108 w 2553108"/>
              <a:gd name="connsiteY1" fmla="*/ 252623 h 460662"/>
              <a:gd name="connsiteX2" fmla="*/ 2519538 w 2553108"/>
              <a:gd name="connsiteY2" fmla="*/ 0 h 460662"/>
              <a:gd name="connsiteX3" fmla="*/ 0 w 2553108"/>
              <a:gd name="connsiteY3" fmla="*/ 237627 h 460662"/>
              <a:gd name="connsiteX4" fmla="*/ 102113 w 2553108"/>
              <a:gd name="connsiteY4" fmla="*/ 460662 h 460662"/>
              <a:gd name="connsiteX0" fmla="*/ 102113 w 2553108"/>
              <a:gd name="connsiteY0" fmla="*/ 424537 h 424537"/>
              <a:gd name="connsiteX1" fmla="*/ 2553108 w 2553108"/>
              <a:gd name="connsiteY1" fmla="*/ 216498 h 424537"/>
              <a:gd name="connsiteX2" fmla="*/ 2498106 w 2553108"/>
              <a:gd name="connsiteY2" fmla="*/ 0 h 424537"/>
              <a:gd name="connsiteX3" fmla="*/ 0 w 2553108"/>
              <a:gd name="connsiteY3" fmla="*/ 201502 h 424537"/>
              <a:gd name="connsiteX4" fmla="*/ 102113 w 2553108"/>
              <a:gd name="connsiteY4" fmla="*/ 424537 h 424537"/>
              <a:gd name="connsiteX0" fmla="*/ 90333 w 2553108"/>
              <a:gd name="connsiteY0" fmla="*/ 403402 h 403402"/>
              <a:gd name="connsiteX1" fmla="*/ 2553108 w 2553108"/>
              <a:gd name="connsiteY1" fmla="*/ 216498 h 403402"/>
              <a:gd name="connsiteX2" fmla="*/ 2498106 w 2553108"/>
              <a:gd name="connsiteY2" fmla="*/ 0 h 403402"/>
              <a:gd name="connsiteX3" fmla="*/ 0 w 2553108"/>
              <a:gd name="connsiteY3" fmla="*/ 201502 h 403402"/>
              <a:gd name="connsiteX4" fmla="*/ 90333 w 2553108"/>
              <a:gd name="connsiteY4" fmla="*/ 403402 h 403402"/>
              <a:gd name="connsiteX0" fmla="*/ 60951 w 2523726"/>
              <a:gd name="connsiteY0" fmla="*/ 403402 h 403402"/>
              <a:gd name="connsiteX1" fmla="*/ 2523726 w 2523726"/>
              <a:gd name="connsiteY1" fmla="*/ 216498 h 403402"/>
              <a:gd name="connsiteX2" fmla="*/ 2468724 w 2523726"/>
              <a:gd name="connsiteY2" fmla="*/ 0 h 403402"/>
              <a:gd name="connsiteX3" fmla="*/ 0 w 2523726"/>
              <a:gd name="connsiteY3" fmla="*/ 224392 h 403402"/>
              <a:gd name="connsiteX4" fmla="*/ 60951 w 2523726"/>
              <a:gd name="connsiteY4" fmla="*/ 403402 h 40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3726" h="403402">
                <a:moveTo>
                  <a:pt x="60951" y="403402"/>
                </a:moveTo>
                <a:lnTo>
                  <a:pt x="2523726" y="216498"/>
                </a:lnTo>
                <a:lnTo>
                  <a:pt x="2468724" y="0"/>
                </a:lnTo>
                <a:lnTo>
                  <a:pt x="0" y="224392"/>
                </a:lnTo>
                <a:lnTo>
                  <a:pt x="60951" y="403402"/>
                </a:lnTo>
                <a:close/>
              </a:path>
            </a:pathLst>
          </a:custGeom>
          <a:solidFill>
            <a:schemeClr val="bg1"/>
          </a:solidFill>
          <a:ln>
            <a:noFill/>
          </a:ln>
          <a:effectLst>
            <a:outerShdw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solidFill>
                <a:schemeClr val="accent4"/>
              </a:solidFill>
            </a:endParaRPr>
          </a:p>
        </p:txBody>
      </p:sp>
      <p:sp>
        <p:nvSpPr>
          <p:cNvPr id="12" name="TextBox 9">
            <a:extLst>
              <a:ext uri="{FF2B5EF4-FFF2-40B4-BE49-F238E27FC236}">
                <a16:creationId xmlns:a16="http://schemas.microsoft.com/office/drawing/2014/main" id="{C3944AA2-7FD8-4EED-A32C-A9F6411C21EC}"/>
              </a:ext>
            </a:extLst>
          </p:cNvPr>
          <p:cNvSpPr txBox="1">
            <a:spLocks noChangeArrowheads="1"/>
          </p:cNvSpPr>
          <p:nvPr/>
        </p:nvSpPr>
        <p:spPr bwMode="auto">
          <a:xfrm>
            <a:off x="224576" y="678307"/>
            <a:ext cx="2485989" cy="369332"/>
          </a:xfrm>
          <a:prstGeom prst="rect">
            <a:avLst/>
          </a:prstGeom>
          <a:noFill/>
          <a:ln w="9525">
            <a:noFill/>
            <a:miter lim="800000"/>
            <a:headEnd/>
            <a:tailEnd/>
          </a:ln>
          <a:effectLst/>
        </p:spPr>
        <p:txBody>
          <a:bodyPr wrap="square" lIns="0">
            <a:spAutoFit/>
          </a:bodyPr>
          <a:lstStyle/>
          <a:p>
            <a:pPr marL="3174">
              <a:lnSpc>
                <a:spcPct val="90000"/>
              </a:lnSpc>
              <a:spcBef>
                <a:spcPts val="1200"/>
              </a:spcBef>
              <a:buClr>
                <a:srgbClr val="5C5C5C"/>
              </a:buClr>
              <a:buSzPct val="80000"/>
            </a:pPr>
            <a:r>
              <a:rPr lang="nl-BE" sz="2000" b="1" dirty="0">
                <a:solidFill>
                  <a:srgbClr val="FFC000"/>
                </a:solidFill>
                <a:latin typeface="Amaranth" panose="02000503000000020004" pitchFamily="50" charset="0"/>
                <a:cs typeface="Arial" panose="020B0604020202020204" pitchFamily="34" charset="0"/>
              </a:rPr>
              <a:t>Software</a:t>
            </a:r>
          </a:p>
        </p:txBody>
      </p:sp>
      <p:pic>
        <p:nvPicPr>
          <p:cNvPr id="17" name="Afbeelding 16">
            <a:extLst>
              <a:ext uri="{FF2B5EF4-FFF2-40B4-BE49-F238E27FC236}">
                <a16:creationId xmlns:a16="http://schemas.microsoft.com/office/drawing/2014/main" id="{CC74526C-91E5-4356-9F09-02B38EF18E16}"/>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1241707" y="6052930"/>
            <a:ext cx="661508" cy="556592"/>
          </a:xfrm>
          <a:prstGeom prst="rect">
            <a:avLst/>
          </a:prstGeom>
        </p:spPr>
      </p:pic>
      <p:sp>
        <p:nvSpPr>
          <p:cNvPr id="7" name="Rechthoek 6">
            <a:extLst>
              <a:ext uri="{FF2B5EF4-FFF2-40B4-BE49-F238E27FC236}">
                <a16:creationId xmlns:a16="http://schemas.microsoft.com/office/drawing/2014/main" id="{78D2B217-536D-4ADA-B8B2-B324706501FE}"/>
              </a:ext>
            </a:extLst>
          </p:cNvPr>
          <p:cNvSpPr/>
          <p:nvPr/>
        </p:nvSpPr>
        <p:spPr>
          <a:xfrm>
            <a:off x="6096000" y="2359611"/>
            <a:ext cx="5625077" cy="2123658"/>
          </a:xfrm>
          <a:prstGeom prst="rect">
            <a:avLst/>
          </a:prstGeom>
        </p:spPr>
        <p:txBody>
          <a:bodyPr wrap="square">
            <a:spAutoFit/>
          </a:bodyPr>
          <a:lstStyle/>
          <a:p>
            <a:r>
              <a:rPr lang="nl-NL" sz="2400" b="1" dirty="0">
                <a:solidFill>
                  <a:schemeClr val="bg1"/>
                </a:solidFill>
              </a:rPr>
              <a:t>Routespel: </a:t>
            </a:r>
            <a:r>
              <a:rPr lang="nl-NL" sz="2400" b="1" dirty="0" err="1">
                <a:solidFill>
                  <a:schemeClr val="bg1"/>
                </a:solidFill>
              </a:rPr>
              <a:t>computational</a:t>
            </a:r>
            <a:r>
              <a:rPr lang="nl-NL" sz="2400" b="1" dirty="0">
                <a:solidFill>
                  <a:schemeClr val="bg1"/>
                </a:solidFill>
              </a:rPr>
              <a:t> thinking</a:t>
            </a:r>
          </a:p>
          <a:p>
            <a:endParaRPr lang="nl-NL" dirty="0">
              <a:solidFill>
                <a:schemeClr val="bg1"/>
              </a:solidFill>
            </a:endParaRPr>
          </a:p>
          <a:p>
            <a:endParaRPr lang="nl-NL" dirty="0">
              <a:solidFill>
                <a:schemeClr val="bg1"/>
              </a:solidFill>
            </a:endParaRPr>
          </a:p>
          <a:p>
            <a:r>
              <a:rPr lang="nl-NL" dirty="0">
                <a:solidFill>
                  <a:schemeClr val="bg1"/>
                </a:solidFill>
              </a:rPr>
              <a:t>De leerling kiest uit de pijlen en ‘programmeert’ zo een route naar oma, </a:t>
            </a:r>
            <a:r>
              <a:rPr lang="nl-NL" dirty="0" err="1">
                <a:solidFill>
                  <a:schemeClr val="bg1"/>
                </a:solidFill>
              </a:rPr>
              <a:t>Loeloe</a:t>
            </a:r>
            <a:r>
              <a:rPr lang="nl-NL" dirty="0">
                <a:solidFill>
                  <a:schemeClr val="bg1"/>
                </a:solidFill>
              </a:rPr>
              <a:t> of Snoes</a:t>
            </a:r>
          </a:p>
          <a:p>
            <a:endParaRPr lang="nl-NL" dirty="0">
              <a:solidFill>
                <a:schemeClr val="bg1"/>
              </a:solidFill>
            </a:endParaRPr>
          </a:p>
          <a:p>
            <a:endParaRPr lang="nl-NL" dirty="0">
              <a:solidFill>
                <a:schemeClr val="bg1"/>
              </a:solidFill>
            </a:endParaRPr>
          </a:p>
        </p:txBody>
      </p:sp>
      <p:pic>
        <p:nvPicPr>
          <p:cNvPr id="2" name="Afbeelding 1">
            <a:extLst>
              <a:ext uri="{FF2B5EF4-FFF2-40B4-BE49-F238E27FC236}">
                <a16:creationId xmlns:a16="http://schemas.microsoft.com/office/drawing/2014/main" id="{7C5308CA-C637-4A3D-A583-3667FCBCEF02}"/>
              </a:ext>
            </a:extLst>
          </p:cNvPr>
          <p:cNvPicPr>
            <a:picLocks noChangeAspect="1"/>
          </p:cNvPicPr>
          <p:nvPr/>
        </p:nvPicPr>
        <p:blipFill>
          <a:blip r:embed="rId8"/>
          <a:stretch>
            <a:fillRect/>
          </a:stretch>
        </p:blipFill>
        <p:spPr>
          <a:xfrm>
            <a:off x="224576" y="2074909"/>
            <a:ext cx="5249111" cy="3523793"/>
          </a:xfrm>
          <a:prstGeom prst="rect">
            <a:avLst/>
          </a:prstGeom>
        </p:spPr>
      </p:pic>
    </p:spTree>
    <p:extLst>
      <p:ext uri="{BB962C8B-B14F-4D97-AF65-F5344CB8AC3E}">
        <p14:creationId xmlns:p14="http://schemas.microsoft.com/office/powerpoint/2010/main" val="34947307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hoek 12">
            <a:extLst>
              <a:ext uri="{FF2B5EF4-FFF2-40B4-BE49-F238E27FC236}">
                <a16:creationId xmlns:a16="http://schemas.microsoft.com/office/drawing/2014/main" id="{CECEAB52-2BFE-4DB7-83D8-2B3EABF14D7F}"/>
              </a:ext>
            </a:extLst>
          </p:cNvPr>
          <p:cNvSpPr/>
          <p:nvPr/>
        </p:nvSpPr>
        <p:spPr>
          <a:xfrm>
            <a:off x="36308" y="1722199"/>
            <a:ext cx="12192000" cy="4453958"/>
          </a:xfrm>
          <a:prstGeom prst="rect">
            <a:avLst/>
          </a:prstGeom>
          <a:solidFill>
            <a:srgbClr val="FFC00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09" name="think-cell Slide" r:id="rId5" imgW="353" imgH="353" progId="TCLayout.ActiveDocument.1">
                  <p:embed/>
                </p:oleObj>
              </mc:Choice>
              <mc:Fallback>
                <p:oleObj name="think-cell Slide" r:id="rId5" imgW="353" imgH="353"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extBox 14"/>
          <p:cNvSpPr txBox="1"/>
          <p:nvPr/>
        </p:nvSpPr>
        <p:spPr>
          <a:xfrm>
            <a:off x="5819286" y="601863"/>
            <a:ext cx="6178503" cy="646331"/>
          </a:xfrm>
          <a:prstGeom prst="rect">
            <a:avLst/>
          </a:prstGeom>
          <a:noFill/>
        </p:spPr>
        <p:txBody>
          <a:bodyPr wrap="square" rtlCol="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tab pos="1971675" algn="l"/>
              </a:tabLst>
              <a:defRPr/>
            </a:pPr>
            <a:r>
              <a:rPr kumimoji="0" lang="nl-BE" sz="4000" b="0" i="0" u="none" strike="noStrike" kern="1200" cap="none" spc="0" normalizeH="0" baseline="0" noProof="0" dirty="0">
                <a:ln>
                  <a:noFill/>
                </a:ln>
                <a:solidFill>
                  <a:srgbClr val="FFC000"/>
                </a:solidFill>
                <a:effectLst/>
                <a:uLnTx/>
                <a:uFillTx/>
                <a:latin typeface="Amaranth" panose="02000503000000020004" pitchFamily="50" charset="0"/>
                <a:ea typeface="+mn-ea"/>
                <a:cs typeface="Arial" panose="020B0604020202020204" pitchFamily="34" charset="0"/>
              </a:rPr>
              <a:t>Leerlingsoftware: reken</a:t>
            </a:r>
            <a:r>
              <a:rPr lang="nl-BE" sz="4000" dirty="0">
                <a:solidFill>
                  <a:srgbClr val="FFC000"/>
                </a:solidFill>
                <a:latin typeface="Amaranth" panose="02000503000000020004" pitchFamily="50" charset="0"/>
                <a:cs typeface="Arial" panose="020B0604020202020204" pitchFamily="34" charset="0"/>
              </a:rPr>
              <a:t>spel</a:t>
            </a:r>
            <a:endParaRPr kumimoji="0" lang="nl-BE" sz="4000" b="0" i="0" u="none" strike="noStrike" kern="1200" cap="none" spc="0" normalizeH="0" baseline="0" noProof="0" dirty="0">
              <a:ln>
                <a:noFill/>
              </a:ln>
              <a:solidFill>
                <a:srgbClr val="FFC000"/>
              </a:solidFill>
              <a:effectLst/>
              <a:uLnTx/>
              <a:uFillTx/>
              <a:latin typeface="Amaranth" panose="02000503000000020004" pitchFamily="50" charset="0"/>
              <a:ea typeface="+mn-ea"/>
              <a:cs typeface="Arial" panose="020B0604020202020204" pitchFamily="34" charset="0"/>
            </a:endParaRPr>
          </a:p>
        </p:txBody>
      </p:sp>
      <p:sp>
        <p:nvSpPr>
          <p:cNvPr id="20" name="TextBox 9">
            <a:extLst>
              <a:ext uri="{FF2B5EF4-FFF2-40B4-BE49-F238E27FC236}">
                <a16:creationId xmlns:a16="http://schemas.microsoft.com/office/drawing/2014/main" id="{C7AA8425-6DE2-48BD-9D9B-550BF08EB454}"/>
              </a:ext>
            </a:extLst>
          </p:cNvPr>
          <p:cNvSpPr txBox="1">
            <a:spLocks noChangeArrowheads="1"/>
          </p:cNvSpPr>
          <p:nvPr/>
        </p:nvSpPr>
        <p:spPr bwMode="auto">
          <a:xfrm>
            <a:off x="414395" y="682432"/>
            <a:ext cx="1429916" cy="369332"/>
          </a:xfrm>
          <a:prstGeom prst="rect">
            <a:avLst/>
          </a:prstGeom>
          <a:noFill/>
          <a:ln w="9525">
            <a:noFill/>
            <a:miter lim="800000"/>
            <a:headEnd/>
            <a:tailEnd/>
          </a:ln>
        </p:spPr>
        <p:txBody>
          <a:bodyPr wrap="square" lIns="0">
            <a:spAutoFit/>
          </a:bodyPr>
          <a:lstStyle/>
          <a:p>
            <a:pPr marL="3174" marR="0" lvl="0" indent="0" algn="l" defTabSz="914400" rtl="0" eaLnBrk="1" fontAlgn="auto" latinLnBrk="0" hangingPunct="1">
              <a:lnSpc>
                <a:spcPct val="90000"/>
              </a:lnSpc>
              <a:spcBef>
                <a:spcPts val="1200"/>
              </a:spcBef>
              <a:spcAft>
                <a:spcPts val="0"/>
              </a:spcAft>
              <a:buClr>
                <a:srgbClr val="5C5C5C"/>
              </a:buClr>
              <a:buSzPct val="80000"/>
              <a:buFontTx/>
              <a:buNone/>
              <a:tabLst/>
              <a:defRPr/>
            </a:pPr>
            <a:r>
              <a:rPr kumimoji="0" lang="nl-BE" sz="2000" b="1" i="0" u="none" strike="noStrike" kern="1200" cap="none" spc="0" normalizeH="0" baseline="0" noProof="0" dirty="0">
                <a:ln>
                  <a:noFill/>
                </a:ln>
                <a:solidFill>
                  <a:prstClr val="white"/>
                </a:solidFill>
                <a:effectLst/>
                <a:uLnTx/>
                <a:uFillTx/>
                <a:latin typeface="Amaranth" panose="02000503000000020004" pitchFamily="50" charset="0"/>
                <a:ea typeface="+mn-ea"/>
                <a:cs typeface="Arial" panose="020B0604020202020204" pitchFamily="34" charset="0"/>
              </a:rPr>
              <a:t>Software</a:t>
            </a:r>
          </a:p>
        </p:txBody>
      </p:sp>
      <p:sp>
        <p:nvSpPr>
          <p:cNvPr id="10" name="Freeform 41">
            <a:extLst>
              <a:ext uri="{FF2B5EF4-FFF2-40B4-BE49-F238E27FC236}">
                <a16:creationId xmlns:a16="http://schemas.microsoft.com/office/drawing/2014/main" id="{19C4BFF1-338F-4238-B984-12D30DA19C04}"/>
              </a:ext>
            </a:extLst>
          </p:cNvPr>
          <p:cNvSpPr/>
          <p:nvPr/>
        </p:nvSpPr>
        <p:spPr>
          <a:xfrm rot="845560">
            <a:off x="-82083" y="352836"/>
            <a:ext cx="2164079" cy="1020274"/>
          </a:xfrm>
          <a:custGeom>
            <a:avLst/>
            <a:gdLst>
              <a:gd name="connsiteX0" fmla="*/ 45720 w 1267097"/>
              <a:gd name="connsiteY0" fmla="*/ 378823 h 378823"/>
              <a:gd name="connsiteX1" fmla="*/ 1267097 w 1267097"/>
              <a:gd name="connsiteY1" fmla="*/ 182880 h 378823"/>
              <a:gd name="connsiteX2" fmla="*/ 1267097 w 1267097"/>
              <a:gd name="connsiteY2" fmla="*/ 0 h 378823"/>
              <a:gd name="connsiteX3" fmla="*/ 0 w 1267097"/>
              <a:gd name="connsiteY3" fmla="*/ 189412 h 378823"/>
              <a:gd name="connsiteX4" fmla="*/ 45720 w 1267097"/>
              <a:gd name="connsiteY4" fmla="*/ 378823 h 378823"/>
              <a:gd name="connsiteX0" fmla="*/ 71845 w 1293222"/>
              <a:gd name="connsiteY0" fmla="*/ 378823 h 378823"/>
              <a:gd name="connsiteX1" fmla="*/ 1293222 w 1293222"/>
              <a:gd name="connsiteY1" fmla="*/ 182880 h 378823"/>
              <a:gd name="connsiteX2" fmla="*/ 1293222 w 1293222"/>
              <a:gd name="connsiteY2" fmla="*/ 0 h 378823"/>
              <a:gd name="connsiteX3" fmla="*/ 0 w 1293222"/>
              <a:gd name="connsiteY3" fmla="*/ 130629 h 378823"/>
              <a:gd name="connsiteX4" fmla="*/ 71845 w 1293222"/>
              <a:gd name="connsiteY4" fmla="*/ 378823 h 378823"/>
              <a:gd name="connsiteX0" fmla="*/ 65313 w 1293222"/>
              <a:gd name="connsiteY0" fmla="*/ 398417 h 398417"/>
              <a:gd name="connsiteX1" fmla="*/ 1293222 w 1293222"/>
              <a:gd name="connsiteY1" fmla="*/ 182880 h 398417"/>
              <a:gd name="connsiteX2" fmla="*/ 1293222 w 1293222"/>
              <a:gd name="connsiteY2" fmla="*/ 0 h 398417"/>
              <a:gd name="connsiteX3" fmla="*/ 0 w 1293222"/>
              <a:gd name="connsiteY3" fmla="*/ 130629 h 398417"/>
              <a:gd name="connsiteX4" fmla="*/ 65313 w 1293222"/>
              <a:gd name="connsiteY4" fmla="*/ 398417 h 398417"/>
              <a:gd name="connsiteX0" fmla="*/ 104663 w 1332572"/>
              <a:gd name="connsiteY0" fmla="*/ 488407 h 488407"/>
              <a:gd name="connsiteX1" fmla="*/ 1332572 w 1332572"/>
              <a:gd name="connsiteY1" fmla="*/ 272870 h 488407"/>
              <a:gd name="connsiteX2" fmla="*/ 1332572 w 1332572"/>
              <a:gd name="connsiteY2" fmla="*/ 89990 h 488407"/>
              <a:gd name="connsiteX3" fmla="*/ 0 w 1332572"/>
              <a:gd name="connsiteY3" fmla="*/ 0 h 488407"/>
              <a:gd name="connsiteX4" fmla="*/ 104663 w 1332572"/>
              <a:gd name="connsiteY4" fmla="*/ 488407 h 488407"/>
              <a:gd name="connsiteX0" fmla="*/ 58754 w 1286663"/>
              <a:gd name="connsiteY0" fmla="*/ 488407 h 488407"/>
              <a:gd name="connsiteX1" fmla="*/ 1286663 w 1286663"/>
              <a:gd name="connsiteY1" fmla="*/ 272870 h 488407"/>
              <a:gd name="connsiteX2" fmla="*/ 1286663 w 1286663"/>
              <a:gd name="connsiteY2" fmla="*/ 89990 h 488407"/>
              <a:gd name="connsiteX3" fmla="*/ 0 w 1286663"/>
              <a:gd name="connsiteY3" fmla="*/ 0 h 488407"/>
              <a:gd name="connsiteX4" fmla="*/ 58754 w 1286663"/>
              <a:gd name="connsiteY4" fmla="*/ 488407 h 488407"/>
              <a:gd name="connsiteX0" fmla="*/ 58754 w 1293221"/>
              <a:gd name="connsiteY0" fmla="*/ 574912 h 574912"/>
              <a:gd name="connsiteX1" fmla="*/ 1286663 w 1293221"/>
              <a:gd name="connsiteY1" fmla="*/ 359375 h 574912"/>
              <a:gd name="connsiteX2" fmla="*/ 1293221 w 1293221"/>
              <a:gd name="connsiteY2" fmla="*/ 0 h 574912"/>
              <a:gd name="connsiteX3" fmla="*/ 0 w 1293221"/>
              <a:gd name="connsiteY3" fmla="*/ 86505 h 574912"/>
              <a:gd name="connsiteX4" fmla="*/ 58754 w 1293221"/>
              <a:gd name="connsiteY4" fmla="*/ 574912 h 574912"/>
              <a:gd name="connsiteX0" fmla="*/ 58754 w 1470298"/>
              <a:gd name="connsiteY0" fmla="*/ 574912 h 574912"/>
              <a:gd name="connsiteX1" fmla="*/ 1470298 w 1470298"/>
              <a:gd name="connsiteY1" fmla="*/ 561083 h 574912"/>
              <a:gd name="connsiteX2" fmla="*/ 1293221 w 1470298"/>
              <a:gd name="connsiteY2" fmla="*/ 0 h 574912"/>
              <a:gd name="connsiteX3" fmla="*/ 0 w 1470298"/>
              <a:gd name="connsiteY3" fmla="*/ 86505 h 574912"/>
              <a:gd name="connsiteX4" fmla="*/ 58754 w 1470298"/>
              <a:gd name="connsiteY4" fmla="*/ 574912 h 574912"/>
              <a:gd name="connsiteX0" fmla="*/ 65313 w 1470298"/>
              <a:gd name="connsiteY0" fmla="*/ 795531 h 795531"/>
              <a:gd name="connsiteX1" fmla="*/ 1470298 w 1470298"/>
              <a:gd name="connsiteY1" fmla="*/ 561083 h 795531"/>
              <a:gd name="connsiteX2" fmla="*/ 1293221 w 1470298"/>
              <a:gd name="connsiteY2" fmla="*/ 0 h 795531"/>
              <a:gd name="connsiteX3" fmla="*/ 0 w 1470298"/>
              <a:gd name="connsiteY3" fmla="*/ 86505 h 795531"/>
              <a:gd name="connsiteX4" fmla="*/ 65313 w 1470298"/>
              <a:gd name="connsiteY4" fmla="*/ 795531 h 795531"/>
              <a:gd name="connsiteX0" fmla="*/ 65313 w 1844126"/>
              <a:gd name="connsiteY0" fmla="*/ 795531 h 795531"/>
              <a:gd name="connsiteX1" fmla="*/ 1844126 w 1844126"/>
              <a:gd name="connsiteY1" fmla="*/ 504352 h 795531"/>
              <a:gd name="connsiteX2" fmla="*/ 1293221 w 1844126"/>
              <a:gd name="connsiteY2" fmla="*/ 0 h 795531"/>
              <a:gd name="connsiteX3" fmla="*/ 0 w 1844126"/>
              <a:gd name="connsiteY3" fmla="*/ 86505 h 795531"/>
              <a:gd name="connsiteX4" fmla="*/ 65313 w 1844126"/>
              <a:gd name="connsiteY4" fmla="*/ 795531 h 795531"/>
              <a:gd name="connsiteX0" fmla="*/ 65313 w 1844126"/>
              <a:gd name="connsiteY0" fmla="*/ 845958 h 845958"/>
              <a:gd name="connsiteX1" fmla="*/ 1844126 w 1844126"/>
              <a:gd name="connsiteY1" fmla="*/ 554779 h 845958"/>
              <a:gd name="connsiteX2" fmla="*/ 1621141 w 1844126"/>
              <a:gd name="connsiteY2" fmla="*/ 0 h 845958"/>
              <a:gd name="connsiteX3" fmla="*/ 0 w 1844126"/>
              <a:gd name="connsiteY3" fmla="*/ 136932 h 845958"/>
              <a:gd name="connsiteX4" fmla="*/ 65313 w 1844126"/>
              <a:gd name="connsiteY4" fmla="*/ 845958 h 845958"/>
              <a:gd name="connsiteX0" fmla="*/ 65313 w 1844126"/>
              <a:gd name="connsiteY0" fmla="*/ 864868 h 864868"/>
              <a:gd name="connsiteX1" fmla="*/ 1844126 w 1844126"/>
              <a:gd name="connsiteY1" fmla="*/ 573689 h 864868"/>
              <a:gd name="connsiteX2" fmla="*/ 1621141 w 1844126"/>
              <a:gd name="connsiteY2" fmla="*/ 0 h 864868"/>
              <a:gd name="connsiteX3" fmla="*/ 0 w 1844126"/>
              <a:gd name="connsiteY3" fmla="*/ 155842 h 864868"/>
              <a:gd name="connsiteX4" fmla="*/ 65313 w 1844126"/>
              <a:gd name="connsiteY4" fmla="*/ 864868 h 864868"/>
              <a:gd name="connsiteX0" fmla="*/ 65313 w 1686724"/>
              <a:gd name="connsiteY0" fmla="*/ 864868 h 864868"/>
              <a:gd name="connsiteX1" fmla="*/ 1686724 w 1686724"/>
              <a:gd name="connsiteY1" fmla="*/ 561082 h 864868"/>
              <a:gd name="connsiteX2" fmla="*/ 1621141 w 1686724"/>
              <a:gd name="connsiteY2" fmla="*/ 0 h 864868"/>
              <a:gd name="connsiteX3" fmla="*/ 0 w 1686724"/>
              <a:gd name="connsiteY3" fmla="*/ 155842 h 864868"/>
              <a:gd name="connsiteX4" fmla="*/ 65313 w 1686724"/>
              <a:gd name="connsiteY4" fmla="*/ 864868 h 864868"/>
              <a:gd name="connsiteX0" fmla="*/ 39079 w 1660490"/>
              <a:gd name="connsiteY0" fmla="*/ 864868 h 864868"/>
              <a:gd name="connsiteX1" fmla="*/ 1660490 w 1660490"/>
              <a:gd name="connsiteY1" fmla="*/ 561082 h 864868"/>
              <a:gd name="connsiteX2" fmla="*/ 1594907 w 1660490"/>
              <a:gd name="connsiteY2" fmla="*/ 0 h 864868"/>
              <a:gd name="connsiteX3" fmla="*/ 0 w 1660490"/>
              <a:gd name="connsiteY3" fmla="*/ 351248 h 864868"/>
              <a:gd name="connsiteX4" fmla="*/ 39079 w 1660490"/>
              <a:gd name="connsiteY4" fmla="*/ 864868 h 864868"/>
              <a:gd name="connsiteX0" fmla="*/ 39079 w 1857243"/>
              <a:gd name="connsiteY0" fmla="*/ 719889 h 719889"/>
              <a:gd name="connsiteX1" fmla="*/ 1660490 w 1857243"/>
              <a:gd name="connsiteY1" fmla="*/ 416103 h 719889"/>
              <a:gd name="connsiteX2" fmla="*/ 1857243 w 1857243"/>
              <a:gd name="connsiteY2" fmla="*/ 0 h 719889"/>
              <a:gd name="connsiteX3" fmla="*/ 0 w 1857243"/>
              <a:gd name="connsiteY3" fmla="*/ 206269 h 719889"/>
              <a:gd name="connsiteX4" fmla="*/ 39079 w 1857243"/>
              <a:gd name="connsiteY4" fmla="*/ 719889 h 719889"/>
              <a:gd name="connsiteX0" fmla="*/ 39079 w 1909709"/>
              <a:gd name="connsiteY0" fmla="*/ 719889 h 719889"/>
              <a:gd name="connsiteX1" fmla="*/ 1909709 w 1909709"/>
              <a:gd name="connsiteY1" fmla="*/ 208090 h 719889"/>
              <a:gd name="connsiteX2" fmla="*/ 1857243 w 1909709"/>
              <a:gd name="connsiteY2" fmla="*/ 0 h 719889"/>
              <a:gd name="connsiteX3" fmla="*/ 0 w 1909709"/>
              <a:gd name="connsiteY3" fmla="*/ 206269 h 719889"/>
              <a:gd name="connsiteX4" fmla="*/ 39079 w 1909709"/>
              <a:gd name="connsiteY4" fmla="*/ 719889 h 719889"/>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206269 h 511876"/>
              <a:gd name="connsiteX4" fmla="*/ 39079 w 1909709"/>
              <a:gd name="connsiteY4" fmla="*/ 511876 h 511876"/>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121173 h 511876"/>
              <a:gd name="connsiteX4" fmla="*/ 39079 w 1909709"/>
              <a:gd name="connsiteY4" fmla="*/ 511876 h 511876"/>
              <a:gd name="connsiteX0" fmla="*/ 39079 w 1857243"/>
              <a:gd name="connsiteY0" fmla="*/ 511876 h 511876"/>
              <a:gd name="connsiteX1" fmla="*/ 1748372 w 1857243"/>
              <a:gd name="connsiteY1" fmla="*/ 309201 h 511876"/>
              <a:gd name="connsiteX2" fmla="*/ 1857243 w 1857243"/>
              <a:gd name="connsiteY2" fmla="*/ 0 h 511876"/>
              <a:gd name="connsiteX3" fmla="*/ 0 w 1857243"/>
              <a:gd name="connsiteY3" fmla="*/ 121173 h 511876"/>
              <a:gd name="connsiteX4" fmla="*/ 39079 w 1857243"/>
              <a:gd name="connsiteY4" fmla="*/ 511876 h 511876"/>
              <a:gd name="connsiteX0" fmla="*/ 39079 w 1748372"/>
              <a:gd name="connsiteY0" fmla="*/ 499237 h 499237"/>
              <a:gd name="connsiteX1" fmla="*/ 1748372 w 1748372"/>
              <a:gd name="connsiteY1" fmla="*/ 296562 h 499237"/>
              <a:gd name="connsiteX2" fmla="*/ 1723965 w 1748372"/>
              <a:gd name="connsiteY2" fmla="*/ 0 h 499237"/>
              <a:gd name="connsiteX3" fmla="*/ 0 w 1748372"/>
              <a:gd name="connsiteY3" fmla="*/ 108534 h 499237"/>
              <a:gd name="connsiteX4" fmla="*/ 39079 w 1748372"/>
              <a:gd name="connsiteY4" fmla="*/ 499237 h 499237"/>
              <a:gd name="connsiteX0" fmla="*/ 95196 w 1748372"/>
              <a:gd name="connsiteY0" fmla="*/ 451841 h 451841"/>
              <a:gd name="connsiteX1" fmla="*/ 1748372 w 1748372"/>
              <a:gd name="connsiteY1" fmla="*/ 296562 h 451841"/>
              <a:gd name="connsiteX2" fmla="*/ 1723965 w 1748372"/>
              <a:gd name="connsiteY2" fmla="*/ 0 h 451841"/>
              <a:gd name="connsiteX3" fmla="*/ 0 w 1748372"/>
              <a:gd name="connsiteY3" fmla="*/ 108534 h 451841"/>
              <a:gd name="connsiteX4" fmla="*/ 95196 w 1748372"/>
              <a:gd name="connsiteY4" fmla="*/ 451841 h 451841"/>
              <a:gd name="connsiteX0" fmla="*/ 95196 w 1723965"/>
              <a:gd name="connsiteY0" fmla="*/ 451841 h 451841"/>
              <a:gd name="connsiteX1" fmla="*/ 1713299 w 1723965"/>
              <a:gd name="connsiteY1" fmla="*/ 315520 h 451841"/>
              <a:gd name="connsiteX2" fmla="*/ 1723965 w 1723965"/>
              <a:gd name="connsiteY2" fmla="*/ 0 h 451841"/>
              <a:gd name="connsiteX3" fmla="*/ 0 w 1723965"/>
              <a:gd name="connsiteY3" fmla="*/ 108534 h 451841"/>
              <a:gd name="connsiteX4" fmla="*/ 95196 w 1723965"/>
              <a:gd name="connsiteY4" fmla="*/ 451841 h 451841"/>
              <a:gd name="connsiteX0" fmla="*/ 95196 w 1713299"/>
              <a:gd name="connsiteY0" fmla="*/ 455001 h 455001"/>
              <a:gd name="connsiteX1" fmla="*/ 1713299 w 1713299"/>
              <a:gd name="connsiteY1" fmla="*/ 318680 h 455001"/>
              <a:gd name="connsiteX2" fmla="*/ 1667848 w 1713299"/>
              <a:gd name="connsiteY2" fmla="*/ 0 h 455001"/>
              <a:gd name="connsiteX3" fmla="*/ 0 w 1713299"/>
              <a:gd name="connsiteY3" fmla="*/ 111694 h 455001"/>
              <a:gd name="connsiteX4" fmla="*/ 95196 w 1713299"/>
              <a:gd name="connsiteY4" fmla="*/ 455001 h 455001"/>
              <a:gd name="connsiteX0" fmla="*/ 67137 w 1685240"/>
              <a:gd name="connsiteY0" fmla="*/ 455001 h 455001"/>
              <a:gd name="connsiteX1" fmla="*/ 1685240 w 1685240"/>
              <a:gd name="connsiteY1" fmla="*/ 318680 h 455001"/>
              <a:gd name="connsiteX2" fmla="*/ 1639789 w 1685240"/>
              <a:gd name="connsiteY2" fmla="*/ 0 h 455001"/>
              <a:gd name="connsiteX3" fmla="*/ 0 w 1685240"/>
              <a:gd name="connsiteY3" fmla="*/ 130652 h 455001"/>
              <a:gd name="connsiteX4" fmla="*/ 67137 w 1685240"/>
              <a:gd name="connsiteY4" fmla="*/ 455001 h 455001"/>
              <a:gd name="connsiteX0" fmla="*/ 67137 w 1667473"/>
              <a:gd name="connsiteY0" fmla="*/ 455001 h 455001"/>
              <a:gd name="connsiteX1" fmla="*/ 1667473 w 1667473"/>
              <a:gd name="connsiteY1" fmla="*/ 242054 h 455001"/>
              <a:gd name="connsiteX2" fmla="*/ 1639789 w 1667473"/>
              <a:gd name="connsiteY2" fmla="*/ 0 h 455001"/>
              <a:gd name="connsiteX3" fmla="*/ 0 w 1667473"/>
              <a:gd name="connsiteY3" fmla="*/ 130652 h 455001"/>
              <a:gd name="connsiteX4" fmla="*/ 67137 w 1667473"/>
              <a:gd name="connsiteY4" fmla="*/ 455001 h 455001"/>
              <a:gd name="connsiteX0" fmla="*/ 100217 w 1700553"/>
              <a:gd name="connsiteY0" fmla="*/ 455001 h 455001"/>
              <a:gd name="connsiteX1" fmla="*/ 1700553 w 1700553"/>
              <a:gd name="connsiteY1" fmla="*/ 242054 h 455001"/>
              <a:gd name="connsiteX2" fmla="*/ 1672869 w 1700553"/>
              <a:gd name="connsiteY2" fmla="*/ 0 h 455001"/>
              <a:gd name="connsiteX3" fmla="*/ 0 w 1700553"/>
              <a:gd name="connsiteY3" fmla="*/ 205540 h 455001"/>
              <a:gd name="connsiteX4" fmla="*/ 100217 w 1700553"/>
              <a:gd name="connsiteY4" fmla="*/ 455001 h 455001"/>
              <a:gd name="connsiteX0" fmla="*/ 100217 w 1700553"/>
              <a:gd name="connsiteY0" fmla="*/ 366878 h 366878"/>
              <a:gd name="connsiteX1" fmla="*/ 1700553 w 1700553"/>
              <a:gd name="connsiteY1" fmla="*/ 153931 h 366878"/>
              <a:gd name="connsiteX2" fmla="*/ 1588975 w 1700553"/>
              <a:gd name="connsiteY2" fmla="*/ 0 h 366878"/>
              <a:gd name="connsiteX3" fmla="*/ 0 w 1700553"/>
              <a:gd name="connsiteY3" fmla="*/ 117417 h 366878"/>
              <a:gd name="connsiteX4" fmla="*/ 100217 w 1700553"/>
              <a:gd name="connsiteY4" fmla="*/ 366878 h 366878"/>
              <a:gd name="connsiteX0" fmla="*/ 115726 w 1700553"/>
              <a:gd name="connsiteY0" fmla="*/ 305211 h 305211"/>
              <a:gd name="connsiteX1" fmla="*/ 1700553 w 1700553"/>
              <a:gd name="connsiteY1" fmla="*/ 153931 h 305211"/>
              <a:gd name="connsiteX2" fmla="*/ 1588975 w 1700553"/>
              <a:gd name="connsiteY2" fmla="*/ 0 h 305211"/>
              <a:gd name="connsiteX3" fmla="*/ 0 w 1700553"/>
              <a:gd name="connsiteY3" fmla="*/ 117417 h 305211"/>
              <a:gd name="connsiteX4" fmla="*/ 115726 w 1700553"/>
              <a:gd name="connsiteY4" fmla="*/ 305211 h 305211"/>
              <a:gd name="connsiteX0" fmla="*/ 115726 w 1700553"/>
              <a:gd name="connsiteY0" fmla="*/ 321895 h 321895"/>
              <a:gd name="connsiteX1" fmla="*/ 1700553 w 1700553"/>
              <a:gd name="connsiteY1" fmla="*/ 170615 h 321895"/>
              <a:gd name="connsiteX2" fmla="*/ 1471607 w 1700553"/>
              <a:gd name="connsiteY2" fmla="*/ 0 h 321895"/>
              <a:gd name="connsiteX3" fmla="*/ 0 w 1700553"/>
              <a:gd name="connsiteY3" fmla="*/ 134101 h 321895"/>
              <a:gd name="connsiteX4" fmla="*/ 115726 w 1700553"/>
              <a:gd name="connsiteY4" fmla="*/ 321895 h 321895"/>
              <a:gd name="connsiteX0" fmla="*/ 115726 w 1581352"/>
              <a:gd name="connsiteY0" fmla="*/ 321895 h 321895"/>
              <a:gd name="connsiteX1" fmla="*/ 1581352 w 1581352"/>
              <a:gd name="connsiteY1" fmla="*/ 210307 h 321895"/>
              <a:gd name="connsiteX2" fmla="*/ 1471607 w 1581352"/>
              <a:gd name="connsiteY2" fmla="*/ 0 h 321895"/>
              <a:gd name="connsiteX3" fmla="*/ 0 w 1581352"/>
              <a:gd name="connsiteY3" fmla="*/ 134101 h 321895"/>
              <a:gd name="connsiteX4" fmla="*/ 115726 w 1581352"/>
              <a:gd name="connsiteY4" fmla="*/ 321895 h 321895"/>
              <a:gd name="connsiteX0" fmla="*/ 92298 w 1557924"/>
              <a:gd name="connsiteY0" fmla="*/ 321895 h 321895"/>
              <a:gd name="connsiteX1" fmla="*/ 1557924 w 1557924"/>
              <a:gd name="connsiteY1" fmla="*/ 210307 h 321895"/>
              <a:gd name="connsiteX2" fmla="*/ 1448179 w 1557924"/>
              <a:gd name="connsiteY2" fmla="*/ 0 h 321895"/>
              <a:gd name="connsiteX3" fmla="*/ 0 w 1557924"/>
              <a:gd name="connsiteY3" fmla="*/ 116473 h 321895"/>
              <a:gd name="connsiteX4" fmla="*/ 92298 w 1557924"/>
              <a:gd name="connsiteY4" fmla="*/ 321895 h 321895"/>
              <a:gd name="connsiteX0" fmla="*/ 152961 w 1557924"/>
              <a:gd name="connsiteY0" fmla="*/ 341247 h 341247"/>
              <a:gd name="connsiteX1" fmla="*/ 1557924 w 1557924"/>
              <a:gd name="connsiteY1" fmla="*/ 210307 h 341247"/>
              <a:gd name="connsiteX2" fmla="*/ 1448179 w 1557924"/>
              <a:gd name="connsiteY2" fmla="*/ 0 h 341247"/>
              <a:gd name="connsiteX3" fmla="*/ 0 w 1557924"/>
              <a:gd name="connsiteY3" fmla="*/ 116473 h 341247"/>
              <a:gd name="connsiteX4" fmla="*/ 152961 w 1557924"/>
              <a:gd name="connsiteY4" fmla="*/ 341247 h 341247"/>
              <a:gd name="connsiteX0" fmla="*/ 135357 w 1557924"/>
              <a:gd name="connsiteY0" fmla="*/ 339493 h 339493"/>
              <a:gd name="connsiteX1" fmla="*/ 1557924 w 1557924"/>
              <a:gd name="connsiteY1" fmla="*/ 210307 h 339493"/>
              <a:gd name="connsiteX2" fmla="*/ 1448179 w 1557924"/>
              <a:gd name="connsiteY2" fmla="*/ 0 h 339493"/>
              <a:gd name="connsiteX3" fmla="*/ 0 w 1557924"/>
              <a:gd name="connsiteY3" fmla="*/ 116473 h 339493"/>
              <a:gd name="connsiteX4" fmla="*/ 135357 w 1557924"/>
              <a:gd name="connsiteY4" fmla="*/ 339493 h 339493"/>
              <a:gd name="connsiteX0" fmla="*/ 109934 w 1532501"/>
              <a:gd name="connsiteY0" fmla="*/ 339493 h 339493"/>
              <a:gd name="connsiteX1" fmla="*/ 1532501 w 1532501"/>
              <a:gd name="connsiteY1" fmla="*/ 210307 h 339493"/>
              <a:gd name="connsiteX2" fmla="*/ 1422756 w 1532501"/>
              <a:gd name="connsiteY2" fmla="*/ 0 h 339493"/>
              <a:gd name="connsiteX3" fmla="*/ 0 w 1532501"/>
              <a:gd name="connsiteY3" fmla="*/ 117343 h 339493"/>
              <a:gd name="connsiteX4" fmla="*/ 109934 w 1532501"/>
              <a:gd name="connsiteY4" fmla="*/ 339493 h 339493"/>
              <a:gd name="connsiteX0" fmla="*/ 133525 w 1556092"/>
              <a:gd name="connsiteY0" fmla="*/ 339493 h 339493"/>
              <a:gd name="connsiteX1" fmla="*/ 1556092 w 1556092"/>
              <a:gd name="connsiteY1" fmla="*/ 210307 h 339493"/>
              <a:gd name="connsiteX2" fmla="*/ 1446347 w 1556092"/>
              <a:gd name="connsiteY2" fmla="*/ 0 h 339493"/>
              <a:gd name="connsiteX3" fmla="*/ 0 w 1556092"/>
              <a:gd name="connsiteY3" fmla="*/ 60098 h 339493"/>
              <a:gd name="connsiteX4" fmla="*/ 133525 w 1556092"/>
              <a:gd name="connsiteY4" fmla="*/ 339493 h 339493"/>
              <a:gd name="connsiteX0" fmla="*/ 133525 w 2343667"/>
              <a:gd name="connsiteY0" fmla="*/ 459688 h 459688"/>
              <a:gd name="connsiteX1" fmla="*/ 1556092 w 2343667"/>
              <a:gd name="connsiteY1" fmla="*/ 330502 h 459688"/>
              <a:gd name="connsiteX2" fmla="*/ 2343667 w 2343667"/>
              <a:gd name="connsiteY2" fmla="*/ 0 h 459688"/>
              <a:gd name="connsiteX3" fmla="*/ 0 w 2343667"/>
              <a:gd name="connsiteY3" fmla="*/ 180293 h 459688"/>
              <a:gd name="connsiteX4" fmla="*/ 133525 w 2343667"/>
              <a:gd name="connsiteY4" fmla="*/ 459688 h 459688"/>
              <a:gd name="connsiteX0" fmla="*/ 133525 w 2391079"/>
              <a:gd name="connsiteY0" fmla="*/ 459688 h 459688"/>
              <a:gd name="connsiteX1" fmla="*/ 2391079 w 2391079"/>
              <a:gd name="connsiteY1" fmla="*/ 322204 h 459688"/>
              <a:gd name="connsiteX2" fmla="*/ 2343667 w 2391079"/>
              <a:gd name="connsiteY2" fmla="*/ 0 h 459688"/>
              <a:gd name="connsiteX3" fmla="*/ 0 w 2391079"/>
              <a:gd name="connsiteY3" fmla="*/ 180293 h 459688"/>
              <a:gd name="connsiteX4" fmla="*/ 133525 w 2391079"/>
              <a:gd name="connsiteY4" fmla="*/ 459688 h 459688"/>
              <a:gd name="connsiteX0" fmla="*/ 159047 w 2391079"/>
              <a:gd name="connsiteY0" fmla="*/ 505482 h 505482"/>
              <a:gd name="connsiteX1" fmla="*/ 2391079 w 2391079"/>
              <a:gd name="connsiteY1" fmla="*/ 322204 h 505482"/>
              <a:gd name="connsiteX2" fmla="*/ 2343667 w 2391079"/>
              <a:gd name="connsiteY2" fmla="*/ 0 h 505482"/>
              <a:gd name="connsiteX3" fmla="*/ 0 w 2391079"/>
              <a:gd name="connsiteY3" fmla="*/ 180293 h 505482"/>
              <a:gd name="connsiteX4" fmla="*/ 159047 w 2391079"/>
              <a:gd name="connsiteY4" fmla="*/ 505482 h 505482"/>
              <a:gd name="connsiteX0" fmla="*/ 159047 w 2391079"/>
              <a:gd name="connsiteY0" fmla="*/ 518659 h 518659"/>
              <a:gd name="connsiteX1" fmla="*/ 2391079 w 2391079"/>
              <a:gd name="connsiteY1" fmla="*/ 335381 h 518659"/>
              <a:gd name="connsiteX2" fmla="*/ 2261507 w 2391079"/>
              <a:gd name="connsiteY2" fmla="*/ 0 h 518659"/>
              <a:gd name="connsiteX3" fmla="*/ 0 w 2391079"/>
              <a:gd name="connsiteY3" fmla="*/ 193470 h 518659"/>
              <a:gd name="connsiteX4" fmla="*/ 159047 w 2391079"/>
              <a:gd name="connsiteY4" fmla="*/ 518659 h 518659"/>
              <a:gd name="connsiteX0" fmla="*/ 159047 w 2513813"/>
              <a:gd name="connsiteY0" fmla="*/ 498511 h 498511"/>
              <a:gd name="connsiteX1" fmla="*/ 2391079 w 2513813"/>
              <a:gd name="connsiteY1" fmla="*/ 315233 h 498511"/>
              <a:gd name="connsiteX2" fmla="*/ 2513813 w 2513813"/>
              <a:gd name="connsiteY2" fmla="*/ 0 h 498511"/>
              <a:gd name="connsiteX3" fmla="*/ 0 w 2513813"/>
              <a:gd name="connsiteY3" fmla="*/ 173322 h 498511"/>
              <a:gd name="connsiteX4" fmla="*/ 159047 w 2513813"/>
              <a:gd name="connsiteY4" fmla="*/ 498511 h 498511"/>
              <a:gd name="connsiteX0" fmla="*/ 159047 w 2547383"/>
              <a:gd name="connsiteY0" fmla="*/ 498511 h 498511"/>
              <a:gd name="connsiteX1" fmla="*/ 2547383 w 2547383"/>
              <a:gd name="connsiteY1" fmla="*/ 252623 h 498511"/>
              <a:gd name="connsiteX2" fmla="*/ 2513813 w 2547383"/>
              <a:gd name="connsiteY2" fmla="*/ 0 h 498511"/>
              <a:gd name="connsiteX3" fmla="*/ 0 w 2547383"/>
              <a:gd name="connsiteY3" fmla="*/ 173322 h 498511"/>
              <a:gd name="connsiteX4" fmla="*/ 159047 w 2547383"/>
              <a:gd name="connsiteY4" fmla="*/ 498511 h 498511"/>
              <a:gd name="connsiteX0" fmla="*/ 164772 w 2553108"/>
              <a:gd name="connsiteY0" fmla="*/ 498511 h 498511"/>
              <a:gd name="connsiteX1" fmla="*/ 2553108 w 2553108"/>
              <a:gd name="connsiteY1" fmla="*/ 252623 h 498511"/>
              <a:gd name="connsiteX2" fmla="*/ 2519538 w 2553108"/>
              <a:gd name="connsiteY2" fmla="*/ 0 h 498511"/>
              <a:gd name="connsiteX3" fmla="*/ 0 w 2553108"/>
              <a:gd name="connsiteY3" fmla="*/ 237627 h 498511"/>
              <a:gd name="connsiteX4" fmla="*/ 164772 w 2553108"/>
              <a:gd name="connsiteY4" fmla="*/ 498511 h 498511"/>
              <a:gd name="connsiteX0" fmla="*/ 102113 w 2553108"/>
              <a:gd name="connsiteY0" fmla="*/ 460662 h 460662"/>
              <a:gd name="connsiteX1" fmla="*/ 2553108 w 2553108"/>
              <a:gd name="connsiteY1" fmla="*/ 252623 h 460662"/>
              <a:gd name="connsiteX2" fmla="*/ 2519538 w 2553108"/>
              <a:gd name="connsiteY2" fmla="*/ 0 h 460662"/>
              <a:gd name="connsiteX3" fmla="*/ 0 w 2553108"/>
              <a:gd name="connsiteY3" fmla="*/ 237627 h 460662"/>
              <a:gd name="connsiteX4" fmla="*/ 102113 w 2553108"/>
              <a:gd name="connsiteY4" fmla="*/ 460662 h 460662"/>
              <a:gd name="connsiteX0" fmla="*/ 102113 w 2553108"/>
              <a:gd name="connsiteY0" fmla="*/ 424537 h 424537"/>
              <a:gd name="connsiteX1" fmla="*/ 2553108 w 2553108"/>
              <a:gd name="connsiteY1" fmla="*/ 216498 h 424537"/>
              <a:gd name="connsiteX2" fmla="*/ 2498106 w 2553108"/>
              <a:gd name="connsiteY2" fmla="*/ 0 h 424537"/>
              <a:gd name="connsiteX3" fmla="*/ 0 w 2553108"/>
              <a:gd name="connsiteY3" fmla="*/ 201502 h 424537"/>
              <a:gd name="connsiteX4" fmla="*/ 102113 w 2553108"/>
              <a:gd name="connsiteY4" fmla="*/ 424537 h 424537"/>
              <a:gd name="connsiteX0" fmla="*/ 90333 w 2553108"/>
              <a:gd name="connsiteY0" fmla="*/ 403402 h 403402"/>
              <a:gd name="connsiteX1" fmla="*/ 2553108 w 2553108"/>
              <a:gd name="connsiteY1" fmla="*/ 216498 h 403402"/>
              <a:gd name="connsiteX2" fmla="*/ 2498106 w 2553108"/>
              <a:gd name="connsiteY2" fmla="*/ 0 h 403402"/>
              <a:gd name="connsiteX3" fmla="*/ 0 w 2553108"/>
              <a:gd name="connsiteY3" fmla="*/ 201502 h 403402"/>
              <a:gd name="connsiteX4" fmla="*/ 90333 w 2553108"/>
              <a:gd name="connsiteY4" fmla="*/ 403402 h 403402"/>
              <a:gd name="connsiteX0" fmla="*/ 60951 w 2523726"/>
              <a:gd name="connsiteY0" fmla="*/ 403402 h 403402"/>
              <a:gd name="connsiteX1" fmla="*/ 2523726 w 2523726"/>
              <a:gd name="connsiteY1" fmla="*/ 216498 h 403402"/>
              <a:gd name="connsiteX2" fmla="*/ 2468724 w 2523726"/>
              <a:gd name="connsiteY2" fmla="*/ 0 h 403402"/>
              <a:gd name="connsiteX3" fmla="*/ 0 w 2523726"/>
              <a:gd name="connsiteY3" fmla="*/ 224392 h 403402"/>
              <a:gd name="connsiteX4" fmla="*/ 60951 w 2523726"/>
              <a:gd name="connsiteY4" fmla="*/ 403402 h 40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3726" h="403402">
                <a:moveTo>
                  <a:pt x="60951" y="403402"/>
                </a:moveTo>
                <a:lnTo>
                  <a:pt x="2523726" y="216498"/>
                </a:lnTo>
                <a:lnTo>
                  <a:pt x="2468724" y="0"/>
                </a:lnTo>
                <a:lnTo>
                  <a:pt x="0" y="224392"/>
                </a:lnTo>
                <a:lnTo>
                  <a:pt x="60951" y="403402"/>
                </a:lnTo>
                <a:close/>
              </a:path>
            </a:pathLst>
          </a:custGeom>
          <a:solidFill>
            <a:schemeClr val="bg1"/>
          </a:solidFill>
          <a:ln>
            <a:noFill/>
          </a:ln>
          <a:effectLst>
            <a:outerShdw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solidFill>
                <a:schemeClr val="accent4"/>
              </a:solidFill>
            </a:endParaRPr>
          </a:p>
        </p:txBody>
      </p:sp>
      <p:sp>
        <p:nvSpPr>
          <p:cNvPr id="12" name="TextBox 9">
            <a:extLst>
              <a:ext uri="{FF2B5EF4-FFF2-40B4-BE49-F238E27FC236}">
                <a16:creationId xmlns:a16="http://schemas.microsoft.com/office/drawing/2014/main" id="{C3944AA2-7FD8-4EED-A32C-A9F6411C21EC}"/>
              </a:ext>
            </a:extLst>
          </p:cNvPr>
          <p:cNvSpPr txBox="1">
            <a:spLocks noChangeArrowheads="1"/>
          </p:cNvSpPr>
          <p:nvPr/>
        </p:nvSpPr>
        <p:spPr bwMode="auto">
          <a:xfrm>
            <a:off x="224576" y="678307"/>
            <a:ext cx="2485989" cy="369332"/>
          </a:xfrm>
          <a:prstGeom prst="rect">
            <a:avLst/>
          </a:prstGeom>
          <a:noFill/>
          <a:ln w="9525">
            <a:noFill/>
            <a:miter lim="800000"/>
            <a:headEnd/>
            <a:tailEnd/>
          </a:ln>
          <a:effectLst/>
        </p:spPr>
        <p:txBody>
          <a:bodyPr wrap="square" lIns="0">
            <a:spAutoFit/>
          </a:bodyPr>
          <a:lstStyle/>
          <a:p>
            <a:pPr marL="3174">
              <a:lnSpc>
                <a:spcPct val="90000"/>
              </a:lnSpc>
              <a:spcBef>
                <a:spcPts val="1200"/>
              </a:spcBef>
              <a:buClr>
                <a:srgbClr val="5C5C5C"/>
              </a:buClr>
              <a:buSzPct val="80000"/>
            </a:pPr>
            <a:r>
              <a:rPr lang="nl-BE" sz="2000" b="1" dirty="0">
                <a:solidFill>
                  <a:srgbClr val="FFC000"/>
                </a:solidFill>
                <a:latin typeface="Amaranth" panose="02000503000000020004" pitchFamily="50" charset="0"/>
                <a:cs typeface="Arial" panose="020B0604020202020204" pitchFamily="34" charset="0"/>
              </a:rPr>
              <a:t>Software</a:t>
            </a:r>
          </a:p>
        </p:txBody>
      </p:sp>
      <p:pic>
        <p:nvPicPr>
          <p:cNvPr id="17" name="Afbeelding 16">
            <a:extLst>
              <a:ext uri="{FF2B5EF4-FFF2-40B4-BE49-F238E27FC236}">
                <a16:creationId xmlns:a16="http://schemas.microsoft.com/office/drawing/2014/main" id="{CC74526C-91E5-4356-9F09-02B38EF18E16}"/>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1241707" y="6052930"/>
            <a:ext cx="661508" cy="556592"/>
          </a:xfrm>
          <a:prstGeom prst="rect">
            <a:avLst/>
          </a:prstGeom>
        </p:spPr>
      </p:pic>
      <p:pic>
        <p:nvPicPr>
          <p:cNvPr id="11" name="Tijdelijke aanduiding voor inhoud 4">
            <a:extLst>
              <a:ext uri="{FF2B5EF4-FFF2-40B4-BE49-F238E27FC236}">
                <a16:creationId xmlns:a16="http://schemas.microsoft.com/office/drawing/2014/main" id="{01BE78E7-6845-470D-80FD-D6A9A2D9711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25122" y="2074909"/>
            <a:ext cx="5344160" cy="3548715"/>
          </a:xfrm>
          <a:prstGeom prst="rect">
            <a:avLst/>
          </a:prstGeom>
        </p:spPr>
      </p:pic>
      <p:sp>
        <p:nvSpPr>
          <p:cNvPr id="3" name="Rechthoek 2">
            <a:extLst>
              <a:ext uri="{FF2B5EF4-FFF2-40B4-BE49-F238E27FC236}">
                <a16:creationId xmlns:a16="http://schemas.microsoft.com/office/drawing/2014/main" id="{8CCCA7C5-4D8B-42E0-B5E2-026207558DA9}"/>
              </a:ext>
            </a:extLst>
          </p:cNvPr>
          <p:cNvSpPr/>
          <p:nvPr/>
        </p:nvSpPr>
        <p:spPr>
          <a:xfrm>
            <a:off x="6132308" y="2241466"/>
            <a:ext cx="3101426" cy="461665"/>
          </a:xfrm>
          <a:prstGeom prst="rect">
            <a:avLst/>
          </a:prstGeom>
        </p:spPr>
        <p:txBody>
          <a:bodyPr wrap="none">
            <a:spAutoFit/>
          </a:bodyPr>
          <a:lstStyle/>
          <a:p>
            <a:r>
              <a:rPr lang="nl-NL" sz="2400" b="1" dirty="0">
                <a:solidFill>
                  <a:schemeClr val="bg1"/>
                </a:solidFill>
              </a:rPr>
              <a:t>Rekenspel</a:t>
            </a:r>
            <a:r>
              <a:rPr lang="nl-NL" sz="2400" dirty="0">
                <a:solidFill>
                  <a:schemeClr val="bg1"/>
                </a:solidFill>
              </a:rPr>
              <a:t>: Getalbegrip</a:t>
            </a:r>
          </a:p>
        </p:txBody>
      </p:sp>
      <p:sp>
        <p:nvSpPr>
          <p:cNvPr id="4" name="Rechthoek 3">
            <a:extLst>
              <a:ext uri="{FF2B5EF4-FFF2-40B4-BE49-F238E27FC236}">
                <a16:creationId xmlns:a16="http://schemas.microsoft.com/office/drawing/2014/main" id="{05E846C1-5940-4420-9140-3BD06367E482}"/>
              </a:ext>
            </a:extLst>
          </p:cNvPr>
          <p:cNvSpPr/>
          <p:nvPr/>
        </p:nvSpPr>
        <p:spPr>
          <a:xfrm>
            <a:off x="6132308" y="3082836"/>
            <a:ext cx="6096000" cy="1200329"/>
          </a:xfrm>
          <a:prstGeom prst="rect">
            <a:avLst/>
          </a:prstGeom>
        </p:spPr>
        <p:txBody>
          <a:bodyPr>
            <a:spAutoFit/>
          </a:bodyPr>
          <a:lstStyle/>
          <a:p>
            <a:r>
              <a:rPr lang="nl-NL" dirty="0">
                <a:solidFill>
                  <a:schemeClr val="bg1"/>
                </a:solidFill>
              </a:rPr>
              <a:t>Spelen met:</a:t>
            </a:r>
          </a:p>
          <a:p>
            <a:pPr marL="457200" indent="-457200">
              <a:buFont typeface="Arial" panose="020B0604020202020204" pitchFamily="34" charset="0"/>
              <a:buChar char="•"/>
            </a:pPr>
            <a:r>
              <a:rPr lang="nl-NL" dirty="0">
                <a:solidFill>
                  <a:schemeClr val="bg1"/>
                </a:solidFill>
              </a:rPr>
              <a:t>Tellen</a:t>
            </a:r>
          </a:p>
          <a:p>
            <a:pPr marL="457200" indent="-457200">
              <a:buFont typeface="Arial" panose="020B0604020202020204" pitchFamily="34" charset="0"/>
              <a:buChar char="•"/>
            </a:pPr>
            <a:r>
              <a:rPr lang="nl-NL" dirty="0">
                <a:solidFill>
                  <a:schemeClr val="bg1"/>
                </a:solidFill>
              </a:rPr>
              <a:t>Hoeveelheden</a:t>
            </a:r>
          </a:p>
          <a:p>
            <a:pPr marL="457200" indent="-457200">
              <a:buFont typeface="Arial" panose="020B0604020202020204" pitchFamily="34" charset="0"/>
              <a:buChar char="•"/>
            </a:pPr>
            <a:r>
              <a:rPr lang="nl-NL" dirty="0" err="1">
                <a:solidFill>
                  <a:schemeClr val="bg1"/>
                </a:solidFill>
              </a:rPr>
              <a:t>Getalsymbolen</a:t>
            </a:r>
            <a:endParaRPr lang="nl-NL" dirty="0">
              <a:solidFill>
                <a:schemeClr val="bg1"/>
              </a:solidFill>
            </a:endParaRPr>
          </a:p>
        </p:txBody>
      </p:sp>
      <p:sp>
        <p:nvSpPr>
          <p:cNvPr id="6" name="Rechthoek 5">
            <a:extLst>
              <a:ext uri="{FF2B5EF4-FFF2-40B4-BE49-F238E27FC236}">
                <a16:creationId xmlns:a16="http://schemas.microsoft.com/office/drawing/2014/main" id="{F23D14CE-20BC-4DAF-A5DF-3B669E81E545}"/>
              </a:ext>
            </a:extLst>
          </p:cNvPr>
          <p:cNvSpPr/>
          <p:nvPr/>
        </p:nvSpPr>
        <p:spPr>
          <a:xfrm>
            <a:off x="288785" y="5652502"/>
            <a:ext cx="5380497" cy="461665"/>
          </a:xfrm>
          <a:prstGeom prst="rect">
            <a:avLst/>
          </a:prstGeom>
        </p:spPr>
        <p:txBody>
          <a:bodyPr wrap="square">
            <a:spAutoFit/>
          </a:bodyPr>
          <a:lstStyle/>
          <a:p>
            <a:r>
              <a:rPr lang="nl-NL" sz="1200" i="1" dirty="0"/>
              <a:t>“Dit vogelhuisje hoort aan de zesde boom. Hang het vogelhuisje aan de zesde boom.”   (de opdracht wordt gesproken)</a:t>
            </a:r>
            <a:endParaRPr lang="nl-NL" sz="1200" dirty="0"/>
          </a:p>
        </p:txBody>
      </p:sp>
    </p:spTree>
    <p:extLst>
      <p:ext uri="{BB962C8B-B14F-4D97-AF65-F5344CB8AC3E}">
        <p14:creationId xmlns:p14="http://schemas.microsoft.com/office/powerpoint/2010/main" val="27516549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hoek 12">
            <a:extLst>
              <a:ext uri="{FF2B5EF4-FFF2-40B4-BE49-F238E27FC236}">
                <a16:creationId xmlns:a16="http://schemas.microsoft.com/office/drawing/2014/main" id="{CECEAB52-2BFE-4DB7-83D8-2B3EABF14D7F}"/>
              </a:ext>
            </a:extLst>
          </p:cNvPr>
          <p:cNvSpPr/>
          <p:nvPr/>
        </p:nvSpPr>
        <p:spPr>
          <a:xfrm>
            <a:off x="36308" y="1701879"/>
            <a:ext cx="12192000" cy="4453958"/>
          </a:xfrm>
          <a:prstGeom prst="rect">
            <a:avLst/>
          </a:prstGeom>
          <a:solidFill>
            <a:srgbClr val="FFC00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32" name="think-cell Slide" r:id="rId5" imgW="353" imgH="353" progId="TCLayout.ActiveDocument.1">
                  <p:embed/>
                </p:oleObj>
              </mc:Choice>
              <mc:Fallback>
                <p:oleObj name="think-cell Slide" r:id="rId5" imgW="353" imgH="353"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extBox 14"/>
          <p:cNvSpPr txBox="1"/>
          <p:nvPr/>
        </p:nvSpPr>
        <p:spPr>
          <a:xfrm>
            <a:off x="5819286" y="601863"/>
            <a:ext cx="6178503" cy="646331"/>
          </a:xfrm>
          <a:prstGeom prst="rect">
            <a:avLst/>
          </a:prstGeom>
          <a:noFill/>
        </p:spPr>
        <p:txBody>
          <a:bodyPr wrap="square" rtlCol="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tab pos="1971675" algn="l"/>
              </a:tabLst>
              <a:defRPr/>
            </a:pPr>
            <a:r>
              <a:rPr kumimoji="0" lang="nl-BE" sz="4000" b="0" i="0" u="none" strike="noStrike" kern="1200" cap="none" spc="0" normalizeH="0" baseline="0" noProof="0" dirty="0">
                <a:ln>
                  <a:noFill/>
                </a:ln>
                <a:solidFill>
                  <a:srgbClr val="FFC000"/>
                </a:solidFill>
                <a:effectLst/>
                <a:uLnTx/>
                <a:uFillTx/>
                <a:latin typeface="Amaranth" panose="02000503000000020004" pitchFamily="50" charset="0"/>
                <a:ea typeface="+mn-ea"/>
                <a:cs typeface="Arial" panose="020B0604020202020204" pitchFamily="34" charset="0"/>
              </a:rPr>
              <a:t>Leerlingsoftware: reken</a:t>
            </a:r>
            <a:r>
              <a:rPr lang="nl-BE" sz="4000" dirty="0">
                <a:solidFill>
                  <a:srgbClr val="FFC000"/>
                </a:solidFill>
                <a:latin typeface="Amaranth" panose="02000503000000020004" pitchFamily="50" charset="0"/>
                <a:cs typeface="Arial" panose="020B0604020202020204" pitchFamily="34" charset="0"/>
              </a:rPr>
              <a:t>spel</a:t>
            </a:r>
            <a:endParaRPr kumimoji="0" lang="nl-BE" sz="4000" b="0" i="0" u="none" strike="noStrike" kern="1200" cap="none" spc="0" normalizeH="0" baseline="0" noProof="0" dirty="0">
              <a:ln>
                <a:noFill/>
              </a:ln>
              <a:solidFill>
                <a:srgbClr val="FFC000"/>
              </a:solidFill>
              <a:effectLst/>
              <a:uLnTx/>
              <a:uFillTx/>
              <a:latin typeface="Amaranth" panose="02000503000000020004" pitchFamily="50" charset="0"/>
              <a:ea typeface="+mn-ea"/>
              <a:cs typeface="Arial" panose="020B0604020202020204" pitchFamily="34" charset="0"/>
            </a:endParaRPr>
          </a:p>
        </p:txBody>
      </p:sp>
      <p:sp>
        <p:nvSpPr>
          <p:cNvPr id="20" name="TextBox 9">
            <a:extLst>
              <a:ext uri="{FF2B5EF4-FFF2-40B4-BE49-F238E27FC236}">
                <a16:creationId xmlns:a16="http://schemas.microsoft.com/office/drawing/2014/main" id="{C7AA8425-6DE2-48BD-9D9B-550BF08EB454}"/>
              </a:ext>
            </a:extLst>
          </p:cNvPr>
          <p:cNvSpPr txBox="1">
            <a:spLocks noChangeArrowheads="1"/>
          </p:cNvSpPr>
          <p:nvPr/>
        </p:nvSpPr>
        <p:spPr bwMode="auto">
          <a:xfrm>
            <a:off x="414395" y="682432"/>
            <a:ext cx="1429916" cy="369332"/>
          </a:xfrm>
          <a:prstGeom prst="rect">
            <a:avLst/>
          </a:prstGeom>
          <a:noFill/>
          <a:ln w="9525">
            <a:noFill/>
            <a:miter lim="800000"/>
            <a:headEnd/>
            <a:tailEnd/>
          </a:ln>
        </p:spPr>
        <p:txBody>
          <a:bodyPr wrap="square" lIns="0">
            <a:spAutoFit/>
          </a:bodyPr>
          <a:lstStyle/>
          <a:p>
            <a:pPr marL="3174" marR="0" lvl="0" indent="0" algn="l" defTabSz="914400" rtl="0" eaLnBrk="1" fontAlgn="auto" latinLnBrk="0" hangingPunct="1">
              <a:lnSpc>
                <a:spcPct val="90000"/>
              </a:lnSpc>
              <a:spcBef>
                <a:spcPts val="1200"/>
              </a:spcBef>
              <a:spcAft>
                <a:spcPts val="0"/>
              </a:spcAft>
              <a:buClr>
                <a:srgbClr val="5C5C5C"/>
              </a:buClr>
              <a:buSzPct val="80000"/>
              <a:buFontTx/>
              <a:buNone/>
              <a:tabLst/>
              <a:defRPr/>
            </a:pPr>
            <a:r>
              <a:rPr kumimoji="0" lang="nl-BE" sz="2000" b="1" i="0" u="none" strike="noStrike" kern="1200" cap="none" spc="0" normalizeH="0" baseline="0" noProof="0" dirty="0">
                <a:ln>
                  <a:noFill/>
                </a:ln>
                <a:solidFill>
                  <a:prstClr val="white"/>
                </a:solidFill>
                <a:effectLst/>
                <a:uLnTx/>
                <a:uFillTx/>
                <a:latin typeface="Amaranth" panose="02000503000000020004" pitchFamily="50" charset="0"/>
                <a:ea typeface="+mn-ea"/>
                <a:cs typeface="Arial" panose="020B0604020202020204" pitchFamily="34" charset="0"/>
              </a:rPr>
              <a:t>Software</a:t>
            </a:r>
          </a:p>
        </p:txBody>
      </p:sp>
      <p:sp>
        <p:nvSpPr>
          <p:cNvPr id="10" name="Freeform 41">
            <a:extLst>
              <a:ext uri="{FF2B5EF4-FFF2-40B4-BE49-F238E27FC236}">
                <a16:creationId xmlns:a16="http://schemas.microsoft.com/office/drawing/2014/main" id="{19C4BFF1-338F-4238-B984-12D30DA19C04}"/>
              </a:ext>
            </a:extLst>
          </p:cNvPr>
          <p:cNvSpPr/>
          <p:nvPr/>
        </p:nvSpPr>
        <p:spPr>
          <a:xfrm rot="845560">
            <a:off x="-82083" y="352836"/>
            <a:ext cx="2164079" cy="1020274"/>
          </a:xfrm>
          <a:custGeom>
            <a:avLst/>
            <a:gdLst>
              <a:gd name="connsiteX0" fmla="*/ 45720 w 1267097"/>
              <a:gd name="connsiteY0" fmla="*/ 378823 h 378823"/>
              <a:gd name="connsiteX1" fmla="*/ 1267097 w 1267097"/>
              <a:gd name="connsiteY1" fmla="*/ 182880 h 378823"/>
              <a:gd name="connsiteX2" fmla="*/ 1267097 w 1267097"/>
              <a:gd name="connsiteY2" fmla="*/ 0 h 378823"/>
              <a:gd name="connsiteX3" fmla="*/ 0 w 1267097"/>
              <a:gd name="connsiteY3" fmla="*/ 189412 h 378823"/>
              <a:gd name="connsiteX4" fmla="*/ 45720 w 1267097"/>
              <a:gd name="connsiteY4" fmla="*/ 378823 h 378823"/>
              <a:gd name="connsiteX0" fmla="*/ 71845 w 1293222"/>
              <a:gd name="connsiteY0" fmla="*/ 378823 h 378823"/>
              <a:gd name="connsiteX1" fmla="*/ 1293222 w 1293222"/>
              <a:gd name="connsiteY1" fmla="*/ 182880 h 378823"/>
              <a:gd name="connsiteX2" fmla="*/ 1293222 w 1293222"/>
              <a:gd name="connsiteY2" fmla="*/ 0 h 378823"/>
              <a:gd name="connsiteX3" fmla="*/ 0 w 1293222"/>
              <a:gd name="connsiteY3" fmla="*/ 130629 h 378823"/>
              <a:gd name="connsiteX4" fmla="*/ 71845 w 1293222"/>
              <a:gd name="connsiteY4" fmla="*/ 378823 h 378823"/>
              <a:gd name="connsiteX0" fmla="*/ 65313 w 1293222"/>
              <a:gd name="connsiteY0" fmla="*/ 398417 h 398417"/>
              <a:gd name="connsiteX1" fmla="*/ 1293222 w 1293222"/>
              <a:gd name="connsiteY1" fmla="*/ 182880 h 398417"/>
              <a:gd name="connsiteX2" fmla="*/ 1293222 w 1293222"/>
              <a:gd name="connsiteY2" fmla="*/ 0 h 398417"/>
              <a:gd name="connsiteX3" fmla="*/ 0 w 1293222"/>
              <a:gd name="connsiteY3" fmla="*/ 130629 h 398417"/>
              <a:gd name="connsiteX4" fmla="*/ 65313 w 1293222"/>
              <a:gd name="connsiteY4" fmla="*/ 398417 h 398417"/>
              <a:gd name="connsiteX0" fmla="*/ 104663 w 1332572"/>
              <a:gd name="connsiteY0" fmla="*/ 488407 h 488407"/>
              <a:gd name="connsiteX1" fmla="*/ 1332572 w 1332572"/>
              <a:gd name="connsiteY1" fmla="*/ 272870 h 488407"/>
              <a:gd name="connsiteX2" fmla="*/ 1332572 w 1332572"/>
              <a:gd name="connsiteY2" fmla="*/ 89990 h 488407"/>
              <a:gd name="connsiteX3" fmla="*/ 0 w 1332572"/>
              <a:gd name="connsiteY3" fmla="*/ 0 h 488407"/>
              <a:gd name="connsiteX4" fmla="*/ 104663 w 1332572"/>
              <a:gd name="connsiteY4" fmla="*/ 488407 h 488407"/>
              <a:gd name="connsiteX0" fmla="*/ 58754 w 1286663"/>
              <a:gd name="connsiteY0" fmla="*/ 488407 h 488407"/>
              <a:gd name="connsiteX1" fmla="*/ 1286663 w 1286663"/>
              <a:gd name="connsiteY1" fmla="*/ 272870 h 488407"/>
              <a:gd name="connsiteX2" fmla="*/ 1286663 w 1286663"/>
              <a:gd name="connsiteY2" fmla="*/ 89990 h 488407"/>
              <a:gd name="connsiteX3" fmla="*/ 0 w 1286663"/>
              <a:gd name="connsiteY3" fmla="*/ 0 h 488407"/>
              <a:gd name="connsiteX4" fmla="*/ 58754 w 1286663"/>
              <a:gd name="connsiteY4" fmla="*/ 488407 h 488407"/>
              <a:gd name="connsiteX0" fmla="*/ 58754 w 1293221"/>
              <a:gd name="connsiteY0" fmla="*/ 574912 h 574912"/>
              <a:gd name="connsiteX1" fmla="*/ 1286663 w 1293221"/>
              <a:gd name="connsiteY1" fmla="*/ 359375 h 574912"/>
              <a:gd name="connsiteX2" fmla="*/ 1293221 w 1293221"/>
              <a:gd name="connsiteY2" fmla="*/ 0 h 574912"/>
              <a:gd name="connsiteX3" fmla="*/ 0 w 1293221"/>
              <a:gd name="connsiteY3" fmla="*/ 86505 h 574912"/>
              <a:gd name="connsiteX4" fmla="*/ 58754 w 1293221"/>
              <a:gd name="connsiteY4" fmla="*/ 574912 h 574912"/>
              <a:gd name="connsiteX0" fmla="*/ 58754 w 1470298"/>
              <a:gd name="connsiteY0" fmla="*/ 574912 h 574912"/>
              <a:gd name="connsiteX1" fmla="*/ 1470298 w 1470298"/>
              <a:gd name="connsiteY1" fmla="*/ 561083 h 574912"/>
              <a:gd name="connsiteX2" fmla="*/ 1293221 w 1470298"/>
              <a:gd name="connsiteY2" fmla="*/ 0 h 574912"/>
              <a:gd name="connsiteX3" fmla="*/ 0 w 1470298"/>
              <a:gd name="connsiteY3" fmla="*/ 86505 h 574912"/>
              <a:gd name="connsiteX4" fmla="*/ 58754 w 1470298"/>
              <a:gd name="connsiteY4" fmla="*/ 574912 h 574912"/>
              <a:gd name="connsiteX0" fmla="*/ 65313 w 1470298"/>
              <a:gd name="connsiteY0" fmla="*/ 795531 h 795531"/>
              <a:gd name="connsiteX1" fmla="*/ 1470298 w 1470298"/>
              <a:gd name="connsiteY1" fmla="*/ 561083 h 795531"/>
              <a:gd name="connsiteX2" fmla="*/ 1293221 w 1470298"/>
              <a:gd name="connsiteY2" fmla="*/ 0 h 795531"/>
              <a:gd name="connsiteX3" fmla="*/ 0 w 1470298"/>
              <a:gd name="connsiteY3" fmla="*/ 86505 h 795531"/>
              <a:gd name="connsiteX4" fmla="*/ 65313 w 1470298"/>
              <a:gd name="connsiteY4" fmla="*/ 795531 h 795531"/>
              <a:gd name="connsiteX0" fmla="*/ 65313 w 1844126"/>
              <a:gd name="connsiteY0" fmla="*/ 795531 h 795531"/>
              <a:gd name="connsiteX1" fmla="*/ 1844126 w 1844126"/>
              <a:gd name="connsiteY1" fmla="*/ 504352 h 795531"/>
              <a:gd name="connsiteX2" fmla="*/ 1293221 w 1844126"/>
              <a:gd name="connsiteY2" fmla="*/ 0 h 795531"/>
              <a:gd name="connsiteX3" fmla="*/ 0 w 1844126"/>
              <a:gd name="connsiteY3" fmla="*/ 86505 h 795531"/>
              <a:gd name="connsiteX4" fmla="*/ 65313 w 1844126"/>
              <a:gd name="connsiteY4" fmla="*/ 795531 h 795531"/>
              <a:gd name="connsiteX0" fmla="*/ 65313 w 1844126"/>
              <a:gd name="connsiteY0" fmla="*/ 845958 h 845958"/>
              <a:gd name="connsiteX1" fmla="*/ 1844126 w 1844126"/>
              <a:gd name="connsiteY1" fmla="*/ 554779 h 845958"/>
              <a:gd name="connsiteX2" fmla="*/ 1621141 w 1844126"/>
              <a:gd name="connsiteY2" fmla="*/ 0 h 845958"/>
              <a:gd name="connsiteX3" fmla="*/ 0 w 1844126"/>
              <a:gd name="connsiteY3" fmla="*/ 136932 h 845958"/>
              <a:gd name="connsiteX4" fmla="*/ 65313 w 1844126"/>
              <a:gd name="connsiteY4" fmla="*/ 845958 h 845958"/>
              <a:gd name="connsiteX0" fmla="*/ 65313 w 1844126"/>
              <a:gd name="connsiteY0" fmla="*/ 864868 h 864868"/>
              <a:gd name="connsiteX1" fmla="*/ 1844126 w 1844126"/>
              <a:gd name="connsiteY1" fmla="*/ 573689 h 864868"/>
              <a:gd name="connsiteX2" fmla="*/ 1621141 w 1844126"/>
              <a:gd name="connsiteY2" fmla="*/ 0 h 864868"/>
              <a:gd name="connsiteX3" fmla="*/ 0 w 1844126"/>
              <a:gd name="connsiteY3" fmla="*/ 155842 h 864868"/>
              <a:gd name="connsiteX4" fmla="*/ 65313 w 1844126"/>
              <a:gd name="connsiteY4" fmla="*/ 864868 h 864868"/>
              <a:gd name="connsiteX0" fmla="*/ 65313 w 1686724"/>
              <a:gd name="connsiteY0" fmla="*/ 864868 h 864868"/>
              <a:gd name="connsiteX1" fmla="*/ 1686724 w 1686724"/>
              <a:gd name="connsiteY1" fmla="*/ 561082 h 864868"/>
              <a:gd name="connsiteX2" fmla="*/ 1621141 w 1686724"/>
              <a:gd name="connsiteY2" fmla="*/ 0 h 864868"/>
              <a:gd name="connsiteX3" fmla="*/ 0 w 1686724"/>
              <a:gd name="connsiteY3" fmla="*/ 155842 h 864868"/>
              <a:gd name="connsiteX4" fmla="*/ 65313 w 1686724"/>
              <a:gd name="connsiteY4" fmla="*/ 864868 h 864868"/>
              <a:gd name="connsiteX0" fmla="*/ 39079 w 1660490"/>
              <a:gd name="connsiteY0" fmla="*/ 864868 h 864868"/>
              <a:gd name="connsiteX1" fmla="*/ 1660490 w 1660490"/>
              <a:gd name="connsiteY1" fmla="*/ 561082 h 864868"/>
              <a:gd name="connsiteX2" fmla="*/ 1594907 w 1660490"/>
              <a:gd name="connsiteY2" fmla="*/ 0 h 864868"/>
              <a:gd name="connsiteX3" fmla="*/ 0 w 1660490"/>
              <a:gd name="connsiteY3" fmla="*/ 351248 h 864868"/>
              <a:gd name="connsiteX4" fmla="*/ 39079 w 1660490"/>
              <a:gd name="connsiteY4" fmla="*/ 864868 h 864868"/>
              <a:gd name="connsiteX0" fmla="*/ 39079 w 1857243"/>
              <a:gd name="connsiteY0" fmla="*/ 719889 h 719889"/>
              <a:gd name="connsiteX1" fmla="*/ 1660490 w 1857243"/>
              <a:gd name="connsiteY1" fmla="*/ 416103 h 719889"/>
              <a:gd name="connsiteX2" fmla="*/ 1857243 w 1857243"/>
              <a:gd name="connsiteY2" fmla="*/ 0 h 719889"/>
              <a:gd name="connsiteX3" fmla="*/ 0 w 1857243"/>
              <a:gd name="connsiteY3" fmla="*/ 206269 h 719889"/>
              <a:gd name="connsiteX4" fmla="*/ 39079 w 1857243"/>
              <a:gd name="connsiteY4" fmla="*/ 719889 h 719889"/>
              <a:gd name="connsiteX0" fmla="*/ 39079 w 1909709"/>
              <a:gd name="connsiteY0" fmla="*/ 719889 h 719889"/>
              <a:gd name="connsiteX1" fmla="*/ 1909709 w 1909709"/>
              <a:gd name="connsiteY1" fmla="*/ 208090 h 719889"/>
              <a:gd name="connsiteX2" fmla="*/ 1857243 w 1909709"/>
              <a:gd name="connsiteY2" fmla="*/ 0 h 719889"/>
              <a:gd name="connsiteX3" fmla="*/ 0 w 1909709"/>
              <a:gd name="connsiteY3" fmla="*/ 206269 h 719889"/>
              <a:gd name="connsiteX4" fmla="*/ 39079 w 1909709"/>
              <a:gd name="connsiteY4" fmla="*/ 719889 h 719889"/>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206269 h 511876"/>
              <a:gd name="connsiteX4" fmla="*/ 39079 w 1909709"/>
              <a:gd name="connsiteY4" fmla="*/ 511876 h 511876"/>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121173 h 511876"/>
              <a:gd name="connsiteX4" fmla="*/ 39079 w 1909709"/>
              <a:gd name="connsiteY4" fmla="*/ 511876 h 511876"/>
              <a:gd name="connsiteX0" fmla="*/ 39079 w 1857243"/>
              <a:gd name="connsiteY0" fmla="*/ 511876 h 511876"/>
              <a:gd name="connsiteX1" fmla="*/ 1748372 w 1857243"/>
              <a:gd name="connsiteY1" fmla="*/ 309201 h 511876"/>
              <a:gd name="connsiteX2" fmla="*/ 1857243 w 1857243"/>
              <a:gd name="connsiteY2" fmla="*/ 0 h 511876"/>
              <a:gd name="connsiteX3" fmla="*/ 0 w 1857243"/>
              <a:gd name="connsiteY3" fmla="*/ 121173 h 511876"/>
              <a:gd name="connsiteX4" fmla="*/ 39079 w 1857243"/>
              <a:gd name="connsiteY4" fmla="*/ 511876 h 511876"/>
              <a:gd name="connsiteX0" fmla="*/ 39079 w 1748372"/>
              <a:gd name="connsiteY0" fmla="*/ 499237 h 499237"/>
              <a:gd name="connsiteX1" fmla="*/ 1748372 w 1748372"/>
              <a:gd name="connsiteY1" fmla="*/ 296562 h 499237"/>
              <a:gd name="connsiteX2" fmla="*/ 1723965 w 1748372"/>
              <a:gd name="connsiteY2" fmla="*/ 0 h 499237"/>
              <a:gd name="connsiteX3" fmla="*/ 0 w 1748372"/>
              <a:gd name="connsiteY3" fmla="*/ 108534 h 499237"/>
              <a:gd name="connsiteX4" fmla="*/ 39079 w 1748372"/>
              <a:gd name="connsiteY4" fmla="*/ 499237 h 499237"/>
              <a:gd name="connsiteX0" fmla="*/ 95196 w 1748372"/>
              <a:gd name="connsiteY0" fmla="*/ 451841 h 451841"/>
              <a:gd name="connsiteX1" fmla="*/ 1748372 w 1748372"/>
              <a:gd name="connsiteY1" fmla="*/ 296562 h 451841"/>
              <a:gd name="connsiteX2" fmla="*/ 1723965 w 1748372"/>
              <a:gd name="connsiteY2" fmla="*/ 0 h 451841"/>
              <a:gd name="connsiteX3" fmla="*/ 0 w 1748372"/>
              <a:gd name="connsiteY3" fmla="*/ 108534 h 451841"/>
              <a:gd name="connsiteX4" fmla="*/ 95196 w 1748372"/>
              <a:gd name="connsiteY4" fmla="*/ 451841 h 451841"/>
              <a:gd name="connsiteX0" fmla="*/ 95196 w 1723965"/>
              <a:gd name="connsiteY0" fmla="*/ 451841 h 451841"/>
              <a:gd name="connsiteX1" fmla="*/ 1713299 w 1723965"/>
              <a:gd name="connsiteY1" fmla="*/ 315520 h 451841"/>
              <a:gd name="connsiteX2" fmla="*/ 1723965 w 1723965"/>
              <a:gd name="connsiteY2" fmla="*/ 0 h 451841"/>
              <a:gd name="connsiteX3" fmla="*/ 0 w 1723965"/>
              <a:gd name="connsiteY3" fmla="*/ 108534 h 451841"/>
              <a:gd name="connsiteX4" fmla="*/ 95196 w 1723965"/>
              <a:gd name="connsiteY4" fmla="*/ 451841 h 451841"/>
              <a:gd name="connsiteX0" fmla="*/ 95196 w 1713299"/>
              <a:gd name="connsiteY0" fmla="*/ 455001 h 455001"/>
              <a:gd name="connsiteX1" fmla="*/ 1713299 w 1713299"/>
              <a:gd name="connsiteY1" fmla="*/ 318680 h 455001"/>
              <a:gd name="connsiteX2" fmla="*/ 1667848 w 1713299"/>
              <a:gd name="connsiteY2" fmla="*/ 0 h 455001"/>
              <a:gd name="connsiteX3" fmla="*/ 0 w 1713299"/>
              <a:gd name="connsiteY3" fmla="*/ 111694 h 455001"/>
              <a:gd name="connsiteX4" fmla="*/ 95196 w 1713299"/>
              <a:gd name="connsiteY4" fmla="*/ 455001 h 455001"/>
              <a:gd name="connsiteX0" fmla="*/ 67137 w 1685240"/>
              <a:gd name="connsiteY0" fmla="*/ 455001 h 455001"/>
              <a:gd name="connsiteX1" fmla="*/ 1685240 w 1685240"/>
              <a:gd name="connsiteY1" fmla="*/ 318680 h 455001"/>
              <a:gd name="connsiteX2" fmla="*/ 1639789 w 1685240"/>
              <a:gd name="connsiteY2" fmla="*/ 0 h 455001"/>
              <a:gd name="connsiteX3" fmla="*/ 0 w 1685240"/>
              <a:gd name="connsiteY3" fmla="*/ 130652 h 455001"/>
              <a:gd name="connsiteX4" fmla="*/ 67137 w 1685240"/>
              <a:gd name="connsiteY4" fmla="*/ 455001 h 455001"/>
              <a:gd name="connsiteX0" fmla="*/ 67137 w 1667473"/>
              <a:gd name="connsiteY0" fmla="*/ 455001 h 455001"/>
              <a:gd name="connsiteX1" fmla="*/ 1667473 w 1667473"/>
              <a:gd name="connsiteY1" fmla="*/ 242054 h 455001"/>
              <a:gd name="connsiteX2" fmla="*/ 1639789 w 1667473"/>
              <a:gd name="connsiteY2" fmla="*/ 0 h 455001"/>
              <a:gd name="connsiteX3" fmla="*/ 0 w 1667473"/>
              <a:gd name="connsiteY3" fmla="*/ 130652 h 455001"/>
              <a:gd name="connsiteX4" fmla="*/ 67137 w 1667473"/>
              <a:gd name="connsiteY4" fmla="*/ 455001 h 455001"/>
              <a:gd name="connsiteX0" fmla="*/ 100217 w 1700553"/>
              <a:gd name="connsiteY0" fmla="*/ 455001 h 455001"/>
              <a:gd name="connsiteX1" fmla="*/ 1700553 w 1700553"/>
              <a:gd name="connsiteY1" fmla="*/ 242054 h 455001"/>
              <a:gd name="connsiteX2" fmla="*/ 1672869 w 1700553"/>
              <a:gd name="connsiteY2" fmla="*/ 0 h 455001"/>
              <a:gd name="connsiteX3" fmla="*/ 0 w 1700553"/>
              <a:gd name="connsiteY3" fmla="*/ 205540 h 455001"/>
              <a:gd name="connsiteX4" fmla="*/ 100217 w 1700553"/>
              <a:gd name="connsiteY4" fmla="*/ 455001 h 455001"/>
              <a:gd name="connsiteX0" fmla="*/ 100217 w 1700553"/>
              <a:gd name="connsiteY0" fmla="*/ 366878 h 366878"/>
              <a:gd name="connsiteX1" fmla="*/ 1700553 w 1700553"/>
              <a:gd name="connsiteY1" fmla="*/ 153931 h 366878"/>
              <a:gd name="connsiteX2" fmla="*/ 1588975 w 1700553"/>
              <a:gd name="connsiteY2" fmla="*/ 0 h 366878"/>
              <a:gd name="connsiteX3" fmla="*/ 0 w 1700553"/>
              <a:gd name="connsiteY3" fmla="*/ 117417 h 366878"/>
              <a:gd name="connsiteX4" fmla="*/ 100217 w 1700553"/>
              <a:gd name="connsiteY4" fmla="*/ 366878 h 366878"/>
              <a:gd name="connsiteX0" fmla="*/ 115726 w 1700553"/>
              <a:gd name="connsiteY0" fmla="*/ 305211 h 305211"/>
              <a:gd name="connsiteX1" fmla="*/ 1700553 w 1700553"/>
              <a:gd name="connsiteY1" fmla="*/ 153931 h 305211"/>
              <a:gd name="connsiteX2" fmla="*/ 1588975 w 1700553"/>
              <a:gd name="connsiteY2" fmla="*/ 0 h 305211"/>
              <a:gd name="connsiteX3" fmla="*/ 0 w 1700553"/>
              <a:gd name="connsiteY3" fmla="*/ 117417 h 305211"/>
              <a:gd name="connsiteX4" fmla="*/ 115726 w 1700553"/>
              <a:gd name="connsiteY4" fmla="*/ 305211 h 305211"/>
              <a:gd name="connsiteX0" fmla="*/ 115726 w 1700553"/>
              <a:gd name="connsiteY0" fmla="*/ 321895 h 321895"/>
              <a:gd name="connsiteX1" fmla="*/ 1700553 w 1700553"/>
              <a:gd name="connsiteY1" fmla="*/ 170615 h 321895"/>
              <a:gd name="connsiteX2" fmla="*/ 1471607 w 1700553"/>
              <a:gd name="connsiteY2" fmla="*/ 0 h 321895"/>
              <a:gd name="connsiteX3" fmla="*/ 0 w 1700553"/>
              <a:gd name="connsiteY3" fmla="*/ 134101 h 321895"/>
              <a:gd name="connsiteX4" fmla="*/ 115726 w 1700553"/>
              <a:gd name="connsiteY4" fmla="*/ 321895 h 321895"/>
              <a:gd name="connsiteX0" fmla="*/ 115726 w 1581352"/>
              <a:gd name="connsiteY0" fmla="*/ 321895 h 321895"/>
              <a:gd name="connsiteX1" fmla="*/ 1581352 w 1581352"/>
              <a:gd name="connsiteY1" fmla="*/ 210307 h 321895"/>
              <a:gd name="connsiteX2" fmla="*/ 1471607 w 1581352"/>
              <a:gd name="connsiteY2" fmla="*/ 0 h 321895"/>
              <a:gd name="connsiteX3" fmla="*/ 0 w 1581352"/>
              <a:gd name="connsiteY3" fmla="*/ 134101 h 321895"/>
              <a:gd name="connsiteX4" fmla="*/ 115726 w 1581352"/>
              <a:gd name="connsiteY4" fmla="*/ 321895 h 321895"/>
              <a:gd name="connsiteX0" fmla="*/ 92298 w 1557924"/>
              <a:gd name="connsiteY0" fmla="*/ 321895 h 321895"/>
              <a:gd name="connsiteX1" fmla="*/ 1557924 w 1557924"/>
              <a:gd name="connsiteY1" fmla="*/ 210307 h 321895"/>
              <a:gd name="connsiteX2" fmla="*/ 1448179 w 1557924"/>
              <a:gd name="connsiteY2" fmla="*/ 0 h 321895"/>
              <a:gd name="connsiteX3" fmla="*/ 0 w 1557924"/>
              <a:gd name="connsiteY3" fmla="*/ 116473 h 321895"/>
              <a:gd name="connsiteX4" fmla="*/ 92298 w 1557924"/>
              <a:gd name="connsiteY4" fmla="*/ 321895 h 321895"/>
              <a:gd name="connsiteX0" fmla="*/ 152961 w 1557924"/>
              <a:gd name="connsiteY0" fmla="*/ 341247 h 341247"/>
              <a:gd name="connsiteX1" fmla="*/ 1557924 w 1557924"/>
              <a:gd name="connsiteY1" fmla="*/ 210307 h 341247"/>
              <a:gd name="connsiteX2" fmla="*/ 1448179 w 1557924"/>
              <a:gd name="connsiteY2" fmla="*/ 0 h 341247"/>
              <a:gd name="connsiteX3" fmla="*/ 0 w 1557924"/>
              <a:gd name="connsiteY3" fmla="*/ 116473 h 341247"/>
              <a:gd name="connsiteX4" fmla="*/ 152961 w 1557924"/>
              <a:gd name="connsiteY4" fmla="*/ 341247 h 341247"/>
              <a:gd name="connsiteX0" fmla="*/ 135357 w 1557924"/>
              <a:gd name="connsiteY0" fmla="*/ 339493 h 339493"/>
              <a:gd name="connsiteX1" fmla="*/ 1557924 w 1557924"/>
              <a:gd name="connsiteY1" fmla="*/ 210307 h 339493"/>
              <a:gd name="connsiteX2" fmla="*/ 1448179 w 1557924"/>
              <a:gd name="connsiteY2" fmla="*/ 0 h 339493"/>
              <a:gd name="connsiteX3" fmla="*/ 0 w 1557924"/>
              <a:gd name="connsiteY3" fmla="*/ 116473 h 339493"/>
              <a:gd name="connsiteX4" fmla="*/ 135357 w 1557924"/>
              <a:gd name="connsiteY4" fmla="*/ 339493 h 339493"/>
              <a:gd name="connsiteX0" fmla="*/ 109934 w 1532501"/>
              <a:gd name="connsiteY0" fmla="*/ 339493 h 339493"/>
              <a:gd name="connsiteX1" fmla="*/ 1532501 w 1532501"/>
              <a:gd name="connsiteY1" fmla="*/ 210307 h 339493"/>
              <a:gd name="connsiteX2" fmla="*/ 1422756 w 1532501"/>
              <a:gd name="connsiteY2" fmla="*/ 0 h 339493"/>
              <a:gd name="connsiteX3" fmla="*/ 0 w 1532501"/>
              <a:gd name="connsiteY3" fmla="*/ 117343 h 339493"/>
              <a:gd name="connsiteX4" fmla="*/ 109934 w 1532501"/>
              <a:gd name="connsiteY4" fmla="*/ 339493 h 339493"/>
              <a:gd name="connsiteX0" fmla="*/ 133525 w 1556092"/>
              <a:gd name="connsiteY0" fmla="*/ 339493 h 339493"/>
              <a:gd name="connsiteX1" fmla="*/ 1556092 w 1556092"/>
              <a:gd name="connsiteY1" fmla="*/ 210307 h 339493"/>
              <a:gd name="connsiteX2" fmla="*/ 1446347 w 1556092"/>
              <a:gd name="connsiteY2" fmla="*/ 0 h 339493"/>
              <a:gd name="connsiteX3" fmla="*/ 0 w 1556092"/>
              <a:gd name="connsiteY3" fmla="*/ 60098 h 339493"/>
              <a:gd name="connsiteX4" fmla="*/ 133525 w 1556092"/>
              <a:gd name="connsiteY4" fmla="*/ 339493 h 339493"/>
              <a:gd name="connsiteX0" fmla="*/ 133525 w 2343667"/>
              <a:gd name="connsiteY0" fmla="*/ 459688 h 459688"/>
              <a:gd name="connsiteX1" fmla="*/ 1556092 w 2343667"/>
              <a:gd name="connsiteY1" fmla="*/ 330502 h 459688"/>
              <a:gd name="connsiteX2" fmla="*/ 2343667 w 2343667"/>
              <a:gd name="connsiteY2" fmla="*/ 0 h 459688"/>
              <a:gd name="connsiteX3" fmla="*/ 0 w 2343667"/>
              <a:gd name="connsiteY3" fmla="*/ 180293 h 459688"/>
              <a:gd name="connsiteX4" fmla="*/ 133525 w 2343667"/>
              <a:gd name="connsiteY4" fmla="*/ 459688 h 459688"/>
              <a:gd name="connsiteX0" fmla="*/ 133525 w 2391079"/>
              <a:gd name="connsiteY0" fmla="*/ 459688 h 459688"/>
              <a:gd name="connsiteX1" fmla="*/ 2391079 w 2391079"/>
              <a:gd name="connsiteY1" fmla="*/ 322204 h 459688"/>
              <a:gd name="connsiteX2" fmla="*/ 2343667 w 2391079"/>
              <a:gd name="connsiteY2" fmla="*/ 0 h 459688"/>
              <a:gd name="connsiteX3" fmla="*/ 0 w 2391079"/>
              <a:gd name="connsiteY3" fmla="*/ 180293 h 459688"/>
              <a:gd name="connsiteX4" fmla="*/ 133525 w 2391079"/>
              <a:gd name="connsiteY4" fmla="*/ 459688 h 459688"/>
              <a:gd name="connsiteX0" fmla="*/ 159047 w 2391079"/>
              <a:gd name="connsiteY0" fmla="*/ 505482 h 505482"/>
              <a:gd name="connsiteX1" fmla="*/ 2391079 w 2391079"/>
              <a:gd name="connsiteY1" fmla="*/ 322204 h 505482"/>
              <a:gd name="connsiteX2" fmla="*/ 2343667 w 2391079"/>
              <a:gd name="connsiteY2" fmla="*/ 0 h 505482"/>
              <a:gd name="connsiteX3" fmla="*/ 0 w 2391079"/>
              <a:gd name="connsiteY3" fmla="*/ 180293 h 505482"/>
              <a:gd name="connsiteX4" fmla="*/ 159047 w 2391079"/>
              <a:gd name="connsiteY4" fmla="*/ 505482 h 505482"/>
              <a:gd name="connsiteX0" fmla="*/ 159047 w 2391079"/>
              <a:gd name="connsiteY0" fmla="*/ 518659 h 518659"/>
              <a:gd name="connsiteX1" fmla="*/ 2391079 w 2391079"/>
              <a:gd name="connsiteY1" fmla="*/ 335381 h 518659"/>
              <a:gd name="connsiteX2" fmla="*/ 2261507 w 2391079"/>
              <a:gd name="connsiteY2" fmla="*/ 0 h 518659"/>
              <a:gd name="connsiteX3" fmla="*/ 0 w 2391079"/>
              <a:gd name="connsiteY3" fmla="*/ 193470 h 518659"/>
              <a:gd name="connsiteX4" fmla="*/ 159047 w 2391079"/>
              <a:gd name="connsiteY4" fmla="*/ 518659 h 518659"/>
              <a:gd name="connsiteX0" fmla="*/ 159047 w 2513813"/>
              <a:gd name="connsiteY0" fmla="*/ 498511 h 498511"/>
              <a:gd name="connsiteX1" fmla="*/ 2391079 w 2513813"/>
              <a:gd name="connsiteY1" fmla="*/ 315233 h 498511"/>
              <a:gd name="connsiteX2" fmla="*/ 2513813 w 2513813"/>
              <a:gd name="connsiteY2" fmla="*/ 0 h 498511"/>
              <a:gd name="connsiteX3" fmla="*/ 0 w 2513813"/>
              <a:gd name="connsiteY3" fmla="*/ 173322 h 498511"/>
              <a:gd name="connsiteX4" fmla="*/ 159047 w 2513813"/>
              <a:gd name="connsiteY4" fmla="*/ 498511 h 498511"/>
              <a:gd name="connsiteX0" fmla="*/ 159047 w 2547383"/>
              <a:gd name="connsiteY0" fmla="*/ 498511 h 498511"/>
              <a:gd name="connsiteX1" fmla="*/ 2547383 w 2547383"/>
              <a:gd name="connsiteY1" fmla="*/ 252623 h 498511"/>
              <a:gd name="connsiteX2" fmla="*/ 2513813 w 2547383"/>
              <a:gd name="connsiteY2" fmla="*/ 0 h 498511"/>
              <a:gd name="connsiteX3" fmla="*/ 0 w 2547383"/>
              <a:gd name="connsiteY3" fmla="*/ 173322 h 498511"/>
              <a:gd name="connsiteX4" fmla="*/ 159047 w 2547383"/>
              <a:gd name="connsiteY4" fmla="*/ 498511 h 498511"/>
              <a:gd name="connsiteX0" fmla="*/ 164772 w 2553108"/>
              <a:gd name="connsiteY0" fmla="*/ 498511 h 498511"/>
              <a:gd name="connsiteX1" fmla="*/ 2553108 w 2553108"/>
              <a:gd name="connsiteY1" fmla="*/ 252623 h 498511"/>
              <a:gd name="connsiteX2" fmla="*/ 2519538 w 2553108"/>
              <a:gd name="connsiteY2" fmla="*/ 0 h 498511"/>
              <a:gd name="connsiteX3" fmla="*/ 0 w 2553108"/>
              <a:gd name="connsiteY3" fmla="*/ 237627 h 498511"/>
              <a:gd name="connsiteX4" fmla="*/ 164772 w 2553108"/>
              <a:gd name="connsiteY4" fmla="*/ 498511 h 498511"/>
              <a:gd name="connsiteX0" fmla="*/ 102113 w 2553108"/>
              <a:gd name="connsiteY0" fmla="*/ 460662 h 460662"/>
              <a:gd name="connsiteX1" fmla="*/ 2553108 w 2553108"/>
              <a:gd name="connsiteY1" fmla="*/ 252623 h 460662"/>
              <a:gd name="connsiteX2" fmla="*/ 2519538 w 2553108"/>
              <a:gd name="connsiteY2" fmla="*/ 0 h 460662"/>
              <a:gd name="connsiteX3" fmla="*/ 0 w 2553108"/>
              <a:gd name="connsiteY3" fmla="*/ 237627 h 460662"/>
              <a:gd name="connsiteX4" fmla="*/ 102113 w 2553108"/>
              <a:gd name="connsiteY4" fmla="*/ 460662 h 460662"/>
              <a:gd name="connsiteX0" fmla="*/ 102113 w 2553108"/>
              <a:gd name="connsiteY0" fmla="*/ 424537 h 424537"/>
              <a:gd name="connsiteX1" fmla="*/ 2553108 w 2553108"/>
              <a:gd name="connsiteY1" fmla="*/ 216498 h 424537"/>
              <a:gd name="connsiteX2" fmla="*/ 2498106 w 2553108"/>
              <a:gd name="connsiteY2" fmla="*/ 0 h 424537"/>
              <a:gd name="connsiteX3" fmla="*/ 0 w 2553108"/>
              <a:gd name="connsiteY3" fmla="*/ 201502 h 424537"/>
              <a:gd name="connsiteX4" fmla="*/ 102113 w 2553108"/>
              <a:gd name="connsiteY4" fmla="*/ 424537 h 424537"/>
              <a:gd name="connsiteX0" fmla="*/ 90333 w 2553108"/>
              <a:gd name="connsiteY0" fmla="*/ 403402 h 403402"/>
              <a:gd name="connsiteX1" fmla="*/ 2553108 w 2553108"/>
              <a:gd name="connsiteY1" fmla="*/ 216498 h 403402"/>
              <a:gd name="connsiteX2" fmla="*/ 2498106 w 2553108"/>
              <a:gd name="connsiteY2" fmla="*/ 0 h 403402"/>
              <a:gd name="connsiteX3" fmla="*/ 0 w 2553108"/>
              <a:gd name="connsiteY3" fmla="*/ 201502 h 403402"/>
              <a:gd name="connsiteX4" fmla="*/ 90333 w 2553108"/>
              <a:gd name="connsiteY4" fmla="*/ 403402 h 403402"/>
              <a:gd name="connsiteX0" fmla="*/ 60951 w 2523726"/>
              <a:gd name="connsiteY0" fmla="*/ 403402 h 403402"/>
              <a:gd name="connsiteX1" fmla="*/ 2523726 w 2523726"/>
              <a:gd name="connsiteY1" fmla="*/ 216498 h 403402"/>
              <a:gd name="connsiteX2" fmla="*/ 2468724 w 2523726"/>
              <a:gd name="connsiteY2" fmla="*/ 0 h 403402"/>
              <a:gd name="connsiteX3" fmla="*/ 0 w 2523726"/>
              <a:gd name="connsiteY3" fmla="*/ 224392 h 403402"/>
              <a:gd name="connsiteX4" fmla="*/ 60951 w 2523726"/>
              <a:gd name="connsiteY4" fmla="*/ 403402 h 40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3726" h="403402">
                <a:moveTo>
                  <a:pt x="60951" y="403402"/>
                </a:moveTo>
                <a:lnTo>
                  <a:pt x="2523726" y="216498"/>
                </a:lnTo>
                <a:lnTo>
                  <a:pt x="2468724" y="0"/>
                </a:lnTo>
                <a:lnTo>
                  <a:pt x="0" y="224392"/>
                </a:lnTo>
                <a:lnTo>
                  <a:pt x="60951" y="403402"/>
                </a:lnTo>
                <a:close/>
              </a:path>
            </a:pathLst>
          </a:custGeom>
          <a:solidFill>
            <a:schemeClr val="bg1"/>
          </a:solidFill>
          <a:ln>
            <a:noFill/>
          </a:ln>
          <a:effectLst>
            <a:outerShdw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solidFill>
                <a:schemeClr val="accent4"/>
              </a:solidFill>
            </a:endParaRPr>
          </a:p>
        </p:txBody>
      </p:sp>
      <p:sp>
        <p:nvSpPr>
          <p:cNvPr id="12" name="TextBox 9">
            <a:extLst>
              <a:ext uri="{FF2B5EF4-FFF2-40B4-BE49-F238E27FC236}">
                <a16:creationId xmlns:a16="http://schemas.microsoft.com/office/drawing/2014/main" id="{C3944AA2-7FD8-4EED-A32C-A9F6411C21EC}"/>
              </a:ext>
            </a:extLst>
          </p:cNvPr>
          <p:cNvSpPr txBox="1">
            <a:spLocks noChangeArrowheads="1"/>
          </p:cNvSpPr>
          <p:nvPr/>
        </p:nvSpPr>
        <p:spPr bwMode="auto">
          <a:xfrm>
            <a:off x="224576" y="678307"/>
            <a:ext cx="2485989" cy="369332"/>
          </a:xfrm>
          <a:prstGeom prst="rect">
            <a:avLst/>
          </a:prstGeom>
          <a:noFill/>
          <a:ln w="9525">
            <a:noFill/>
            <a:miter lim="800000"/>
            <a:headEnd/>
            <a:tailEnd/>
          </a:ln>
          <a:effectLst/>
        </p:spPr>
        <p:txBody>
          <a:bodyPr wrap="square" lIns="0">
            <a:spAutoFit/>
          </a:bodyPr>
          <a:lstStyle/>
          <a:p>
            <a:pPr marL="3174">
              <a:lnSpc>
                <a:spcPct val="90000"/>
              </a:lnSpc>
              <a:spcBef>
                <a:spcPts val="1200"/>
              </a:spcBef>
              <a:buClr>
                <a:srgbClr val="5C5C5C"/>
              </a:buClr>
              <a:buSzPct val="80000"/>
            </a:pPr>
            <a:r>
              <a:rPr lang="nl-BE" sz="2000" b="1" dirty="0">
                <a:solidFill>
                  <a:srgbClr val="FFC000"/>
                </a:solidFill>
                <a:latin typeface="Amaranth" panose="02000503000000020004" pitchFamily="50" charset="0"/>
                <a:cs typeface="Arial" panose="020B0604020202020204" pitchFamily="34" charset="0"/>
              </a:rPr>
              <a:t>Software</a:t>
            </a:r>
          </a:p>
        </p:txBody>
      </p:sp>
      <p:pic>
        <p:nvPicPr>
          <p:cNvPr id="17" name="Afbeelding 16">
            <a:extLst>
              <a:ext uri="{FF2B5EF4-FFF2-40B4-BE49-F238E27FC236}">
                <a16:creationId xmlns:a16="http://schemas.microsoft.com/office/drawing/2014/main" id="{CC74526C-91E5-4356-9F09-02B38EF18E16}"/>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1241707" y="6052930"/>
            <a:ext cx="661508" cy="556592"/>
          </a:xfrm>
          <a:prstGeom prst="rect">
            <a:avLst/>
          </a:prstGeom>
        </p:spPr>
      </p:pic>
      <p:sp>
        <p:nvSpPr>
          <p:cNvPr id="3" name="Rechthoek 2">
            <a:extLst>
              <a:ext uri="{FF2B5EF4-FFF2-40B4-BE49-F238E27FC236}">
                <a16:creationId xmlns:a16="http://schemas.microsoft.com/office/drawing/2014/main" id="{8CCCA7C5-4D8B-42E0-B5E2-026207558DA9}"/>
              </a:ext>
            </a:extLst>
          </p:cNvPr>
          <p:cNvSpPr/>
          <p:nvPr/>
        </p:nvSpPr>
        <p:spPr>
          <a:xfrm>
            <a:off x="6132308" y="2241466"/>
            <a:ext cx="2468689" cy="461665"/>
          </a:xfrm>
          <a:prstGeom prst="rect">
            <a:avLst/>
          </a:prstGeom>
        </p:spPr>
        <p:txBody>
          <a:bodyPr wrap="none">
            <a:spAutoFit/>
          </a:bodyPr>
          <a:lstStyle/>
          <a:p>
            <a:r>
              <a:rPr lang="nl-NL" sz="2400" b="1" dirty="0">
                <a:solidFill>
                  <a:schemeClr val="bg1"/>
                </a:solidFill>
              </a:rPr>
              <a:t>Rekenspel</a:t>
            </a:r>
            <a:r>
              <a:rPr lang="nl-NL" sz="2400" dirty="0">
                <a:solidFill>
                  <a:schemeClr val="bg1"/>
                </a:solidFill>
              </a:rPr>
              <a:t>: Meten</a:t>
            </a:r>
          </a:p>
        </p:txBody>
      </p:sp>
      <p:sp>
        <p:nvSpPr>
          <p:cNvPr id="4" name="Rechthoek 3">
            <a:extLst>
              <a:ext uri="{FF2B5EF4-FFF2-40B4-BE49-F238E27FC236}">
                <a16:creationId xmlns:a16="http://schemas.microsoft.com/office/drawing/2014/main" id="{05E846C1-5940-4420-9140-3BD06367E482}"/>
              </a:ext>
            </a:extLst>
          </p:cNvPr>
          <p:cNvSpPr/>
          <p:nvPr/>
        </p:nvSpPr>
        <p:spPr>
          <a:xfrm>
            <a:off x="6132308" y="3082836"/>
            <a:ext cx="5865481" cy="1200329"/>
          </a:xfrm>
          <a:prstGeom prst="rect">
            <a:avLst/>
          </a:prstGeom>
        </p:spPr>
        <p:txBody>
          <a:bodyPr wrap="square">
            <a:spAutoFit/>
          </a:bodyPr>
          <a:lstStyle/>
          <a:p>
            <a:r>
              <a:rPr lang="nl-NL" dirty="0">
                <a:solidFill>
                  <a:schemeClr val="bg1"/>
                </a:solidFill>
              </a:rPr>
              <a:t>Spelen met:</a:t>
            </a:r>
          </a:p>
          <a:p>
            <a:pPr marL="457200" indent="-457200">
              <a:buFont typeface="Arial" panose="020B0604020202020204" pitchFamily="34" charset="0"/>
              <a:buChar char="•"/>
            </a:pPr>
            <a:r>
              <a:rPr lang="nl-NL" dirty="0">
                <a:solidFill>
                  <a:schemeClr val="bg1"/>
                </a:solidFill>
              </a:rPr>
              <a:t>Tijd</a:t>
            </a:r>
          </a:p>
          <a:p>
            <a:pPr marL="457200" indent="-457200">
              <a:buFont typeface="Arial" panose="020B0604020202020204" pitchFamily="34" charset="0"/>
              <a:buChar char="•"/>
            </a:pPr>
            <a:r>
              <a:rPr lang="nl-NL" dirty="0">
                <a:solidFill>
                  <a:schemeClr val="bg1"/>
                </a:solidFill>
              </a:rPr>
              <a:t>Geld</a:t>
            </a:r>
          </a:p>
          <a:p>
            <a:pPr marL="457200" indent="-457200">
              <a:buFont typeface="Arial" panose="020B0604020202020204" pitchFamily="34" charset="0"/>
              <a:buChar char="•"/>
            </a:pPr>
            <a:r>
              <a:rPr lang="nl-NL" dirty="0">
                <a:solidFill>
                  <a:schemeClr val="bg1"/>
                </a:solidFill>
              </a:rPr>
              <a:t>Vergelijken en ordenen</a:t>
            </a:r>
          </a:p>
        </p:txBody>
      </p:sp>
      <p:pic>
        <p:nvPicPr>
          <p:cNvPr id="14" name="Afbeelding 13">
            <a:extLst>
              <a:ext uri="{FF2B5EF4-FFF2-40B4-BE49-F238E27FC236}">
                <a16:creationId xmlns:a16="http://schemas.microsoft.com/office/drawing/2014/main" id="{439B7A87-05EB-4475-BFC0-B2AAF9CEDD7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68128" y="1996358"/>
            <a:ext cx="5249852" cy="3490042"/>
          </a:xfrm>
          <a:prstGeom prst="rect">
            <a:avLst/>
          </a:prstGeom>
        </p:spPr>
      </p:pic>
      <p:sp>
        <p:nvSpPr>
          <p:cNvPr id="2" name="Rechthoek 1">
            <a:extLst>
              <a:ext uri="{FF2B5EF4-FFF2-40B4-BE49-F238E27FC236}">
                <a16:creationId xmlns:a16="http://schemas.microsoft.com/office/drawing/2014/main" id="{BA2C8FED-8686-44D7-A044-7C6F4C7F9568}"/>
              </a:ext>
            </a:extLst>
          </p:cNvPr>
          <p:cNvSpPr/>
          <p:nvPr/>
        </p:nvSpPr>
        <p:spPr>
          <a:xfrm>
            <a:off x="168128" y="5636452"/>
            <a:ext cx="3910558" cy="276999"/>
          </a:xfrm>
          <a:prstGeom prst="rect">
            <a:avLst/>
          </a:prstGeom>
        </p:spPr>
        <p:txBody>
          <a:bodyPr wrap="none">
            <a:spAutoFit/>
          </a:bodyPr>
          <a:lstStyle/>
          <a:p>
            <a:r>
              <a:rPr lang="nl-NL" sz="1200" i="1" dirty="0"/>
              <a:t>“Leg in de goede volgorde. Wat komt eerst en wat daarna?”</a:t>
            </a:r>
            <a:endParaRPr lang="nl-NL" sz="1200" dirty="0"/>
          </a:p>
        </p:txBody>
      </p:sp>
    </p:spTree>
    <p:extLst>
      <p:ext uri="{BB962C8B-B14F-4D97-AF65-F5344CB8AC3E}">
        <p14:creationId xmlns:p14="http://schemas.microsoft.com/office/powerpoint/2010/main" val="130342733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hoek 12">
            <a:extLst>
              <a:ext uri="{FF2B5EF4-FFF2-40B4-BE49-F238E27FC236}">
                <a16:creationId xmlns:a16="http://schemas.microsoft.com/office/drawing/2014/main" id="{CECEAB52-2BFE-4DB7-83D8-2B3EABF14D7F}"/>
              </a:ext>
            </a:extLst>
          </p:cNvPr>
          <p:cNvSpPr/>
          <p:nvPr/>
        </p:nvSpPr>
        <p:spPr>
          <a:xfrm>
            <a:off x="36308" y="1701879"/>
            <a:ext cx="12192000" cy="4453958"/>
          </a:xfrm>
          <a:prstGeom prst="rect">
            <a:avLst/>
          </a:prstGeom>
          <a:solidFill>
            <a:srgbClr val="FFC00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52" name="think-cell Slide" r:id="rId5" imgW="353" imgH="353" progId="TCLayout.ActiveDocument.1">
                  <p:embed/>
                </p:oleObj>
              </mc:Choice>
              <mc:Fallback>
                <p:oleObj name="think-cell Slide" r:id="rId5" imgW="353" imgH="353"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extBox 14"/>
          <p:cNvSpPr txBox="1"/>
          <p:nvPr/>
        </p:nvSpPr>
        <p:spPr>
          <a:xfrm>
            <a:off x="5819286" y="601863"/>
            <a:ext cx="6178503" cy="646331"/>
          </a:xfrm>
          <a:prstGeom prst="rect">
            <a:avLst/>
          </a:prstGeom>
          <a:noFill/>
        </p:spPr>
        <p:txBody>
          <a:bodyPr wrap="square" rtlCol="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tab pos="1971675" algn="l"/>
              </a:tabLst>
              <a:defRPr/>
            </a:pPr>
            <a:r>
              <a:rPr kumimoji="0" lang="nl-BE" sz="4000" b="0" i="0" u="none" strike="noStrike" kern="1200" cap="none" spc="0" normalizeH="0" baseline="0" noProof="0" dirty="0">
                <a:ln>
                  <a:noFill/>
                </a:ln>
                <a:solidFill>
                  <a:srgbClr val="FFC000"/>
                </a:solidFill>
                <a:effectLst/>
                <a:uLnTx/>
                <a:uFillTx/>
                <a:latin typeface="Amaranth" panose="02000503000000020004" pitchFamily="50" charset="0"/>
                <a:ea typeface="+mn-ea"/>
                <a:cs typeface="Arial" panose="020B0604020202020204" pitchFamily="34" charset="0"/>
              </a:rPr>
              <a:t>Leerlingsoftware: reken</a:t>
            </a:r>
            <a:r>
              <a:rPr lang="nl-BE" sz="4000" dirty="0">
                <a:solidFill>
                  <a:srgbClr val="FFC000"/>
                </a:solidFill>
                <a:latin typeface="Amaranth" panose="02000503000000020004" pitchFamily="50" charset="0"/>
                <a:cs typeface="Arial" panose="020B0604020202020204" pitchFamily="34" charset="0"/>
              </a:rPr>
              <a:t>spel</a:t>
            </a:r>
            <a:endParaRPr kumimoji="0" lang="nl-BE" sz="4000" b="0" i="0" u="none" strike="noStrike" kern="1200" cap="none" spc="0" normalizeH="0" baseline="0" noProof="0" dirty="0">
              <a:ln>
                <a:noFill/>
              </a:ln>
              <a:solidFill>
                <a:srgbClr val="FFC000"/>
              </a:solidFill>
              <a:effectLst/>
              <a:uLnTx/>
              <a:uFillTx/>
              <a:latin typeface="Amaranth" panose="02000503000000020004" pitchFamily="50" charset="0"/>
              <a:ea typeface="+mn-ea"/>
              <a:cs typeface="Arial" panose="020B0604020202020204" pitchFamily="34" charset="0"/>
            </a:endParaRPr>
          </a:p>
        </p:txBody>
      </p:sp>
      <p:sp>
        <p:nvSpPr>
          <p:cNvPr id="20" name="TextBox 9">
            <a:extLst>
              <a:ext uri="{FF2B5EF4-FFF2-40B4-BE49-F238E27FC236}">
                <a16:creationId xmlns:a16="http://schemas.microsoft.com/office/drawing/2014/main" id="{C7AA8425-6DE2-48BD-9D9B-550BF08EB454}"/>
              </a:ext>
            </a:extLst>
          </p:cNvPr>
          <p:cNvSpPr txBox="1">
            <a:spLocks noChangeArrowheads="1"/>
          </p:cNvSpPr>
          <p:nvPr/>
        </p:nvSpPr>
        <p:spPr bwMode="auto">
          <a:xfrm>
            <a:off x="414395" y="682432"/>
            <a:ext cx="1429916" cy="369332"/>
          </a:xfrm>
          <a:prstGeom prst="rect">
            <a:avLst/>
          </a:prstGeom>
          <a:noFill/>
          <a:ln w="9525">
            <a:noFill/>
            <a:miter lim="800000"/>
            <a:headEnd/>
            <a:tailEnd/>
          </a:ln>
        </p:spPr>
        <p:txBody>
          <a:bodyPr wrap="square" lIns="0">
            <a:spAutoFit/>
          </a:bodyPr>
          <a:lstStyle/>
          <a:p>
            <a:pPr marL="3174" marR="0" lvl="0" indent="0" algn="l" defTabSz="914400" rtl="0" eaLnBrk="1" fontAlgn="auto" latinLnBrk="0" hangingPunct="1">
              <a:lnSpc>
                <a:spcPct val="90000"/>
              </a:lnSpc>
              <a:spcBef>
                <a:spcPts val="1200"/>
              </a:spcBef>
              <a:spcAft>
                <a:spcPts val="0"/>
              </a:spcAft>
              <a:buClr>
                <a:srgbClr val="5C5C5C"/>
              </a:buClr>
              <a:buSzPct val="80000"/>
              <a:buFontTx/>
              <a:buNone/>
              <a:tabLst/>
              <a:defRPr/>
            </a:pPr>
            <a:r>
              <a:rPr kumimoji="0" lang="nl-BE" sz="2000" b="1" i="0" u="none" strike="noStrike" kern="1200" cap="none" spc="0" normalizeH="0" baseline="0" noProof="0" dirty="0">
                <a:ln>
                  <a:noFill/>
                </a:ln>
                <a:solidFill>
                  <a:prstClr val="white"/>
                </a:solidFill>
                <a:effectLst/>
                <a:uLnTx/>
                <a:uFillTx/>
                <a:latin typeface="Amaranth" panose="02000503000000020004" pitchFamily="50" charset="0"/>
                <a:ea typeface="+mn-ea"/>
                <a:cs typeface="Arial" panose="020B0604020202020204" pitchFamily="34" charset="0"/>
              </a:rPr>
              <a:t>Software</a:t>
            </a:r>
          </a:p>
        </p:txBody>
      </p:sp>
      <p:sp>
        <p:nvSpPr>
          <p:cNvPr id="10" name="Freeform 41">
            <a:extLst>
              <a:ext uri="{FF2B5EF4-FFF2-40B4-BE49-F238E27FC236}">
                <a16:creationId xmlns:a16="http://schemas.microsoft.com/office/drawing/2014/main" id="{19C4BFF1-338F-4238-B984-12D30DA19C04}"/>
              </a:ext>
            </a:extLst>
          </p:cNvPr>
          <p:cNvSpPr/>
          <p:nvPr/>
        </p:nvSpPr>
        <p:spPr>
          <a:xfrm rot="845560">
            <a:off x="-82083" y="352836"/>
            <a:ext cx="2164079" cy="1020274"/>
          </a:xfrm>
          <a:custGeom>
            <a:avLst/>
            <a:gdLst>
              <a:gd name="connsiteX0" fmla="*/ 45720 w 1267097"/>
              <a:gd name="connsiteY0" fmla="*/ 378823 h 378823"/>
              <a:gd name="connsiteX1" fmla="*/ 1267097 w 1267097"/>
              <a:gd name="connsiteY1" fmla="*/ 182880 h 378823"/>
              <a:gd name="connsiteX2" fmla="*/ 1267097 w 1267097"/>
              <a:gd name="connsiteY2" fmla="*/ 0 h 378823"/>
              <a:gd name="connsiteX3" fmla="*/ 0 w 1267097"/>
              <a:gd name="connsiteY3" fmla="*/ 189412 h 378823"/>
              <a:gd name="connsiteX4" fmla="*/ 45720 w 1267097"/>
              <a:gd name="connsiteY4" fmla="*/ 378823 h 378823"/>
              <a:gd name="connsiteX0" fmla="*/ 71845 w 1293222"/>
              <a:gd name="connsiteY0" fmla="*/ 378823 h 378823"/>
              <a:gd name="connsiteX1" fmla="*/ 1293222 w 1293222"/>
              <a:gd name="connsiteY1" fmla="*/ 182880 h 378823"/>
              <a:gd name="connsiteX2" fmla="*/ 1293222 w 1293222"/>
              <a:gd name="connsiteY2" fmla="*/ 0 h 378823"/>
              <a:gd name="connsiteX3" fmla="*/ 0 w 1293222"/>
              <a:gd name="connsiteY3" fmla="*/ 130629 h 378823"/>
              <a:gd name="connsiteX4" fmla="*/ 71845 w 1293222"/>
              <a:gd name="connsiteY4" fmla="*/ 378823 h 378823"/>
              <a:gd name="connsiteX0" fmla="*/ 65313 w 1293222"/>
              <a:gd name="connsiteY0" fmla="*/ 398417 h 398417"/>
              <a:gd name="connsiteX1" fmla="*/ 1293222 w 1293222"/>
              <a:gd name="connsiteY1" fmla="*/ 182880 h 398417"/>
              <a:gd name="connsiteX2" fmla="*/ 1293222 w 1293222"/>
              <a:gd name="connsiteY2" fmla="*/ 0 h 398417"/>
              <a:gd name="connsiteX3" fmla="*/ 0 w 1293222"/>
              <a:gd name="connsiteY3" fmla="*/ 130629 h 398417"/>
              <a:gd name="connsiteX4" fmla="*/ 65313 w 1293222"/>
              <a:gd name="connsiteY4" fmla="*/ 398417 h 398417"/>
              <a:gd name="connsiteX0" fmla="*/ 104663 w 1332572"/>
              <a:gd name="connsiteY0" fmla="*/ 488407 h 488407"/>
              <a:gd name="connsiteX1" fmla="*/ 1332572 w 1332572"/>
              <a:gd name="connsiteY1" fmla="*/ 272870 h 488407"/>
              <a:gd name="connsiteX2" fmla="*/ 1332572 w 1332572"/>
              <a:gd name="connsiteY2" fmla="*/ 89990 h 488407"/>
              <a:gd name="connsiteX3" fmla="*/ 0 w 1332572"/>
              <a:gd name="connsiteY3" fmla="*/ 0 h 488407"/>
              <a:gd name="connsiteX4" fmla="*/ 104663 w 1332572"/>
              <a:gd name="connsiteY4" fmla="*/ 488407 h 488407"/>
              <a:gd name="connsiteX0" fmla="*/ 58754 w 1286663"/>
              <a:gd name="connsiteY0" fmla="*/ 488407 h 488407"/>
              <a:gd name="connsiteX1" fmla="*/ 1286663 w 1286663"/>
              <a:gd name="connsiteY1" fmla="*/ 272870 h 488407"/>
              <a:gd name="connsiteX2" fmla="*/ 1286663 w 1286663"/>
              <a:gd name="connsiteY2" fmla="*/ 89990 h 488407"/>
              <a:gd name="connsiteX3" fmla="*/ 0 w 1286663"/>
              <a:gd name="connsiteY3" fmla="*/ 0 h 488407"/>
              <a:gd name="connsiteX4" fmla="*/ 58754 w 1286663"/>
              <a:gd name="connsiteY4" fmla="*/ 488407 h 488407"/>
              <a:gd name="connsiteX0" fmla="*/ 58754 w 1293221"/>
              <a:gd name="connsiteY0" fmla="*/ 574912 h 574912"/>
              <a:gd name="connsiteX1" fmla="*/ 1286663 w 1293221"/>
              <a:gd name="connsiteY1" fmla="*/ 359375 h 574912"/>
              <a:gd name="connsiteX2" fmla="*/ 1293221 w 1293221"/>
              <a:gd name="connsiteY2" fmla="*/ 0 h 574912"/>
              <a:gd name="connsiteX3" fmla="*/ 0 w 1293221"/>
              <a:gd name="connsiteY3" fmla="*/ 86505 h 574912"/>
              <a:gd name="connsiteX4" fmla="*/ 58754 w 1293221"/>
              <a:gd name="connsiteY4" fmla="*/ 574912 h 574912"/>
              <a:gd name="connsiteX0" fmla="*/ 58754 w 1470298"/>
              <a:gd name="connsiteY0" fmla="*/ 574912 h 574912"/>
              <a:gd name="connsiteX1" fmla="*/ 1470298 w 1470298"/>
              <a:gd name="connsiteY1" fmla="*/ 561083 h 574912"/>
              <a:gd name="connsiteX2" fmla="*/ 1293221 w 1470298"/>
              <a:gd name="connsiteY2" fmla="*/ 0 h 574912"/>
              <a:gd name="connsiteX3" fmla="*/ 0 w 1470298"/>
              <a:gd name="connsiteY3" fmla="*/ 86505 h 574912"/>
              <a:gd name="connsiteX4" fmla="*/ 58754 w 1470298"/>
              <a:gd name="connsiteY4" fmla="*/ 574912 h 574912"/>
              <a:gd name="connsiteX0" fmla="*/ 65313 w 1470298"/>
              <a:gd name="connsiteY0" fmla="*/ 795531 h 795531"/>
              <a:gd name="connsiteX1" fmla="*/ 1470298 w 1470298"/>
              <a:gd name="connsiteY1" fmla="*/ 561083 h 795531"/>
              <a:gd name="connsiteX2" fmla="*/ 1293221 w 1470298"/>
              <a:gd name="connsiteY2" fmla="*/ 0 h 795531"/>
              <a:gd name="connsiteX3" fmla="*/ 0 w 1470298"/>
              <a:gd name="connsiteY3" fmla="*/ 86505 h 795531"/>
              <a:gd name="connsiteX4" fmla="*/ 65313 w 1470298"/>
              <a:gd name="connsiteY4" fmla="*/ 795531 h 795531"/>
              <a:gd name="connsiteX0" fmla="*/ 65313 w 1844126"/>
              <a:gd name="connsiteY0" fmla="*/ 795531 h 795531"/>
              <a:gd name="connsiteX1" fmla="*/ 1844126 w 1844126"/>
              <a:gd name="connsiteY1" fmla="*/ 504352 h 795531"/>
              <a:gd name="connsiteX2" fmla="*/ 1293221 w 1844126"/>
              <a:gd name="connsiteY2" fmla="*/ 0 h 795531"/>
              <a:gd name="connsiteX3" fmla="*/ 0 w 1844126"/>
              <a:gd name="connsiteY3" fmla="*/ 86505 h 795531"/>
              <a:gd name="connsiteX4" fmla="*/ 65313 w 1844126"/>
              <a:gd name="connsiteY4" fmla="*/ 795531 h 795531"/>
              <a:gd name="connsiteX0" fmla="*/ 65313 w 1844126"/>
              <a:gd name="connsiteY0" fmla="*/ 845958 h 845958"/>
              <a:gd name="connsiteX1" fmla="*/ 1844126 w 1844126"/>
              <a:gd name="connsiteY1" fmla="*/ 554779 h 845958"/>
              <a:gd name="connsiteX2" fmla="*/ 1621141 w 1844126"/>
              <a:gd name="connsiteY2" fmla="*/ 0 h 845958"/>
              <a:gd name="connsiteX3" fmla="*/ 0 w 1844126"/>
              <a:gd name="connsiteY3" fmla="*/ 136932 h 845958"/>
              <a:gd name="connsiteX4" fmla="*/ 65313 w 1844126"/>
              <a:gd name="connsiteY4" fmla="*/ 845958 h 845958"/>
              <a:gd name="connsiteX0" fmla="*/ 65313 w 1844126"/>
              <a:gd name="connsiteY0" fmla="*/ 864868 h 864868"/>
              <a:gd name="connsiteX1" fmla="*/ 1844126 w 1844126"/>
              <a:gd name="connsiteY1" fmla="*/ 573689 h 864868"/>
              <a:gd name="connsiteX2" fmla="*/ 1621141 w 1844126"/>
              <a:gd name="connsiteY2" fmla="*/ 0 h 864868"/>
              <a:gd name="connsiteX3" fmla="*/ 0 w 1844126"/>
              <a:gd name="connsiteY3" fmla="*/ 155842 h 864868"/>
              <a:gd name="connsiteX4" fmla="*/ 65313 w 1844126"/>
              <a:gd name="connsiteY4" fmla="*/ 864868 h 864868"/>
              <a:gd name="connsiteX0" fmla="*/ 65313 w 1686724"/>
              <a:gd name="connsiteY0" fmla="*/ 864868 h 864868"/>
              <a:gd name="connsiteX1" fmla="*/ 1686724 w 1686724"/>
              <a:gd name="connsiteY1" fmla="*/ 561082 h 864868"/>
              <a:gd name="connsiteX2" fmla="*/ 1621141 w 1686724"/>
              <a:gd name="connsiteY2" fmla="*/ 0 h 864868"/>
              <a:gd name="connsiteX3" fmla="*/ 0 w 1686724"/>
              <a:gd name="connsiteY3" fmla="*/ 155842 h 864868"/>
              <a:gd name="connsiteX4" fmla="*/ 65313 w 1686724"/>
              <a:gd name="connsiteY4" fmla="*/ 864868 h 864868"/>
              <a:gd name="connsiteX0" fmla="*/ 39079 w 1660490"/>
              <a:gd name="connsiteY0" fmla="*/ 864868 h 864868"/>
              <a:gd name="connsiteX1" fmla="*/ 1660490 w 1660490"/>
              <a:gd name="connsiteY1" fmla="*/ 561082 h 864868"/>
              <a:gd name="connsiteX2" fmla="*/ 1594907 w 1660490"/>
              <a:gd name="connsiteY2" fmla="*/ 0 h 864868"/>
              <a:gd name="connsiteX3" fmla="*/ 0 w 1660490"/>
              <a:gd name="connsiteY3" fmla="*/ 351248 h 864868"/>
              <a:gd name="connsiteX4" fmla="*/ 39079 w 1660490"/>
              <a:gd name="connsiteY4" fmla="*/ 864868 h 864868"/>
              <a:gd name="connsiteX0" fmla="*/ 39079 w 1857243"/>
              <a:gd name="connsiteY0" fmla="*/ 719889 h 719889"/>
              <a:gd name="connsiteX1" fmla="*/ 1660490 w 1857243"/>
              <a:gd name="connsiteY1" fmla="*/ 416103 h 719889"/>
              <a:gd name="connsiteX2" fmla="*/ 1857243 w 1857243"/>
              <a:gd name="connsiteY2" fmla="*/ 0 h 719889"/>
              <a:gd name="connsiteX3" fmla="*/ 0 w 1857243"/>
              <a:gd name="connsiteY3" fmla="*/ 206269 h 719889"/>
              <a:gd name="connsiteX4" fmla="*/ 39079 w 1857243"/>
              <a:gd name="connsiteY4" fmla="*/ 719889 h 719889"/>
              <a:gd name="connsiteX0" fmla="*/ 39079 w 1909709"/>
              <a:gd name="connsiteY0" fmla="*/ 719889 h 719889"/>
              <a:gd name="connsiteX1" fmla="*/ 1909709 w 1909709"/>
              <a:gd name="connsiteY1" fmla="*/ 208090 h 719889"/>
              <a:gd name="connsiteX2" fmla="*/ 1857243 w 1909709"/>
              <a:gd name="connsiteY2" fmla="*/ 0 h 719889"/>
              <a:gd name="connsiteX3" fmla="*/ 0 w 1909709"/>
              <a:gd name="connsiteY3" fmla="*/ 206269 h 719889"/>
              <a:gd name="connsiteX4" fmla="*/ 39079 w 1909709"/>
              <a:gd name="connsiteY4" fmla="*/ 719889 h 719889"/>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206269 h 511876"/>
              <a:gd name="connsiteX4" fmla="*/ 39079 w 1909709"/>
              <a:gd name="connsiteY4" fmla="*/ 511876 h 511876"/>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121173 h 511876"/>
              <a:gd name="connsiteX4" fmla="*/ 39079 w 1909709"/>
              <a:gd name="connsiteY4" fmla="*/ 511876 h 511876"/>
              <a:gd name="connsiteX0" fmla="*/ 39079 w 1857243"/>
              <a:gd name="connsiteY0" fmla="*/ 511876 h 511876"/>
              <a:gd name="connsiteX1" fmla="*/ 1748372 w 1857243"/>
              <a:gd name="connsiteY1" fmla="*/ 309201 h 511876"/>
              <a:gd name="connsiteX2" fmla="*/ 1857243 w 1857243"/>
              <a:gd name="connsiteY2" fmla="*/ 0 h 511876"/>
              <a:gd name="connsiteX3" fmla="*/ 0 w 1857243"/>
              <a:gd name="connsiteY3" fmla="*/ 121173 h 511876"/>
              <a:gd name="connsiteX4" fmla="*/ 39079 w 1857243"/>
              <a:gd name="connsiteY4" fmla="*/ 511876 h 511876"/>
              <a:gd name="connsiteX0" fmla="*/ 39079 w 1748372"/>
              <a:gd name="connsiteY0" fmla="*/ 499237 h 499237"/>
              <a:gd name="connsiteX1" fmla="*/ 1748372 w 1748372"/>
              <a:gd name="connsiteY1" fmla="*/ 296562 h 499237"/>
              <a:gd name="connsiteX2" fmla="*/ 1723965 w 1748372"/>
              <a:gd name="connsiteY2" fmla="*/ 0 h 499237"/>
              <a:gd name="connsiteX3" fmla="*/ 0 w 1748372"/>
              <a:gd name="connsiteY3" fmla="*/ 108534 h 499237"/>
              <a:gd name="connsiteX4" fmla="*/ 39079 w 1748372"/>
              <a:gd name="connsiteY4" fmla="*/ 499237 h 499237"/>
              <a:gd name="connsiteX0" fmla="*/ 95196 w 1748372"/>
              <a:gd name="connsiteY0" fmla="*/ 451841 h 451841"/>
              <a:gd name="connsiteX1" fmla="*/ 1748372 w 1748372"/>
              <a:gd name="connsiteY1" fmla="*/ 296562 h 451841"/>
              <a:gd name="connsiteX2" fmla="*/ 1723965 w 1748372"/>
              <a:gd name="connsiteY2" fmla="*/ 0 h 451841"/>
              <a:gd name="connsiteX3" fmla="*/ 0 w 1748372"/>
              <a:gd name="connsiteY3" fmla="*/ 108534 h 451841"/>
              <a:gd name="connsiteX4" fmla="*/ 95196 w 1748372"/>
              <a:gd name="connsiteY4" fmla="*/ 451841 h 451841"/>
              <a:gd name="connsiteX0" fmla="*/ 95196 w 1723965"/>
              <a:gd name="connsiteY0" fmla="*/ 451841 h 451841"/>
              <a:gd name="connsiteX1" fmla="*/ 1713299 w 1723965"/>
              <a:gd name="connsiteY1" fmla="*/ 315520 h 451841"/>
              <a:gd name="connsiteX2" fmla="*/ 1723965 w 1723965"/>
              <a:gd name="connsiteY2" fmla="*/ 0 h 451841"/>
              <a:gd name="connsiteX3" fmla="*/ 0 w 1723965"/>
              <a:gd name="connsiteY3" fmla="*/ 108534 h 451841"/>
              <a:gd name="connsiteX4" fmla="*/ 95196 w 1723965"/>
              <a:gd name="connsiteY4" fmla="*/ 451841 h 451841"/>
              <a:gd name="connsiteX0" fmla="*/ 95196 w 1713299"/>
              <a:gd name="connsiteY0" fmla="*/ 455001 h 455001"/>
              <a:gd name="connsiteX1" fmla="*/ 1713299 w 1713299"/>
              <a:gd name="connsiteY1" fmla="*/ 318680 h 455001"/>
              <a:gd name="connsiteX2" fmla="*/ 1667848 w 1713299"/>
              <a:gd name="connsiteY2" fmla="*/ 0 h 455001"/>
              <a:gd name="connsiteX3" fmla="*/ 0 w 1713299"/>
              <a:gd name="connsiteY3" fmla="*/ 111694 h 455001"/>
              <a:gd name="connsiteX4" fmla="*/ 95196 w 1713299"/>
              <a:gd name="connsiteY4" fmla="*/ 455001 h 455001"/>
              <a:gd name="connsiteX0" fmla="*/ 67137 w 1685240"/>
              <a:gd name="connsiteY0" fmla="*/ 455001 h 455001"/>
              <a:gd name="connsiteX1" fmla="*/ 1685240 w 1685240"/>
              <a:gd name="connsiteY1" fmla="*/ 318680 h 455001"/>
              <a:gd name="connsiteX2" fmla="*/ 1639789 w 1685240"/>
              <a:gd name="connsiteY2" fmla="*/ 0 h 455001"/>
              <a:gd name="connsiteX3" fmla="*/ 0 w 1685240"/>
              <a:gd name="connsiteY3" fmla="*/ 130652 h 455001"/>
              <a:gd name="connsiteX4" fmla="*/ 67137 w 1685240"/>
              <a:gd name="connsiteY4" fmla="*/ 455001 h 455001"/>
              <a:gd name="connsiteX0" fmla="*/ 67137 w 1667473"/>
              <a:gd name="connsiteY0" fmla="*/ 455001 h 455001"/>
              <a:gd name="connsiteX1" fmla="*/ 1667473 w 1667473"/>
              <a:gd name="connsiteY1" fmla="*/ 242054 h 455001"/>
              <a:gd name="connsiteX2" fmla="*/ 1639789 w 1667473"/>
              <a:gd name="connsiteY2" fmla="*/ 0 h 455001"/>
              <a:gd name="connsiteX3" fmla="*/ 0 w 1667473"/>
              <a:gd name="connsiteY3" fmla="*/ 130652 h 455001"/>
              <a:gd name="connsiteX4" fmla="*/ 67137 w 1667473"/>
              <a:gd name="connsiteY4" fmla="*/ 455001 h 455001"/>
              <a:gd name="connsiteX0" fmla="*/ 100217 w 1700553"/>
              <a:gd name="connsiteY0" fmla="*/ 455001 h 455001"/>
              <a:gd name="connsiteX1" fmla="*/ 1700553 w 1700553"/>
              <a:gd name="connsiteY1" fmla="*/ 242054 h 455001"/>
              <a:gd name="connsiteX2" fmla="*/ 1672869 w 1700553"/>
              <a:gd name="connsiteY2" fmla="*/ 0 h 455001"/>
              <a:gd name="connsiteX3" fmla="*/ 0 w 1700553"/>
              <a:gd name="connsiteY3" fmla="*/ 205540 h 455001"/>
              <a:gd name="connsiteX4" fmla="*/ 100217 w 1700553"/>
              <a:gd name="connsiteY4" fmla="*/ 455001 h 455001"/>
              <a:gd name="connsiteX0" fmla="*/ 100217 w 1700553"/>
              <a:gd name="connsiteY0" fmla="*/ 366878 h 366878"/>
              <a:gd name="connsiteX1" fmla="*/ 1700553 w 1700553"/>
              <a:gd name="connsiteY1" fmla="*/ 153931 h 366878"/>
              <a:gd name="connsiteX2" fmla="*/ 1588975 w 1700553"/>
              <a:gd name="connsiteY2" fmla="*/ 0 h 366878"/>
              <a:gd name="connsiteX3" fmla="*/ 0 w 1700553"/>
              <a:gd name="connsiteY3" fmla="*/ 117417 h 366878"/>
              <a:gd name="connsiteX4" fmla="*/ 100217 w 1700553"/>
              <a:gd name="connsiteY4" fmla="*/ 366878 h 366878"/>
              <a:gd name="connsiteX0" fmla="*/ 115726 w 1700553"/>
              <a:gd name="connsiteY0" fmla="*/ 305211 h 305211"/>
              <a:gd name="connsiteX1" fmla="*/ 1700553 w 1700553"/>
              <a:gd name="connsiteY1" fmla="*/ 153931 h 305211"/>
              <a:gd name="connsiteX2" fmla="*/ 1588975 w 1700553"/>
              <a:gd name="connsiteY2" fmla="*/ 0 h 305211"/>
              <a:gd name="connsiteX3" fmla="*/ 0 w 1700553"/>
              <a:gd name="connsiteY3" fmla="*/ 117417 h 305211"/>
              <a:gd name="connsiteX4" fmla="*/ 115726 w 1700553"/>
              <a:gd name="connsiteY4" fmla="*/ 305211 h 305211"/>
              <a:gd name="connsiteX0" fmla="*/ 115726 w 1700553"/>
              <a:gd name="connsiteY0" fmla="*/ 321895 h 321895"/>
              <a:gd name="connsiteX1" fmla="*/ 1700553 w 1700553"/>
              <a:gd name="connsiteY1" fmla="*/ 170615 h 321895"/>
              <a:gd name="connsiteX2" fmla="*/ 1471607 w 1700553"/>
              <a:gd name="connsiteY2" fmla="*/ 0 h 321895"/>
              <a:gd name="connsiteX3" fmla="*/ 0 w 1700553"/>
              <a:gd name="connsiteY3" fmla="*/ 134101 h 321895"/>
              <a:gd name="connsiteX4" fmla="*/ 115726 w 1700553"/>
              <a:gd name="connsiteY4" fmla="*/ 321895 h 321895"/>
              <a:gd name="connsiteX0" fmla="*/ 115726 w 1581352"/>
              <a:gd name="connsiteY0" fmla="*/ 321895 h 321895"/>
              <a:gd name="connsiteX1" fmla="*/ 1581352 w 1581352"/>
              <a:gd name="connsiteY1" fmla="*/ 210307 h 321895"/>
              <a:gd name="connsiteX2" fmla="*/ 1471607 w 1581352"/>
              <a:gd name="connsiteY2" fmla="*/ 0 h 321895"/>
              <a:gd name="connsiteX3" fmla="*/ 0 w 1581352"/>
              <a:gd name="connsiteY3" fmla="*/ 134101 h 321895"/>
              <a:gd name="connsiteX4" fmla="*/ 115726 w 1581352"/>
              <a:gd name="connsiteY4" fmla="*/ 321895 h 321895"/>
              <a:gd name="connsiteX0" fmla="*/ 92298 w 1557924"/>
              <a:gd name="connsiteY0" fmla="*/ 321895 h 321895"/>
              <a:gd name="connsiteX1" fmla="*/ 1557924 w 1557924"/>
              <a:gd name="connsiteY1" fmla="*/ 210307 h 321895"/>
              <a:gd name="connsiteX2" fmla="*/ 1448179 w 1557924"/>
              <a:gd name="connsiteY2" fmla="*/ 0 h 321895"/>
              <a:gd name="connsiteX3" fmla="*/ 0 w 1557924"/>
              <a:gd name="connsiteY3" fmla="*/ 116473 h 321895"/>
              <a:gd name="connsiteX4" fmla="*/ 92298 w 1557924"/>
              <a:gd name="connsiteY4" fmla="*/ 321895 h 321895"/>
              <a:gd name="connsiteX0" fmla="*/ 152961 w 1557924"/>
              <a:gd name="connsiteY0" fmla="*/ 341247 h 341247"/>
              <a:gd name="connsiteX1" fmla="*/ 1557924 w 1557924"/>
              <a:gd name="connsiteY1" fmla="*/ 210307 h 341247"/>
              <a:gd name="connsiteX2" fmla="*/ 1448179 w 1557924"/>
              <a:gd name="connsiteY2" fmla="*/ 0 h 341247"/>
              <a:gd name="connsiteX3" fmla="*/ 0 w 1557924"/>
              <a:gd name="connsiteY3" fmla="*/ 116473 h 341247"/>
              <a:gd name="connsiteX4" fmla="*/ 152961 w 1557924"/>
              <a:gd name="connsiteY4" fmla="*/ 341247 h 341247"/>
              <a:gd name="connsiteX0" fmla="*/ 135357 w 1557924"/>
              <a:gd name="connsiteY0" fmla="*/ 339493 h 339493"/>
              <a:gd name="connsiteX1" fmla="*/ 1557924 w 1557924"/>
              <a:gd name="connsiteY1" fmla="*/ 210307 h 339493"/>
              <a:gd name="connsiteX2" fmla="*/ 1448179 w 1557924"/>
              <a:gd name="connsiteY2" fmla="*/ 0 h 339493"/>
              <a:gd name="connsiteX3" fmla="*/ 0 w 1557924"/>
              <a:gd name="connsiteY3" fmla="*/ 116473 h 339493"/>
              <a:gd name="connsiteX4" fmla="*/ 135357 w 1557924"/>
              <a:gd name="connsiteY4" fmla="*/ 339493 h 339493"/>
              <a:gd name="connsiteX0" fmla="*/ 109934 w 1532501"/>
              <a:gd name="connsiteY0" fmla="*/ 339493 h 339493"/>
              <a:gd name="connsiteX1" fmla="*/ 1532501 w 1532501"/>
              <a:gd name="connsiteY1" fmla="*/ 210307 h 339493"/>
              <a:gd name="connsiteX2" fmla="*/ 1422756 w 1532501"/>
              <a:gd name="connsiteY2" fmla="*/ 0 h 339493"/>
              <a:gd name="connsiteX3" fmla="*/ 0 w 1532501"/>
              <a:gd name="connsiteY3" fmla="*/ 117343 h 339493"/>
              <a:gd name="connsiteX4" fmla="*/ 109934 w 1532501"/>
              <a:gd name="connsiteY4" fmla="*/ 339493 h 339493"/>
              <a:gd name="connsiteX0" fmla="*/ 133525 w 1556092"/>
              <a:gd name="connsiteY0" fmla="*/ 339493 h 339493"/>
              <a:gd name="connsiteX1" fmla="*/ 1556092 w 1556092"/>
              <a:gd name="connsiteY1" fmla="*/ 210307 h 339493"/>
              <a:gd name="connsiteX2" fmla="*/ 1446347 w 1556092"/>
              <a:gd name="connsiteY2" fmla="*/ 0 h 339493"/>
              <a:gd name="connsiteX3" fmla="*/ 0 w 1556092"/>
              <a:gd name="connsiteY3" fmla="*/ 60098 h 339493"/>
              <a:gd name="connsiteX4" fmla="*/ 133525 w 1556092"/>
              <a:gd name="connsiteY4" fmla="*/ 339493 h 339493"/>
              <a:gd name="connsiteX0" fmla="*/ 133525 w 2343667"/>
              <a:gd name="connsiteY0" fmla="*/ 459688 h 459688"/>
              <a:gd name="connsiteX1" fmla="*/ 1556092 w 2343667"/>
              <a:gd name="connsiteY1" fmla="*/ 330502 h 459688"/>
              <a:gd name="connsiteX2" fmla="*/ 2343667 w 2343667"/>
              <a:gd name="connsiteY2" fmla="*/ 0 h 459688"/>
              <a:gd name="connsiteX3" fmla="*/ 0 w 2343667"/>
              <a:gd name="connsiteY3" fmla="*/ 180293 h 459688"/>
              <a:gd name="connsiteX4" fmla="*/ 133525 w 2343667"/>
              <a:gd name="connsiteY4" fmla="*/ 459688 h 459688"/>
              <a:gd name="connsiteX0" fmla="*/ 133525 w 2391079"/>
              <a:gd name="connsiteY0" fmla="*/ 459688 h 459688"/>
              <a:gd name="connsiteX1" fmla="*/ 2391079 w 2391079"/>
              <a:gd name="connsiteY1" fmla="*/ 322204 h 459688"/>
              <a:gd name="connsiteX2" fmla="*/ 2343667 w 2391079"/>
              <a:gd name="connsiteY2" fmla="*/ 0 h 459688"/>
              <a:gd name="connsiteX3" fmla="*/ 0 w 2391079"/>
              <a:gd name="connsiteY3" fmla="*/ 180293 h 459688"/>
              <a:gd name="connsiteX4" fmla="*/ 133525 w 2391079"/>
              <a:gd name="connsiteY4" fmla="*/ 459688 h 459688"/>
              <a:gd name="connsiteX0" fmla="*/ 159047 w 2391079"/>
              <a:gd name="connsiteY0" fmla="*/ 505482 h 505482"/>
              <a:gd name="connsiteX1" fmla="*/ 2391079 w 2391079"/>
              <a:gd name="connsiteY1" fmla="*/ 322204 h 505482"/>
              <a:gd name="connsiteX2" fmla="*/ 2343667 w 2391079"/>
              <a:gd name="connsiteY2" fmla="*/ 0 h 505482"/>
              <a:gd name="connsiteX3" fmla="*/ 0 w 2391079"/>
              <a:gd name="connsiteY3" fmla="*/ 180293 h 505482"/>
              <a:gd name="connsiteX4" fmla="*/ 159047 w 2391079"/>
              <a:gd name="connsiteY4" fmla="*/ 505482 h 505482"/>
              <a:gd name="connsiteX0" fmla="*/ 159047 w 2391079"/>
              <a:gd name="connsiteY0" fmla="*/ 518659 h 518659"/>
              <a:gd name="connsiteX1" fmla="*/ 2391079 w 2391079"/>
              <a:gd name="connsiteY1" fmla="*/ 335381 h 518659"/>
              <a:gd name="connsiteX2" fmla="*/ 2261507 w 2391079"/>
              <a:gd name="connsiteY2" fmla="*/ 0 h 518659"/>
              <a:gd name="connsiteX3" fmla="*/ 0 w 2391079"/>
              <a:gd name="connsiteY3" fmla="*/ 193470 h 518659"/>
              <a:gd name="connsiteX4" fmla="*/ 159047 w 2391079"/>
              <a:gd name="connsiteY4" fmla="*/ 518659 h 518659"/>
              <a:gd name="connsiteX0" fmla="*/ 159047 w 2513813"/>
              <a:gd name="connsiteY0" fmla="*/ 498511 h 498511"/>
              <a:gd name="connsiteX1" fmla="*/ 2391079 w 2513813"/>
              <a:gd name="connsiteY1" fmla="*/ 315233 h 498511"/>
              <a:gd name="connsiteX2" fmla="*/ 2513813 w 2513813"/>
              <a:gd name="connsiteY2" fmla="*/ 0 h 498511"/>
              <a:gd name="connsiteX3" fmla="*/ 0 w 2513813"/>
              <a:gd name="connsiteY3" fmla="*/ 173322 h 498511"/>
              <a:gd name="connsiteX4" fmla="*/ 159047 w 2513813"/>
              <a:gd name="connsiteY4" fmla="*/ 498511 h 498511"/>
              <a:gd name="connsiteX0" fmla="*/ 159047 w 2547383"/>
              <a:gd name="connsiteY0" fmla="*/ 498511 h 498511"/>
              <a:gd name="connsiteX1" fmla="*/ 2547383 w 2547383"/>
              <a:gd name="connsiteY1" fmla="*/ 252623 h 498511"/>
              <a:gd name="connsiteX2" fmla="*/ 2513813 w 2547383"/>
              <a:gd name="connsiteY2" fmla="*/ 0 h 498511"/>
              <a:gd name="connsiteX3" fmla="*/ 0 w 2547383"/>
              <a:gd name="connsiteY3" fmla="*/ 173322 h 498511"/>
              <a:gd name="connsiteX4" fmla="*/ 159047 w 2547383"/>
              <a:gd name="connsiteY4" fmla="*/ 498511 h 498511"/>
              <a:gd name="connsiteX0" fmla="*/ 164772 w 2553108"/>
              <a:gd name="connsiteY0" fmla="*/ 498511 h 498511"/>
              <a:gd name="connsiteX1" fmla="*/ 2553108 w 2553108"/>
              <a:gd name="connsiteY1" fmla="*/ 252623 h 498511"/>
              <a:gd name="connsiteX2" fmla="*/ 2519538 w 2553108"/>
              <a:gd name="connsiteY2" fmla="*/ 0 h 498511"/>
              <a:gd name="connsiteX3" fmla="*/ 0 w 2553108"/>
              <a:gd name="connsiteY3" fmla="*/ 237627 h 498511"/>
              <a:gd name="connsiteX4" fmla="*/ 164772 w 2553108"/>
              <a:gd name="connsiteY4" fmla="*/ 498511 h 498511"/>
              <a:gd name="connsiteX0" fmla="*/ 102113 w 2553108"/>
              <a:gd name="connsiteY0" fmla="*/ 460662 h 460662"/>
              <a:gd name="connsiteX1" fmla="*/ 2553108 w 2553108"/>
              <a:gd name="connsiteY1" fmla="*/ 252623 h 460662"/>
              <a:gd name="connsiteX2" fmla="*/ 2519538 w 2553108"/>
              <a:gd name="connsiteY2" fmla="*/ 0 h 460662"/>
              <a:gd name="connsiteX3" fmla="*/ 0 w 2553108"/>
              <a:gd name="connsiteY3" fmla="*/ 237627 h 460662"/>
              <a:gd name="connsiteX4" fmla="*/ 102113 w 2553108"/>
              <a:gd name="connsiteY4" fmla="*/ 460662 h 460662"/>
              <a:gd name="connsiteX0" fmla="*/ 102113 w 2553108"/>
              <a:gd name="connsiteY0" fmla="*/ 424537 h 424537"/>
              <a:gd name="connsiteX1" fmla="*/ 2553108 w 2553108"/>
              <a:gd name="connsiteY1" fmla="*/ 216498 h 424537"/>
              <a:gd name="connsiteX2" fmla="*/ 2498106 w 2553108"/>
              <a:gd name="connsiteY2" fmla="*/ 0 h 424537"/>
              <a:gd name="connsiteX3" fmla="*/ 0 w 2553108"/>
              <a:gd name="connsiteY3" fmla="*/ 201502 h 424537"/>
              <a:gd name="connsiteX4" fmla="*/ 102113 w 2553108"/>
              <a:gd name="connsiteY4" fmla="*/ 424537 h 424537"/>
              <a:gd name="connsiteX0" fmla="*/ 90333 w 2553108"/>
              <a:gd name="connsiteY0" fmla="*/ 403402 h 403402"/>
              <a:gd name="connsiteX1" fmla="*/ 2553108 w 2553108"/>
              <a:gd name="connsiteY1" fmla="*/ 216498 h 403402"/>
              <a:gd name="connsiteX2" fmla="*/ 2498106 w 2553108"/>
              <a:gd name="connsiteY2" fmla="*/ 0 h 403402"/>
              <a:gd name="connsiteX3" fmla="*/ 0 w 2553108"/>
              <a:gd name="connsiteY3" fmla="*/ 201502 h 403402"/>
              <a:gd name="connsiteX4" fmla="*/ 90333 w 2553108"/>
              <a:gd name="connsiteY4" fmla="*/ 403402 h 403402"/>
              <a:gd name="connsiteX0" fmla="*/ 60951 w 2523726"/>
              <a:gd name="connsiteY0" fmla="*/ 403402 h 403402"/>
              <a:gd name="connsiteX1" fmla="*/ 2523726 w 2523726"/>
              <a:gd name="connsiteY1" fmla="*/ 216498 h 403402"/>
              <a:gd name="connsiteX2" fmla="*/ 2468724 w 2523726"/>
              <a:gd name="connsiteY2" fmla="*/ 0 h 403402"/>
              <a:gd name="connsiteX3" fmla="*/ 0 w 2523726"/>
              <a:gd name="connsiteY3" fmla="*/ 224392 h 403402"/>
              <a:gd name="connsiteX4" fmla="*/ 60951 w 2523726"/>
              <a:gd name="connsiteY4" fmla="*/ 403402 h 40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3726" h="403402">
                <a:moveTo>
                  <a:pt x="60951" y="403402"/>
                </a:moveTo>
                <a:lnTo>
                  <a:pt x="2523726" y="216498"/>
                </a:lnTo>
                <a:lnTo>
                  <a:pt x="2468724" y="0"/>
                </a:lnTo>
                <a:lnTo>
                  <a:pt x="0" y="224392"/>
                </a:lnTo>
                <a:lnTo>
                  <a:pt x="60951" y="403402"/>
                </a:lnTo>
                <a:close/>
              </a:path>
            </a:pathLst>
          </a:custGeom>
          <a:solidFill>
            <a:schemeClr val="bg1"/>
          </a:solidFill>
          <a:ln>
            <a:noFill/>
          </a:ln>
          <a:effectLst>
            <a:outerShdw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solidFill>
                <a:schemeClr val="accent4"/>
              </a:solidFill>
            </a:endParaRPr>
          </a:p>
        </p:txBody>
      </p:sp>
      <p:sp>
        <p:nvSpPr>
          <p:cNvPr id="12" name="TextBox 9">
            <a:extLst>
              <a:ext uri="{FF2B5EF4-FFF2-40B4-BE49-F238E27FC236}">
                <a16:creationId xmlns:a16="http://schemas.microsoft.com/office/drawing/2014/main" id="{C3944AA2-7FD8-4EED-A32C-A9F6411C21EC}"/>
              </a:ext>
            </a:extLst>
          </p:cNvPr>
          <p:cNvSpPr txBox="1">
            <a:spLocks noChangeArrowheads="1"/>
          </p:cNvSpPr>
          <p:nvPr/>
        </p:nvSpPr>
        <p:spPr bwMode="auto">
          <a:xfrm>
            <a:off x="224576" y="678307"/>
            <a:ext cx="2485989" cy="369332"/>
          </a:xfrm>
          <a:prstGeom prst="rect">
            <a:avLst/>
          </a:prstGeom>
          <a:noFill/>
          <a:ln w="9525">
            <a:noFill/>
            <a:miter lim="800000"/>
            <a:headEnd/>
            <a:tailEnd/>
          </a:ln>
          <a:effectLst/>
        </p:spPr>
        <p:txBody>
          <a:bodyPr wrap="square" lIns="0">
            <a:spAutoFit/>
          </a:bodyPr>
          <a:lstStyle/>
          <a:p>
            <a:pPr marL="3174">
              <a:lnSpc>
                <a:spcPct val="90000"/>
              </a:lnSpc>
              <a:spcBef>
                <a:spcPts val="1200"/>
              </a:spcBef>
              <a:buClr>
                <a:srgbClr val="5C5C5C"/>
              </a:buClr>
              <a:buSzPct val="80000"/>
            </a:pPr>
            <a:r>
              <a:rPr lang="nl-BE" sz="2000" b="1" dirty="0">
                <a:solidFill>
                  <a:srgbClr val="FFC000"/>
                </a:solidFill>
                <a:latin typeface="Amaranth" panose="02000503000000020004" pitchFamily="50" charset="0"/>
                <a:cs typeface="Arial" panose="020B0604020202020204" pitchFamily="34" charset="0"/>
              </a:rPr>
              <a:t>Software</a:t>
            </a:r>
          </a:p>
        </p:txBody>
      </p:sp>
      <p:pic>
        <p:nvPicPr>
          <p:cNvPr id="17" name="Afbeelding 16">
            <a:extLst>
              <a:ext uri="{FF2B5EF4-FFF2-40B4-BE49-F238E27FC236}">
                <a16:creationId xmlns:a16="http://schemas.microsoft.com/office/drawing/2014/main" id="{CC74526C-91E5-4356-9F09-02B38EF18E16}"/>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1241707" y="6052930"/>
            <a:ext cx="661508" cy="556592"/>
          </a:xfrm>
          <a:prstGeom prst="rect">
            <a:avLst/>
          </a:prstGeom>
        </p:spPr>
      </p:pic>
      <p:sp>
        <p:nvSpPr>
          <p:cNvPr id="3" name="Rechthoek 2">
            <a:extLst>
              <a:ext uri="{FF2B5EF4-FFF2-40B4-BE49-F238E27FC236}">
                <a16:creationId xmlns:a16="http://schemas.microsoft.com/office/drawing/2014/main" id="{8CCCA7C5-4D8B-42E0-B5E2-026207558DA9}"/>
              </a:ext>
            </a:extLst>
          </p:cNvPr>
          <p:cNvSpPr/>
          <p:nvPr/>
        </p:nvSpPr>
        <p:spPr>
          <a:xfrm>
            <a:off x="6132308" y="2241466"/>
            <a:ext cx="3085268" cy="461665"/>
          </a:xfrm>
          <a:prstGeom prst="rect">
            <a:avLst/>
          </a:prstGeom>
        </p:spPr>
        <p:txBody>
          <a:bodyPr wrap="none">
            <a:spAutoFit/>
          </a:bodyPr>
          <a:lstStyle/>
          <a:p>
            <a:r>
              <a:rPr lang="nl-NL" sz="2400" b="1" dirty="0">
                <a:solidFill>
                  <a:schemeClr val="bg1"/>
                </a:solidFill>
              </a:rPr>
              <a:t>Rekenspel</a:t>
            </a:r>
            <a:r>
              <a:rPr lang="nl-NL" sz="2400" dirty="0">
                <a:solidFill>
                  <a:schemeClr val="bg1"/>
                </a:solidFill>
              </a:rPr>
              <a:t>: Meetkunde</a:t>
            </a:r>
          </a:p>
        </p:txBody>
      </p:sp>
      <p:sp>
        <p:nvSpPr>
          <p:cNvPr id="4" name="Rechthoek 3">
            <a:extLst>
              <a:ext uri="{FF2B5EF4-FFF2-40B4-BE49-F238E27FC236}">
                <a16:creationId xmlns:a16="http://schemas.microsoft.com/office/drawing/2014/main" id="{05E846C1-5940-4420-9140-3BD06367E482}"/>
              </a:ext>
            </a:extLst>
          </p:cNvPr>
          <p:cNvSpPr/>
          <p:nvPr/>
        </p:nvSpPr>
        <p:spPr>
          <a:xfrm>
            <a:off x="6132308" y="3082836"/>
            <a:ext cx="5865481" cy="1754326"/>
          </a:xfrm>
          <a:prstGeom prst="rect">
            <a:avLst/>
          </a:prstGeom>
        </p:spPr>
        <p:txBody>
          <a:bodyPr wrap="square">
            <a:spAutoFit/>
          </a:bodyPr>
          <a:lstStyle/>
          <a:p>
            <a:r>
              <a:rPr lang="nl-NL" dirty="0">
                <a:solidFill>
                  <a:schemeClr val="bg1"/>
                </a:solidFill>
              </a:rPr>
              <a:t>Spelen met:</a:t>
            </a:r>
          </a:p>
          <a:p>
            <a:pPr marL="457200" indent="-457200">
              <a:buFont typeface="Arial" panose="020B0604020202020204" pitchFamily="34" charset="0"/>
              <a:buChar char="•"/>
            </a:pPr>
            <a:r>
              <a:rPr lang="nl-NL" dirty="0">
                <a:solidFill>
                  <a:schemeClr val="bg1"/>
                </a:solidFill>
              </a:rPr>
              <a:t>Bouwen</a:t>
            </a:r>
          </a:p>
          <a:p>
            <a:pPr marL="457200" indent="-457200">
              <a:buFont typeface="Arial" panose="020B0604020202020204" pitchFamily="34" charset="0"/>
              <a:buChar char="•"/>
            </a:pPr>
            <a:r>
              <a:rPr lang="nl-NL" dirty="0">
                <a:solidFill>
                  <a:schemeClr val="bg1"/>
                </a:solidFill>
              </a:rPr>
              <a:t>Patronen</a:t>
            </a:r>
          </a:p>
          <a:p>
            <a:pPr marL="457200" indent="-457200">
              <a:buFont typeface="Arial" panose="020B0604020202020204" pitchFamily="34" charset="0"/>
              <a:buChar char="•"/>
            </a:pPr>
            <a:r>
              <a:rPr lang="nl-NL" dirty="0">
                <a:solidFill>
                  <a:schemeClr val="bg1"/>
                </a:solidFill>
              </a:rPr>
              <a:t>Figuren en vormen</a:t>
            </a:r>
          </a:p>
          <a:p>
            <a:pPr marL="457200" indent="-457200">
              <a:buFont typeface="Arial" panose="020B0604020202020204" pitchFamily="34" charset="0"/>
              <a:buChar char="•"/>
            </a:pPr>
            <a:r>
              <a:rPr lang="nl-NL" dirty="0">
                <a:solidFill>
                  <a:schemeClr val="bg1"/>
                </a:solidFill>
              </a:rPr>
              <a:t>Plattegronden</a:t>
            </a:r>
          </a:p>
          <a:p>
            <a:pPr marL="457200" indent="-457200">
              <a:buFont typeface="Arial" panose="020B0604020202020204" pitchFamily="34" charset="0"/>
              <a:buChar char="•"/>
            </a:pPr>
            <a:r>
              <a:rPr lang="nl-NL" dirty="0">
                <a:solidFill>
                  <a:schemeClr val="bg1"/>
                </a:solidFill>
              </a:rPr>
              <a:t>Ruimtelijke begrippen</a:t>
            </a:r>
          </a:p>
        </p:txBody>
      </p:sp>
      <p:sp>
        <p:nvSpPr>
          <p:cNvPr id="2" name="Rechthoek 1">
            <a:extLst>
              <a:ext uri="{FF2B5EF4-FFF2-40B4-BE49-F238E27FC236}">
                <a16:creationId xmlns:a16="http://schemas.microsoft.com/office/drawing/2014/main" id="{BA2C8FED-8686-44D7-A044-7C6F4C7F9568}"/>
              </a:ext>
            </a:extLst>
          </p:cNvPr>
          <p:cNvSpPr/>
          <p:nvPr/>
        </p:nvSpPr>
        <p:spPr>
          <a:xfrm>
            <a:off x="79053" y="5819200"/>
            <a:ext cx="5064079" cy="276999"/>
          </a:xfrm>
          <a:prstGeom prst="rect">
            <a:avLst/>
          </a:prstGeom>
        </p:spPr>
        <p:txBody>
          <a:bodyPr wrap="none">
            <a:spAutoFit/>
          </a:bodyPr>
          <a:lstStyle/>
          <a:p>
            <a:r>
              <a:rPr lang="nl-NL" sz="1200" i="1" dirty="0"/>
              <a:t>“Maak de slinger af. Welke schelp hoort op de lege plek? Sleep die er naar toe”</a:t>
            </a:r>
            <a:endParaRPr lang="nl-NL" sz="1200" dirty="0"/>
          </a:p>
        </p:txBody>
      </p:sp>
      <p:pic>
        <p:nvPicPr>
          <p:cNvPr id="16" name="Tijdelijke aanduiding voor inhoud 6">
            <a:extLst>
              <a:ext uri="{FF2B5EF4-FFF2-40B4-BE49-F238E27FC236}">
                <a16:creationId xmlns:a16="http://schemas.microsoft.com/office/drawing/2014/main" id="{81A0F512-1EB5-4331-9D94-19DDF0DDB0F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9053" y="1987116"/>
            <a:ext cx="5790741" cy="3803224"/>
          </a:xfrm>
          <a:prstGeom prst="rect">
            <a:avLst/>
          </a:prstGeom>
        </p:spPr>
      </p:pic>
    </p:spTree>
    <p:extLst>
      <p:ext uri="{BB962C8B-B14F-4D97-AF65-F5344CB8AC3E}">
        <p14:creationId xmlns:p14="http://schemas.microsoft.com/office/powerpoint/2010/main" val="333737282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hoek 12">
            <a:extLst>
              <a:ext uri="{FF2B5EF4-FFF2-40B4-BE49-F238E27FC236}">
                <a16:creationId xmlns:a16="http://schemas.microsoft.com/office/drawing/2014/main" id="{CECEAB52-2BFE-4DB7-83D8-2B3EABF14D7F}"/>
              </a:ext>
            </a:extLst>
          </p:cNvPr>
          <p:cNvSpPr/>
          <p:nvPr/>
        </p:nvSpPr>
        <p:spPr>
          <a:xfrm>
            <a:off x="36308" y="1721610"/>
            <a:ext cx="12192000" cy="4453958"/>
          </a:xfrm>
          <a:prstGeom prst="rect">
            <a:avLst/>
          </a:prstGeom>
          <a:solidFill>
            <a:srgbClr val="FFC00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57" name="think-cell Slide" r:id="rId5" imgW="353" imgH="353" progId="TCLayout.ActiveDocument.1">
                  <p:embed/>
                </p:oleObj>
              </mc:Choice>
              <mc:Fallback>
                <p:oleObj name="think-cell Slide" r:id="rId5" imgW="353" imgH="353"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extBox 14"/>
          <p:cNvSpPr txBox="1"/>
          <p:nvPr/>
        </p:nvSpPr>
        <p:spPr>
          <a:xfrm>
            <a:off x="5819286" y="601863"/>
            <a:ext cx="6178503" cy="646331"/>
          </a:xfrm>
          <a:prstGeom prst="rect">
            <a:avLst/>
          </a:prstGeom>
          <a:noFill/>
        </p:spPr>
        <p:txBody>
          <a:bodyPr wrap="square" rtlCol="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tab pos="1971675" algn="l"/>
              </a:tabLst>
              <a:defRPr/>
            </a:pPr>
            <a:r>
              <a:rPr kumimoji="0" lang="nl-BE" sz="4000" b="0" i="0" u="none" strike="noStrike" kern="1200" cap="none" spc="0" normalizeH="0" baseline="0" noProof="0" dirty="0">
                <a:ln>
                  <a:noFill/>
                </a:ln>
                <a:solidFill>
                  <a:srgbClr val="FFC000"/>
                </a:solidFill>
                <a:effectLst/>
                <a:uLnTx/>
                <a:uFillTx/>
                <a:latin typeface="Amaranth" panose="02000503000000020004" pitchFamily="50" charset="0"/>
                <a:ea typeface="+mn-ea"/>
                <a:cs typeface="Arial" panose="020B0604020202020204" pitchFamily="34" charset="0"/>
              </a:rPr>
              <a:t>Leerlingsoftware: taal</a:t>
            </a:r>
          </a:p>
        </p:txBody>
      </p:sp>
      <p:sp>
        <p:nvSpPr>
          <p:cNvPr id="20" name="TextBox 9">
            <a:extLst>
              <a:ext uri="{FF2B5EF4-FFF2-40B4-BE49-F238E27FC236}">
                <a16:creationId xmlns:a16="http://schemas.microsoft.com/office/drawing/2014/main" id="{C7AA8425-6DE2-48BD-9D9B-550BF08EB454}"/>
              </a:ext>
            </a:extLst>
          </p:cNvPr>
          <p:cNvSpPr txBox="1">
            <a:spLocks noChangeArrowheads="1"/>
          </p:cNvSpPr>
          <p:nvPr/>
        </p:nvSpPr>
        <p:spPr bwMode="auto">
          <a:xfrm>
            <a:off x="414395" y="682432"/>
            <a:ext cx="1429916" cy="369332"/>
          </a:xfrm>
          <a:prstGeom prst="rect">
            <a:avLst/>
          </a:prstGeom>
          <a:noFill/>
          <a:ln w="9525">
            <a:noFill/>
            <a:miter lim="800000"/>
            <a:headEnd/>
            <a:tailEnd/>
          </a:ln>
        </p:spPr>
        <p:txBody>
          <a:bodyPr wrap="square" lIns="0">
            <a:spAutoFit/>
          </a:bodyPr>
          <a:lstStyle/>
          <a:p>
            <a:pPr marL="3174" marR="0" lvl="0" indent="0" algn="l" defTabSz="914400" rtl="0" eaLnBrk="1" fontAlgn="auto" latinLnBrk="0" hangingPunct="1">
              <a:lnSpc>
                <a:spcPct val="90000"/>
              </a:lnSpc>
              <a:spcBef>
                <a:spcPts val="1200"/>
              </a:spcBef>
              <a:spcAft>
                <a:spcPts val="0"/>
              </a:spcAft>
              <a:buClr>
                <a:srgbClr val="5C5C5C"/>
              </a:buClr>
              <a:buSzPct val="80000"/>
              <a:buFontTx/>
              <a:buNone/>
              <a:tabLst/>
              <a:defRPr/>
            </a:pPr>
            <a:r>
              <a:rPr kumimoji="0" lang="nl-BE" sz="2000" b="1" i="0" u="none" strike="noStrike" kern="1200" cap="none" spc="0" normalizeH="0" baseline="0" noProof="0" dirty="0">
                <a:ln>
                  <a:noFill/>
                </a:ln>
                <a:solidFill>
                  <a:prstClr val="white"/>
                </a:solidFill>
                <a:effectLst/>
                <a:uLnTx/>
                <a:uFillTx/>
                <a:latin typeface="Amaranth" panose="02000503000000020004" pitchFamily="50" charset="0"/>
                <a:ea typeface="+mn-ea"/>
                <a:cs typeface="Arial" panose="020B0604020202020204" pitchFamily="34" charset="0"/>
              </a:rPr>
              <a:t>Software</a:t>
            </a:r>
          </a:p>
        </p:txBody>
      </p:sp>
      <p:sp>
        <p:nvSpPr>
          <p:cNvPr id="10" name="Freeform 41">
            <a:extLst>
              <a:ext uri="{FF2B5EF4-FFF2-40B4-BE49-F238E27FC236}">
                <a16:creationId xmlns:a16="http://schemas.microsoft.com/office/drawing/2014/main" id="{19C4BFF1-338F-4238-B984-12D30DA19C04}"/>
              </a:ext>
            </a:extLst>
          </p:cNvPr>
          <p:cNvSpPr/>
          <p:nvPr/>
        </p:nvSpPr>
        <p:spPr>
          <a:xfrm rot="845560">
            <a:off x="-82083" y="352836"/>
            <a:ext cx="2164079" cy="1020274"/>
          </a:xfrm>
          <a:custGeom>
            <a:avLst/>
            <a:gdLst>
              <a:gd name="connsiteX0" fmla="*/ 45720 w 1267097"/>
              <a:gd name="connsiteY0" fmla="*/ 378823 h 378823"/>
              <a:gd name="connsiteX1" fmla="*/ 1267097 w 1267097"/>
              <a:gd name="connsiteY1" fmla="*/ 182880 h 378823"/>
              <a:gd name="connsiteX2" fmla="*/ 1267097 w 1267097"/>
              <a:gd name="connsiteY2" fmla="*/ 0 h 378823"/>
              <a:gd name="connsiteX3" fmla="*/ 0 w 1267097"/>
              <a:gd name="connsiteY3" fmla="*/ 189412 h 378823"/>
              <a:gd name="connsiteX4" fmla="*/ 45720 w 1267097"/>
              <a:gd name="connsiteY4" fmla="*/ 378823 h 378823"/>
              <a:gd name="connsiteX0" fmla="*/ 71845 w 1293222"/>
              <a:gd name="connsiteY0" fmla="*/ 378823 h 378823"/>
              <a:gd name="connsiteX1" fmla="*/ 1293222 w 1293222"/>
              <a:gd name="connsiteY1" fmla="*/ 182880 h 378823"/>
              <a:gd name="connsiteX2" fmla="*/ 1293222 w 1293222"/>
              <a:gd name="connsiteY2" fmla="*/ 0 h 378823"/>
              <a:gd name="connsiteX3" fmla="*/ 0 w 1293222"/>
              <a:gd name="connsiteY3" fmla="*/ 130629 h 378823"/>
              <a:gd name="connsiteX4" fmla="*/ 71845 w 1293222"/>
              <a:gd name="connsiteY4" fmla="*/ 378823 h 378823"/>
              <a:gd name="connsiteX0" fmla="*/ 65313 w 1293222"/>
              <a:gd name="connsiteY0" fmla="*/ 398417 h 398417"/>
              <a:gd name="connsiteX1" fmla="*/ 1293222 w 1293222"/>
              <a:gd name="connsiteY1" fmla="*/ 182880 h 398417"/>
              <a:gd name="connsiteX2" fmla="*/ 1293222 w 1293222"/>
              <a:gd name="connsiteY2" fmla="*/ 0 h 398417"/>
              <a:gd name="connsiteX3" fmla="*/ 0 w 1293222"/>
              <a:gd name="connsiteY3" fmla="*/ 130629 h 398417"/>
              <a:gd name="connsiteX4" fmla="*/ 65313 w 1293222"/>
              <a:gd name="connsiteY4" fmla="*/ 398417 h 398417"/>
              <a:gd name="connsiteX0" fmla="*/ 104663 w 1332572"/>
              <a:gd name="connsiteY0" fmla="*/ 488407 h 488407"/>
              <a:gd name="connsiteX1" fmla="*/ 1332572 w 1332572"/>
              <a:gd name="connsiteY1" fmla="*/ 272870 h 488407"/>
              <a:gd name="connsiteX2" fmla="*/ 1332572 w 1332572"/>
              <a:gd name="connsiteY2" fmla="*/ 89990 h 488407"/>
              <a:gd name="connsiteX3" fmla="*/ 0 w 1332572"/>
              <a:gd name="connsiteY3" fmla="*/ 0 h 488407"/>
              <a:gd name="connsiteX4" fmla="*/ 104663 w 1332572"/>
              <a:gd name="connsiteY4" fmla="*/ 488407 h 488407"/>
              <a:gd name="connsiteX0" fmla="*/ 58754 w 1286663"/>
              <a:gd name="connsiteY0" fmla="*/ 488407 h 488407"/>
              <a:gd name="connsiteX1" fmla="*/ 1286663 w 1286663"/>
              <a:gd name="connsiteY1" fmla="*/ 272870 h 488407"/>
              <a:gd name="connsiteX2" fmla="*/ 1286663 w 1286663"/>
              <a:gd name="connsiteY2" fmla="*/ 89990 h 488407"/>
              <a:gd name="connsiteX3" fmla="*/ 0 w 1286663"/>
              <a:gd name="connsiteY3" fmla="*/ 0 h 488407"/>
              <a:gd name="connsiteX4" fmla="*/ 58754 w 1286663"/>
              <a:gd name="connsiteY4" fmla="*/ 488407 h 488407"/>
              <a:gd name="connsiteX0" fmla="*/ 58754 w 1293221"/>
              <a:gd name="connsiteY0" fmla="*/ 574912 h 574912"/>
              <a:gd name="connsiteX1" fmla="*/ 1286663 w 1293221"/>
              <a:gd name="connsiteY1" fmla="*/ 359375 h 574912"/>
              <a:gd name="connsiteX2" fmla="*/ 1293221 w 1293221"/>
              <a:gd name="connsiteY2" fmla="*/ 0 h 574912"/>
              <a:gd name="connsiteX3" fmla="*/ 0 w 1293221"/>
              <a:gd name="connsiteY3" fmla="*/ 86505 h 574912"/>
              <a:gd name="connsiteX4" fmla="*/ 58754 w 1293221"/>
              <a:gd name="connsiteY4" fmla="*/ 574912 h 574912"/>
              <a:gd name="connsiteX0" fmla="*/ 58754 w 1470298"/>
              <a:gd name="connsiteY0" fmla="*/ 574912 h 574912"/>
              <a:gd name="connsiteX1" fmla="*/ 1470298 w 1470298"/>
              <a:gd name="connsiteY1" fmla="*/ 561083 h 574912"/>
              <a:gd name="connsiteX2" fmla="*/ 1293221 w 1470298"/>
              <a:gd name="connsiteY2" fmla="*/ 0 h 574912"/>
              <a:gd name="connsiteX3" fmla="*/ 0 w 1470298"/>
              <a:gd name="connsiteY3" fmla="*/ 86505 h 574912"/>
              <a:gd name="connsiteX4" fmla="*/ 58754 w 1470298"/>
              <a:gd name="connsiteY4" fmla="*/ 574912 h 574912"/>
              <a:gd name="connsiteX0" fmla="*/ 65313 w 1470298"/>
              <a:gd name="connsiteY0" fmla="*/ 795531 h 795531"/>
              <a:gd name="connsiteX1" fmla="*/ 1470298 w 1470298"/>
              <a:gd name="connsiteY1" fmla="*/ 561083 h 795531"/>
              <a:gd name="connsiteX2" fmla="*/ 1293221 w 1470298"/>
              <a:gd name="connsiteY2" fmla="*/ 0 h 795531"/>
              <a:gd name="connsiteX3" fmla="*/ 0 w 1470298"/>
              <a:gd name="connsiteY3" fmla="*/ 86505 h 795531"/>
              <a:gd name="connsiteX4" fmla="*/ 65313 w 1470298"/>
              <a:gd name="connsiteY4" fmla="*/ 795531 h 795531"/>
              <a:gd name="connsiteX0" fmla="*/ 65313 w 1844126"/>
              <a:gd name="connsiteY0" fmla="*/ 795531 h 795531"/>
              <a:gd name="connsiteX1" fmla="*/ 1844126 w 1844126"/>
              <a:gd name="connsiteY1" fmla="*/ 504352 h 795531"/>
              <a:gd name="connsiteX2" fmla="*/ 1293221 w 1844126"/>
              <a:gd name="connsiteY2" fmla="*/ 0 h 795531"/>
              <a:gd name="connsiteX3" fmla="*/ 0 w 1844126"/>
              <a:gd name="connsiteY3" fmla="*/ 86505 h 795531"/>
              <a:gd name="connsiteX4" fmla="*/ 65313 w 1844126"/>
              <a:gd name="connsiteY4" fmla="*/ 795531 h 795531"/>
              <a:gd name="connsiteX0" fmla="*/ 65313 w 1844126"/>
              <a:gd name="connsiteY0" fmla="*/ 845958 h 845958"/>
              <a:gd name="connsiteX1" fmla="*/ 1844126 w 1844126"/>
              <a:gd name="connsiteY1" fmla="*/ 554779 h 845958"/>
              <a:gd name="connsiteX2" fmla="*/ 1621141 w 1844126"/>
              <a:gd name="connsiteY2" fmla="*/ 0 h 845958"/>
              <a:gd name="connsiteX3" fmla="*/ 0 w 1844126"/>
              <a:gd name="connsiteY3" fmla="*/ 136932 h 845958"/>
              <a:gd name="connsiteX4" fmla="*/ 65313 w 1844126"/>
              <a:gd name="connsiteY4" fmla="*/ 845958 h 845958"/>
              <a:gd name="connsiteX0" fmla="*/ 65313 w 1844126"/>
              <a:gd name="connsiteY0" fmla="*/ 864868 h 864868"/>
              <a:gd name="connsiteX1" fmla="*/ 1844126 w 1844126"/>
              <a:gd name="connsiteY1" fmla="*/ 573689 h 864868"/>
              <a:gd name="connsiteX2" fmla="*/ 1621141 w 1844126"/>
              <a:gd name="connsiteY2" fmla="*/ 0 h 864868"/>
              <a:gd name="connsiteX3" fmla="*/ 0 w 1844126"/>
              <a:gd name="connsiteY3" fmla="*/ 155842 h 864868"/>
              <a:gd name="connsiteX4" fmla="*/ 65313 w 1844126"/>
              <a:gd name="connsiteY4" fmla="*/ 864868 h 864868"/>
              <a:gd name="connsiteX0" fmla="*/ 65313 w 1686724"/>
              <a:gd name="connsiteY0" fmla="*/ 864868 h 864868"/>
              <a:gd name="connsiteX1" fmla="*/ 1686724 w 1686724"/>
              <a:gd name="connsiteY1" fmla="*/ 561082 h 864868"/>
              <a:gd name="connsiteX2" fmla="*/ 1621141 w 1686724"/>
              <a:gd name="connsiteY2" fmla="*/ 0 h 864868"/>
              <a:gd name="connsiteX3" fmla="*/ 0 w 1686724"/>
              <a:gd name="connsiteY3" fmla="*/ 155842 h 864868"/>
              <a:gd name="connsiteX4" fmla="*/ 65313 w 1686724"/>
              <a:gd name="connsiteY4" fmla="*/ 864868 h 864868"/>
              <a:gd name="connsiteX0" fmla="*/ 39079 w 1660490"/>
              <a:gd name="connsiteY0" fmla="*/ 864868 h 864868"/>
              <a:gd name="connsiteX1" fmla="*/ 1660490 w 1660490"/>
              <a:gd name="connsiteY1" fmla="*/ 561082 h 864868"/>
              <a:gd name="connsiteX2" fmla="*/ 1594907 w 1660490"/>
              <a:gd name="connsiteY2" fmla="*/ 0 h 864868"/>
              <a:gd name="connsiteX3" fmla="*/ 0 w 1660490"/>
              <a:gd name="connsiteY3" fmla="*/ 351248 h 864868"/>
              <a:gd name="connsiteX4" fmla="*/ 39079 w 1660490"/>
              <a:gd name="connsiteY4" fmla="*/ 864868 h 864868"/>
              <a:gd name="connsiteX0" fmla="*/ 39079 w 1857243"/>
              <a:gd name="connsiteY0" fmla="*/ 719889 h 719889"/>
              <a:gd name="connsiteX1" fmla="*/ 1660490 w 1857243"/>
              <a:gd name="connsiteY1" fmla="*/ 416103 h 719889"/>
              <a:gd name="connsiteX2" fmla="*/ 1857243 w 1857243"/>
              <a:gd name="connsiteY2" fmla="*/ 0 h 719889"/>
              <a:gd name="connsiteX3" fmla="*/ 0 w 1857243"/>
              <a:gd name="connsiteY3" fmla="*/ 206269 h 719889"/>
              <a:gd name="connsiteX4" fmla="*/ 39079 w 1857243"/>
              <a:gd name="connsiteY4" fmla="*/ 719889 h 719889"/>
              <a:gd name="connsiteX0" fmla="*/ 39079 w 1909709"/>
              <a:gd name="connsiteY0" fmla="*/ 719889 h 719889"/>
              <a:gd name="connsiteX1" fmla="*/ 1909709 w 1909709"/>
              <a:gd name="connsiteY1" fmla="*/ 208090 h 719889"/>
              <a:gd name="connsiteX2" fmla="*/ 1857243 w 1909709"/>
              <a:gd name="connsiteY2" fmla="*/ 0 h 719889"/>
              <a:gd name="connsiteX3" fmla="*/ 0 w 1909709"/>
              <a:gd name="connsiteY3" fmla="*/ 206269 h 719889"/>
              <a:gd name="connsiteX4" fmla="*/ 39079 w 1909709"/>
              <a:gd name="connsiteY4" fmla="*/ 719889 h 719889"/>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206269 h 511876"/>
              <a:gd name="connsiteX4" fmla="*/ 39079 w 1909709"/>
              <a:gd name="connsiteY4" fmla="*/ 511876 h 511876"/>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121173 h 511876"/>
              <a:gd name="connsiteX4" fmla="*/ 39079 w 1909709"/>
              <a:gd name="connsiteY4" fmla="*/ 511876 h 511876"/>
              <a:gd name="connsiteX0" fmla="*/ 39079 w 1857243"/>
              <a:gd name="connsiteY0" fmla="*/ 511876 h 511876"/>
              <a:gd name="connsiteX1" fmla="*/ 1748372 w 1857243"/>
              <a:gd name="connsiteY1" fmla="*/ 309201 h 511876"/>
              <a:gd name="connsiteX2" fmla="*/ 1857243 w 1857243"/>
              <a:gd name="connsiteY2" fmla="*/ 0 h 511876"/>
              <a:gd name="connsiteX3" fmla="*/ 0 w 1857243"/>
              <a:gd name="connsiteY3" fmla="*/ 121173 h 511876"/>
              <a:gd name="connsiteX4" fmla="*/ 39079 w 1857243"/>
              <a:gd name="connsiteY4" fmla="*/ 511876 h 511876"/>
              <a:gd name="connsiteX0" fmla="*/ 39079 w 1748372"/>
              <a:gd name="connsiteY0" fmla="*/ 499237 h 499237"/>
              <a:gd name="connsiteX1" fmla="*/ 1748372 w 1748372"/>
              <a:gd name="connsiteY1" fmla="*/ 296562 h 499237"/>
              <a:gd name="connsiteX2" fmla="*/ 1723965 w 1748372"/>
              <a:gd name="connsiteY2" fmla="*/ 0 h 499237"/>
              <a:gd name="connsiteX3" fmla="*/ 0 w 1748372"/>
              <a:gd name="connsiteY3" fmla="*/ 108534 h 499237"/>
              <a:gd name="connsiteX4" fmla="*/ 39079 w 1748372"/>
              <a:gd name="connsiteY4" fmla="*/ 499237 h 499237"/>
              <a:gd name="connsiteX0" fmla="*/ 95196 w 1748372"/>
              <a:gd name="connsiteY0" fmla="*/ 451841 h 451841"/>
              <a:gd name="connsiteX1" fmla="*/ 1748372 w 1748372"/>
              <a:gd name="connsiteY1" fmla="*/ 296562 h 451841"/>
              <a:gd name="connsiteX2" fmla="*/ 1723965 w 1748372"/>
              <a:gd name="connsiteY2" fmla="*/ 0 h 451841"/>
              <a:gd name="connsiteX3" fmla="*/ 0 w 1748372"/>
              <a:gd name="connsiteY3" fmla="*/ 108534 h 451841"/>
              <a:gd name="connsiteX4" fmla="*/ 95196 w 1748372"/>
              <a:gd name="connsiteY4" fmla="*/ 451841 h 451841"/>
              <a:gd name="connsiteX0" fmla="*/ 95196 w 1723965"/>
              <a:gd name="connsiteY0" fmla="*/ 451841 h 451841"/>
              <a:gd name="connsiteX1" fmla="*/ 1713299 w 1723965"/>
              <a:gd name="connsiteY1" fmla="*/ 315520 h 451841"/>
              <a:gd name="connsiteX2" fmla="*/ 1723965 w 1723965"/>
              <a:gd name="connsiteY2" fmla="*/ 0 h 451841"/>
              <a:gd name="connsiteX3" fmla="*/ 0 w 1723965"/>
              <a:gd name="connsiteY3" fmla="*/ 108534 h 451841"/>
              <a:gd name="connsiteX4" fmla="*/ 95196 w 1723965"/>
              <a:gd name="connsiteY4" fmla="*/ 451841 h 451841"/>
              <a:gd name="connsiteX0" fmla="*/ 95196 w 1713299"/>
              <a:gd name="connsiteY0" fmla="*/ 455001 h 455001"/>
              <a:gd name="connsiteX1" fmla="*/ 1713299 w 1713299"/>
              <a:gd name="connsiteY1" fmla="*/ 318680 h 455001"/>
              <a:gd name="connsiteX2" fmla="*/ 1667848 w 1713299"/>
              <a:gd name="connsiteY2" fmla="*/ 0 h 455001"/>
              <a:gd name="connsiteX3" fmla="*/ 0 w 1713299"/>
              <a:gd name="connsiteY3" fmla="*/ 111694 h 455001"/>
              <a:gd name="connsiteX4" fmla="*/ 95196 w 1713299"/>
              <a:gd name="connsiteY4" fmla="*/ 455001 h 455001"/>
              <a:gd name="connsiteX0" fmla="*/ 67137 w 1685240"/>
              <a:gd name="connsiteY0" fmla="*/ 455001 h 455001"/>
              <a:gd name="connsiteX1" fmla="*/ 1685240 w 1685240"/>
              <a:gd name="connsiteY1" fmla="*/ 318680 h 455001"/>
              <a:gd name="connsiteX2" fmla="*/ 1639789 w 1685240"/>
              <a:gd name="connsiteY2" fmla="*/ 0 h 455001"/>
              <a:gd name="connsiteX3" fmla="*/ 0 w 1685240"/>
              <a:gd name="connsiteY3" fmla="*/ 130652 h 455001"/>
              <a:gd name="connsiteX4" fmla="*/ 67137 w 1685240"/>
              <a:gd name="connsiteY4" fmla="*/ 455001 h 455001"/>
              <a:gd name="connsiteX0" fmla="*/ 67137 w 1667473"/>
              <a:gd name="connsiteY0" fmla="*/ 455001 h 455001"/>
              <a:gd name="connsiteX1" fmla="*/ 1667473 w 1667473"/>
              <a:gd name="connsiteY1" fmla="*/ 242054 h 455001"/>
              <a:gd name="connsiteX2" fmla="*/ 1639789 w 1667473"/>
              <a:gd name="connsiteY2" fmla="*/ 0 h 455001"/>
              <a:gd name="connsiteX3" fmla="*/ 0 w 1667473"/>
              <a:gd name="connsiteY3" fmla="*/ 130652 h 455001"/>
              <a:gd name="connsiteX4" fmla="*/ 67137 w 1667473"/>
              <a:gd name="connsiteY4" fmla="*/ 455001 h 455001"/>
              <a:gd name="connsiteX0" fmla="*/ 100217 w 1700553"/>
              <a:gd name="connsiteY0" fmla="*/ 455001 h 455001"/>
              <a:gd name="connsiteX1" fmla="*/ 1700553 w 1700553"/>
              <a:gd name="connsiteY1" fmla="*/ 242054 h 455001"/>
              <a:gd name="connsiteX2" fmla="*/ 1672869 w 1700553"/>
              <a:gd name="connsiteY2" fmla="*/ 0 h 455001"/>
              <a:gd name="connsiteX3" fmla="*/ 0 w 1700553"/>
              <a:gd name="connsiteY3" fmla="*/ 205540 h 455001"/>
              <a:gd name="connsiteX4" fmla="*/ 100217 w 1700553"/>
              <a:gd name="connsiteY4" fmla="*/ 455001 h 455001"/>
              <a:gd name="connsiteX0" fmla="*/ 100217 w 1700553"/>
              <a:gd name="connsiteY0" fmla="*/ 366878 h 366878"/>
              <a:gd name="connsiteX1" fmla="*/ 1700553 w 1700553"/>
              <a:gd name="connsiteY1" fmla="*/ 153931 h 366878"/>
              <a:gd name="connsiteX2" fmla="*/ 1588975 w 1700553"/>
              <a:gd name="connsiteY2" fmla="*/ 0 h 366878"/>
              <a:gd name="connsiteX3" fmla="*/ 0 w 1700553"/>
              <a:gd name="connsiteY3" fmla="*/ 117417 h 366878"/>
              <a:gd name="connsiteX4" fmla="*/ 100217 w 1700553"/>
              <a:gd name="connsiteY4" fmla="*/ 366878 h 366878"/>
              <a:gd name="connsiteX0" fmla="*/ 115726 w 1700553"/>
              <a:gd name="connsiteY0" fmla="*/ 305211 h 305211"/>
              <a:gd name="connsiteX1" fmla="*/ 1700553 w 1700553"/>
              <a:gd name="connsiteY1" fmla="*/ 153931 h 305211"/>
              <a:gd name="connsiteX2" fmla="*/ 1588975 w 1700553"/>
              <a:gd name="connsiteY2" fmla="*/ 0 h 305211"/>
              <a:gd name="connsiteX3" fmla="*/ 0 w 1700553"/>
              <a:gd name="connsiteY3" fmla="*/ 117417 h 305211"/>
              <a:gd name="connsiteX4" fmla="*/ 115726 w 1700553"/>
              <a:gd name="connsiteY4" fmla="*/ 305211 h 305211"/>
              <a:gd name="connsiteX0" fmla="*/ 115726 w 1700553"/>
              <a:gd name="connsiteY0" fmla="*/ 321895 h 321895"/>
              <a:gd name="connsiteX1" fmla="*/ 1700553 w 1700553"/>
              <a:gd name="connsiteY1" fmla="*/ 170615 h 321895"/>
              <a:gd name="connsiteX2" fmla="*/ 1471607 w 1700553"/>
              <a:gd name="connsiteY2" fmla="*/ 0 h 321895"/>
              <a:gd name="connsiteX3" fmla="*/ 0 w 1700553"/>
              <a:gd name="connsiteY3" fmla="*/ 134101 h 321895"/>
              <a:gd name="connsiteX4" fmla="*/ 115726 w 1700553"/>
              <a:gd name="connsiteY4" fmla="*/ 321895 h 321895"/>
              <a:gd name="connsiteX0" fmla="*/ 115726 w 1581352"/>
              <a:gd name="connsiteY0" fmla="*/ 321895 h 321895"/>
              <a:gd name="connsiteX1" fmla="*/ 1581352 w 1581352"/>
              <a:gd name="connsiteY1" fmla="*/ 210307 h 321895"/>
              <a:gd name="connsiteX2" fmla="*/ 1471607 w 1581352"/>
              <a:gd name="connsiteY2" fmla="*/ 0 h 321895"/>
              <a:gd name="connsiteX3" fmla="*/ 0 w 1581352"/>
              <a:gd name="connsiteY3" fmla="*/ 134101 h 321895"/>
              <a:gd name="connsiteX4" fmla="*/ 115726 w 1581352"/>
              <a:gd name="connsiteY4" fmla="*/ 321895 h 321895"/>
              <a:gd name="connsiteX0" fmla="*/ 92298 w 1557924"/>
              <a:gd name="connsiteY0" fmla="*/ 321895 h 321895"/>
              <a:gd name="connsiteX1" fmla="*/ 1557924 w 1557924"/>
              <a:gd name="connsiteY1" fmla="*/ 210307 h 321895"/>
              <a:gd name="connsiteX2" fmla="*/ 1448179 w 1557924"/>
              <a:gd name="connsiteY2" fmla="*/ 0 h 321895"/>
              <a:gd name="connsiteX3" fmla="*/ 0 w 1557924"/>
              <a:gd name="connsiteY3" fmla="*/ 116473 h 321895"/>
              <a:gd name="connsiteX4" fmla="*/ 92298 w 1557924"/>
              <a:gd name="connsiteY4" fmla="*/ 321895 h 321895"/>
              <a:gd name="connsiteX0" fmla="*/ 152961 w 1557924"/>
              <a:gd name="connsiteY0" fmla="*/ 341247 h 341247"/>
              <a:gd name="connsiteX1" fmla="*/ 1557924 w 1557924"/>
              <a:gd name="connsiteY1" fmla="*/ 210307 h 341247"/>
              <a:gd name="connsiteX2" fmla="*/ 1448179 w 1557924"/>
              <a:gd name="connsiteY2" fmla="*/ 0 h 341247"/>
              <a:gd name="connsiteX3" fmla="*/ 0 w 1557924"/>
              <a:gd name="connsiteY3" fmla="*/ 116473 h 341247"/>
              <a:gd name="connsiteX4" fmla="*/ 152961 w 1557924"/>
              <a:gd name="connsiteY4" fmla="*/ 341247 h 341247"/>
              <a:gd name="connsiteX0" fmla="*/ 135357 w 1557924"/>
              <a:gd name="connsiteY0" fmla="*/ 339493 h 339493"/>
              <a:gd name="connsiteX1" fmla="*/ 1557924 w 1557924"/>
              <a:gd name="connsiteY1" fmla="*/ 210307 h 339493"/>
              <a:gd name="connsiteX2" fmla="*/ 1448179 w 1557924"/>
              <a:gd name="connsiteY2" fmla="*/ 0 h 339493"/>
              <a:gd name="connsiteX3" fmla="*/ 0 w 1557924"/>
              <a:gd name="connsiteY3" fmla="*/ 116473 h 339493"/>
              <a:gd name="connsiteX4" fmla="*/ 135357 w 1557924"/>
              <a:gd name="connsiteY4" fmla="*/ 339493 h 339493"/>
              <a:gd name="connsiteX0" fmla="*/ 109934 w 1532501"/>
              <a:gd name="connsiteY0" fmla="*/ 339493 h 339493"/>
              <a:gd name="connsiteX1" fmla="*/ 1532501 w 1532501"/>
              <a:gd name="connsiteY1" fmla="*/ 210307 h 339493"/>
              <a:gd name="connsiteX2" fmla="*/ 1422756 w 1532501"/>
              <a:gd name="connsiteY2" fmla="*/ 0 h 339493"/>
              <a:gd name="connsiteX3" fmla="*/ 0 w 1532501"/>
              <a:gd name="connsiteY3" fmla="*/ 117343 h 339493"/>
              <a:gd name="connsiteX4" fmla="*/ 109934 w 1532501"/>
              <a:gd name="connsiteY4" fmla="*/ 339493 h 339493"/>
              <a:gd name="connsiteX0" fmla="*/ 133525 w 1556092"/>
              <a:gd name="connsiteY0" fmla="*/ 339493 h 339493"/>
              <a:gd name="connsiteX1" fmla="*/ 1556092 w 1556092"/>
              <a:gd name="connsiteY1" fmla="*/ 210307 h 339493"/>
              <a:gd name="connsiteX2" fmla="*/ 1446347 w 1556092"/>
              <a:gd name="connsiteY2" fmla="*/ 0 h 339493"/>
              <a:gd name="connsiteX3" fmla="*/ 0 w 1556092"/>
              <a:gd name="connsiteY3" fmla="*/ 60098 h 339493"/>
              <a:gd name="connsiteX4" fmla="*/ 133525 w 1556092"/>
              <a:gd name="connsiteY4" fmla="*/ 339493 h 339493"/>
              <a:gd name="connsiteX0" fmla="*/ 133525 w 2343667"/>
              <a:gd name="connsiteY0" fmla="*/ 459688 h 459688"/>
              <a:gd name="connsiteX1" fmla="*/ 1556092 w 2343667"/>
              <a:gd name="connsiteY1" fmla="*/ 330502 h 459688"/>
              <a:gd name="connsiteX2" fmla="*/ 2343667 w 2343667"/>
              <a:gd name="connsiteY2" fmla="*/ 0 h 459688"/>
              <a:gd name="connsiteX3" fmla="*/ 0 w 2343667"/>
              <a:gd name="connsiteY3" fmla="*/ 180293 h 459688"/>
              <a:gd name="connsiteX4" fmla="*/ 133525 w 2343667"/>
              <a:gd name="connsiteY4" fmla="*/ 459688 h 459688"/>
              <a:gd name="connsiteX0" fmla="*/ 133525 w 2391079"/>
              <a:gd name="connsiteY0" fmla="*/ 459688 h 459688"/>
              <a:gd name="connsiteX1" fmla="*/ 2391079 w 2391079"/>
              <a:gd name="connsiteY1" fmla="*/ 322204 h 459688"/>
              <a:gd name="connsiteX2" fmla="*/ 2343667 w 2391079"/>
              <a:gd name="connsiteY2" fmla="*/ 0 h 459688"/>
              <a:gd name="connsiteX3" fmla="*/ 0 w 2391079"/>
              <a:gd name="connsiteY3" fmla="*/ 180293 h 459688"/>
              <a:gd name="connsiteX4" fmla="*/ 133525 w 2391079"/>
              <a:gd name="connsiteY4" fmla="*/ 459688 h 459688"/>
              <a:gd name="connsiteX0" fmla="*/ 159047 w 2391079"/>
              <a:gd name="connsiteY0" fmla="*/ 505482 h 505482"/>
              <a:gd name="connsiteX1" fmla="*/ 2391079 w 2391079"/>
              <a:gd name="connsiteY1" fmla="*/ 322204 h 505482"/>
              <a:gd name="connsiteX2" fmla="*/ 2343667 w 2391079"/>
              <a:gd name="connsiteY2" fmla="*/ 0 h 505482"/>
              <a:gd name="connsiteX3" fmla="*/ 0 w 2391079"/>
              <a:gd name="connsiteY3" fmla="*/ 180293 h 505482"/>
              <a:gd name="connsiteX4" fmla="*/ 159047 w 2391079"/>
              <a:gd name="connsiteY4" fmla="*/ 505482 h 505482"/>
              <a:gd name="connsiteX0" fmla="*/ 159047 w 2391079"/>
              <a:gd name="connsiteY0" fmla="*/ 518659 h 518659"/>
              <a:gd name="connsiteX1" fmla="*/ 2391079 w 2391079"/>
              <a:gd name="connsiteY1" fmla="*/ 335381 h 518659"/>
              <a:gd name="connsiteX2" fmla="*/ 2261507 w 2391079"/>
              <a:gd name="connsiteY2" fmla="*/ 0 h 518659"/>
              <a:gd name="connsiteX3" fmla="*/ 0 w 2391079"/>
              <a:gd name="connsiteY3" fmla="*/ 193470 h 518659"/>
              <a:gd name="connsiteX4" fmla="*/ 159047 w 2391079"/>
              <a:gd name="connsiteY4" fmla="*/ 518659 h 518659"/>
              <a:gd name="connsiteX0" fmla="*/ 159047 w 2513813"/>
              <a:gd name="connsiteY0" fmla="*/ 498511 h 498511"/>
              <a:gd name="connsiteX1" fmla="*/ 2391079 w 2513813"/>
              <a:gd name="connsiteY1" fmla="*/ 315233 h 498511"/>
              <a:gd name="connsiteX2" fmla="*/ 2513813 w 2513813"/>
              <a:gd name="connsiteY2" fmla="*/ 0 h 498511"/>
              <a:gd name="connsiteX3" fmla="*/ 0 w 2513813"/>
              <a:gd name="connsiteY3" fmla="*/ 173322 h 498511"/>
              <a:gd name="connsiteX4" fmla="*/ 159047 w 2513813"/>
              <a:gd name="connsiteY4" fmla="*/ 498511 h 498511"/>
              <a:gd name="connsiteX0" fmla="*/ 159047 w 2547383"/>
              <a:gd name="connsiteY0" fmla="*/ 498511 h 498511"/>
              <a:gd name="connsiteX1" fmla="*/ 2547383 w 2547383"/>
              <a:gd name="connsiteY1" fmla="*/ 252623 h 498511"/>
              <a:gd name="connsiteX2" fmla="*/ 2513813 w 2547383"/>
              <a:gd name="connsiteY2" fmla="*/ 0 h 498511"/>
              <a:gd name="connsiteX3" fmla="*/ 0 w 2547383"/>
              <a:gd name="connsiteY3" fmla="*/ 173322 h 498511"/>
              <a:gd name="connsiteX4" fmla="*/ 159047 w 2547383"/>
              <a:gd name="connsiteY4" fmla="*/ 498511 h 498511"/>
              <a:gd name="connsiteX0" fmla="*/ 164772 w 2553108"/>
              <a:gd name="connsiteY0" fmla="*/ 498511 h 498511"/>
              <a:gd name="connsiteX1" fmla="*/ 2553108 w 2553108"/>
              <a:gd name="connsiteY1" fmla="*/ 252623 h 498511"/>
              <a:gd name="connsiteX2" fmla="*/ 2519538 w 2553108"/>
              <a:gd name="connsiteY2" fmla="*/ 0 h 498511"/>
              <a:gd name="connsiteX3" fmla="*/ 0 w 2553108"/>
              <a:gd name="connsiteY3" fmla="*/ 237627 h 498511"/>
              <a:gd name="connsiteX4" fmla="*/ 164772 w 2553108"/>
              <a:gd name="connsiteY4" fmla="*/ 498511 h 498511"/>
              <a:gd name="connsiteX0" fmla="*/ 102113 w 2553108"/>
              <a:gd name="connsiteY0" fmla="*/ 460662 h 460662"/>
              <a:gd name="connsiteX1" fmla="*/ 2553108 w 2553108"/>
              <a:gd name="connsiteY1" fmla="*/ 252623 h 460662"/>
              <a:gd name="connsiteX2" fmla="*/ 2519538 w 2553108"/>
              <a:gd name="connsiteY2" fmla="*/ 0 h 460662"/>
              <a:gd name="connsiteX3" fmla="*/ 0 w 2553108"/>
              <a:gd name="connsiteY3" fmla="*/ 237627 h 460662"/>
              <a:gd name="connsiteX4" fmla="*/ 102113 w 2553108"/>
              <a:gd name="connsiteY4" fmla="*/ 460662 h 460662"/>
              <a:gd name="connsiteX0" fmla="*/ 102113 w 2553108"/>
              <a:gd name="connsiteY0" fmla="*/ 424537 h 424537"/>
              <a:gd name="connsiteX1" fmla="*/ 2553108 w 2553108"/>
              <a:gd name="connsiteY1" fmla="*/ 216498 h 424537"/>
              <a:gd name="connsiteX2" fmla="*/ 2498106 w 2553108"/>
              <a:gd name="connsiteY2" fmla="*/ 0 h 424537"/>
              <a:gd name="connsiteX3" fmla="*/ 0 w 2553108"/>
              <a:gd name="connsiteY3" fmla="*/ 201502 h 424537"/>
              <a:gd name="connsiteX4" fmla="*/ 102113 w 2553108"/>
              <a:gd name="connsiteY4" fmla="*/ 424537 h 424537"/>
              <a:gd name="connsiteX0" fmla="*/ 90333 w 2553108"/>
              <a:gd name="connsiteY0" fmla="*/ 403402 h 403402"/>
              <a:gd name="connsiteX1" fmla="*/ 2553108 w 2553108"/>
              <a:gd name="connsiteY1" fmla="*/ 216498 h 403402"/>
              <a:gd name="connsiteX2" fmla="*/ 2498106 w 2553108"/>
              <a:gd name="connsiteY2" fmla="*/ 0 h 403402"/>
              <a:gd name="connsiteX3" fmla="*/ 0 w 2553108"/>
              <a:gd name="connsiteY3" fmla="*/ 201502 h 403402"/>
              <a:gd name="connsiteX4" fmla="*/ 90333 w 2553108"/>
              <a:gd name="connsiteY4" fmla="*/ 403402 h 403402"/>
              <a:gd name="connsiteX0" fmla="*/ 60951 w 2523726"/>
              <a:gd name="connsiteY0" fmla="*/ 403402 h 403402"/>
              <a:gd name="connsiteX1" fmla="*/ 2523726 w 2523726"/>
              <a:gd name="connsiteY1" fmla="*/ 216498 h 403402"/>
              <a:gd name="connsiteX2" fmla="*/ 2468724 w 2523726"/>
              <a:gd name="connsiteY2" fmla="*/ 0 h 403402"/>
              <a:gd name="connsiteX3" fmla="*/ 0 w 2523726"/>
              <a:gd name="connsiteY3" fmla="*/ 224392 h 403402"/>
              <a:gd name="connsiteX4" fmla="*/ 60951 w 2523726"/>
              <a:gd name="connsiteY4" fmla="*/ 403402 h 40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3726" h="403402">
                <a:moveTo>
                  <a:pt x="60951" y="403402"/>
                </a:moveTo>
                <a:lnTo>
                  <a:pt x="2523726" y="216498"/>
                </a:lnTo>
                <a:lnTo>
                  <a:pt x="2468724" y="0"/>
                </a:lnTo>
                <a:lnTo>
                  <a:pt x="0" y="224392"/>
                </a:lnTo>
                <a:lnTo>
                  <a:pt x="60951" y="403402"/>
                </a:lnTo>
                <a:close/>
              </a:path>
            </a:pathLst>
          </a:custGeom>
          <a:solidFill>
            <a:schemeClr val="bg1"/>
          </a:solidFill>
          <a:ln>
            <a:noFill/>
          </a:ln>
          <a:effectLst>
            <a:outerShdw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solidFill>
                <a:schemeClr val="accent4"/>
              </a:solidFill>
            </a:endParaRPr>
          </a:p>
        </p:txBody>
      </p:sp>
      <p:sp>
        <p:nvSpPr>
          <p:cNvPr id="12" name="TextBox 9">
            <a:extLst>
              <a:ext uri="{FF2B5EF4-FFF2-40B4-BE49-F238E27FC236}">
                <a16:creationId xmlns:a16="http://schemas.microsoft.com/office/drawing/2014/main" id="{C3944AA2-7FD8-4EED-A32C-A9F6411C21EC}"/>
              </a:ext>
            </a:extLst>
          </p:cNvPr>
          <p:cNvSpPr txBox="1">
            <a:spLocks noChangeArrowheads="1"/>
          </p:cNvSpPr>
          <p:nvPr/>
        </p:nvSpPr>
        <p:spPr bwMode="auto">
          <a:xfrm>
            <a:off x="224576" y="678307"/>
            <a:ext cx="2485989" cy="369332"/>
          </a:xfrm>
          <a:prstGeom prst="rect">
            <a:avLst/>
          </a:prstGeom>
          <a:noFill/>
          <a:ln w="9525">
            <a:noFill/>
            <a:miter lim="800000"/>
            <a:headEnd/>
            <a:tailEnd/>
          </a:ln>
          <a:effectLst/>
        </p:spPr>
        <p:txBody>
          <a:bodyPr wrap="square" lIns="0">
            <a:spAutoFit/>
          </a:bodyPr>
          <a:lstStyle/>
          <a:p>
            <a:pPr marL="3174">
              <a:lnSpc>
                <a:spcPct val="90000"/>
              </a:lnSpc>
              <a:spcBef>
                <a:spcPts val="1200"/>
              </a:spcBef>
              <a:buClr>
                <a:srgbClr val="5C5C5C"/>
              </a:buClr>
              <a:buSzPct val="80000"/>
            </a:pPr>
            <a:r>
              <a:rPr lang="nl-BE" sz="2000" b="1" dirty="0">
                <a:solidFill>
                  <a:srgbClr val="FFC000"/>
                </a:solidFill>
                <a:latin typeface="Amaranth" panose="02000503000000020004" pitchFamily="50" charset="0"/>
                <a:cs typeface="Arial" panose="020B0604020202020204" pitchFamily="34" charset="0"/>
              </a:rPr>
              <a:t>Software</a:t>
            </a:r>
          </a:p>
        </p:txBody>
      </p:sp>
      <p:pic>
        <p:nvPicPr>
          <p:cNvPr id="17" name="Afbeelding 16">
            <a:extLst>
              <a:ext uri="{FF2B5EF4-FFF2-40B4-BE49-F238E27FC236}">
                <a16:creationId xmlns:a16="http://schemas.microsoft.com/office/drawing/2014/main" id="{CC74526C-91E5-4356-9F09-02B38EF18E16}"/>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1241707" y="6052930"/>
            <a:ext cx="661508" cy="556592"/>
          </a:xfrm>
          <a:prstGeom prst="rect">
            <a:avLst/>
          </a:prstGeom>
        </p:spPr>
      </p:pic>
      <p:sp>
        <p:nvSpPr>
          <p:cNvPr id="3" name="Rechthoek 2">
            <a:extLst>
              <a:ext uri="{FF2B5EF4-FFF2-40B4-BE49-F238E27FC236}">
                <a16:creationId xmlns:a16="http://schemas.microsoft.com/office/drawing/2014/main" id="{8CCCA7C5-4D8B-42E0-B5E2-026207558DA9}"/>
              </a:ext>
            </a:extLst>
          </p:cNvPr>
          <p:cNvSpPr/>
          <p:nvPr/>
        </p:nvSpPr>
        <p:spPr>
          <a:xfrm>
            <a:off x="6132308" y="2241466"/>
            <a:ext cx="5069465" cy="461665"/>
          </a:xfrm>
          <a:prstGeom prst="rect">
            <a:avLst/>
          </a:prstGeom>
        </p:spPr>
        <p:txBody>
          <a:bodyPr wrap="none">
            <a:spAutoFit/>
          </a:bodyPr>
          <a:lstStyle/>
          <a:p>
            <a:r>
              <a:rPr lang="nl-NL" sz="2400" b="1" dirty="0">
                <a:solidFill>
                  <a:schemeClr val="bg1"/>
                </a:solidFill>
              </a:rPr>
              <a:t>Tims woordenmachine: woordenschat</a:t>
            </a:r>
            <a:endParaRPr lang="nl-NL" sz="2400" dirty="0">
              <a:solidFill>
                <a:schemeClr val="bg1"/>
              </a:solidFill>
            </a:endParaRPr>
          </a:p>
        </p:txBody>
      </p:sp>
      <p:sp>
        <p:nvSpPr>
          <p:cNvPr id="4" name="Rechthoek 3">
            <a:extLst>
              <a:ext uri="{FF2B5EF4-FFF2-40B4-BE49-F238E27FC236}">
                <a16:creationId xmlns:a16="http://schemas.microsoft.com/office/drawing/2014/main" id="{05E846C1-5940-4420-9140-3BD06367E482}"/>
              </a:ext>
            </a:extLst>
          </p:cNvPr>
          <p:cNvSpPr/>
          <p:nvPr/>
        </p:nvSpPr>
        <p:spPr>
          <a:xfrm>
            <a:off x="6132308" y="3082836"/>
            <a:ext cx="5865481" cy="1754326"/>
          </a:xfrm>
          <a:prstGeom prst="rect">
            <a:avLst/>
          </a:prstGeom>
        </p:spPr>
        <p:txBody>
          <a:bodyPr wrap="square">
            <a:spAutoFit/>
          </a:bodyPr>
          <a:lstStyle/>
          <a:p>
            <a:r>
              <a:rPr lang="nl-NL" dirty="0">
                <a:solidFill>
                  <a:schemeClr val="bg1"/>
                </a:solidFill>
              </a:rPr>
              <a:t>Spelen met de woorden uit de ankers</a:t>
            </a:r>
          </a:p>
          <a:p>
            <a:endParaRPr lang="nl-NL" dirty="0">
              <a:solidFill>
                <a:schemeClr val="bg1"/>
              </a:solidFill>
            </a:endParaRPr>
          </a:p>
          <a:p>
            <a:r>
              <a:rPr lang="nl-NL" dirty="0">
                <a:solidFill>
                  <a:schemeClr val="bg1"/>
                </a:solidFill>
              </a:rPr>
              <a:t>Sterke woordsporen maken:</a:t>
            </a:r>
          </a:p>
          <a:p>
            <a:pPr marL="457200" indent="-457200">
              <a:buFont typeface="Arial" panose="020B0604020202020204" pitchFamily="34" charset="0"/>
              <a:buChar char="•"/>
            </a:pPr>
            <a:r>
              <a:rPr lang="nl-NL" dirty="0">
                <a:solidFill>
                  <a:schemeClr val="bg1"/>
                </a:solidFill>
              </a:rPr>
              <a:t>Woordje-plaatje</a:t>
            </a:r>
          </a:p>
          <a:p>
            <a:pPr marL="457200" indent="-457200">
              <a:buFont typeface="Arial" panose="020B0604020202020204" pitchFamily="34" charset="0"/>
              <a:buChar char="•"/>
            </a:pPr>
            <a:r>
              <a:rPr lang="nl-NL" dirty="0">
                <a:solidFill>
                  <a:schemeClr val="bg1"/>
                </a:solidFill>
              </a:rPr>
              <a:t>Klankverkenning</a:t>
            </a:r>
          </a:p>
          <a:p>
            <a:pPr marL="457200" indent="-457200">
              <a:buFont typeface="Arial" panose="020B0604020202020204" pitchFamily="34" charset="0"/>
              <a:buChar char="•"/>
            </a:pPr>
            <a:r>
              <a:rPr lang="nl-NL" dirty="0">
                <a:solidFill>
                  <a:schemeClr val="bg1"/>
                </a:solidFill>
              </a:rPr>
              <a:t>Netwerkoefening</a:t>
            </a:r>
          </a:p>
        </p:txBody>
      </p:sp>
      <p:pic>
        <p:nvPicPr>
          <p:cNvPr id="19" name="Afbeelding 18">
            <a:extLst>
              <a:ext uri="{FF2B5EF4-FFF2-40B4-BE49-F238E27FC236}">
                <a16:creationId xmlns:a16="http://schemas.microsoft.com/office/drawing/2014/main" id="{880EE27A-8FD9-408A-8CFA-BC0A0C4AB553}"/>
              </a:ext>
            </a:extLst>
          </p:cNvPr>
          <p:cNvPicPr>
            <a:picLocks noChangeAspect="1"/>
          </p:cNvPicPr>
          <p:nvPr/>
        </p:nvPicPr>
        <p:blipFill>
          <a:blip r:embed="rId8"/>
          <a:stretch>
            <a:fillRect/>
          </a:stretch>
        </p:blipFill>
        <p:spPr>
          <a:xfrm>
            <a:off x="761886" y="1386604"/>
            <a:ext cx="3601391" cy="2448945"/>
          </a:xfrm>
          <a:prstGeom prst="rect">
            <a:avLst/>
          </a:prstGeom>
        </p:spPr>
      </p:pic>
      <p:pic>
        <p:nvPicPr>
          <p:cNvPr id="21" name="Afbeelding 20">
            <a:extLst>
              <a:ext uri="{FF2B5EF4-FFF2-40B4-BE49-F238E27FC236}">
                <a16:creationId xmlns:a16="http://schemas.microsoft.com/office/drawing/2014/main" id="{1644CE58-A343-4831-8E5A-26A04B3F2B19}"/>
              </a:ext>
            </a:extLst>
          </p:cNvPr>
          <p:cNvPicPr>
            <a:picLocks noChangeAspect="1"/>
          </p:cNvPicPr>
          <p:nvPr/>
        </p:nvPicPr>
        <p:blipFill>
          <a:blip r:embed="rId9"/>
          <a:stretch>
            <a:fillRect/>
          </a:stretch>
        </p:blipFill>
        <p:spPr>
          <a:xfrm>
            <a:off x="761886" y="3916204"/>
            <a:ext cx="3601390" cy="2504493"/>
          </a:xfrm>
          <a:prstGeom prst="rect">
            <a:avLst/>
          </a:prstGeom>
        </p:spPr>
      </p:pic>
    </p:spTree>
    <p:extLst>
      <p:ext uri="{BB962C8B-B14F-4D97-AF65-F5344CB8AC3E}">
        <p14:creationId xmlns:p14="http://schemas.microsoft.com/office/powerpoint/2010/main" val="99678446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hoek 12">
            <a:extLst>
              <a:ext uri="{FF2B5EF4-FFF2-40B4-BE49-F238E27FC236}">
                <a16:creationId xmlns:a16="http://schemas.microsoft.com/office/drawing/2014/main" id="{CECEAB52-2BFE-4DB7-83D8-2B3EABF14D7F}"/>
              </a:ext>
            </a:extLst>
          </p:cNvPr>
          <p:cNvSpPr/>
          <p:nvPr/>
        </p:nvSpPr>
        <p:spPr>
          <a:xfrm>
            <a:off x="36308" y="1721610"/>
            <a:ext cx="12192000" cy="4453958"/>
          </a:xfrm>
          <a:prstGeom prst="rect">
            <a:avLst/>
          </a:prstGeom>
          <a:solidFill>
            <a:srgbClr val="FFC00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80" name="think-cell Slide" r:id="rId5" imgW="353" imgH="353" progId="TCLayout.ActiveDocument.1">
                  <p:embed/>
                </p:oleObj>
              </mc:Choice>
              <mc:Fallback>
                <p:oleObj name="think-cell Slide" r:id="rId5" imgW="353" imgH="353"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extBox 14"/>
          <p:cNvSpPr txBox="1"/>
          <p:nvPr/>
        </p:nvSpPr>
        <p:spPr>
          <a:xfrm>
            <a:off x="5819286" y="601863"/>
            <a:ext cx="6178503" cy="646331"/>
          </a:xfrm>
          <a:prstGeom prst="rect">
            <a:avLst/>
          </a:prstGeom>
          <a:noFill/>
        </p:spPr>
        <p:txBody>
          <a:bodyPr wrap="square" rtlCol="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tab pos="1971675" algn="l"/>
              </a:tabLst>
              <a:defRPr/>
            </a:pPr>
            <a:r>
              <a:rPr kumimoji="0" lang="nl-BE" sz="4000" b="0" i="0" u="none" strike="noStrike" kern="1200" cap="none" spc="0" normalizeH="0" baseline="0" noProof="0" dirty="0">
                <a:ln>
                  <a:noFill/>
                </a:ln>
                <a:solidFill>
                  <a:srgbClr val="FFC000"/>
                </a:solidFill>
                <a:effectLst/>
                <a:uLnTx/>
                <a:uFillTx/>
                <a:latin typeface="Amaranth" panose="02000503000000020004" pitchFamily="50" charset="0"/>
                <a:ea typeface="+mn-ea"/>
                <a:cs typeface="Arial" panose="020B0604020202020204" pitchFamily="34" charset="0"/>
              </a:rPr>
              <a:t>Leerlingsoftware: taal</a:t>
            </a:r>
          </a:p>
        </p:txBody>
      </p:sp>
      <p:sp>
        <p:nvSpPr>
          <p:cNvPr id="20" name="TextBox 9">
            <a:extLst>
              <a:ext uri="{FF2B5EF4-FFF2-40B4-BE49-F238E27FC236}">
                <a16:creationId xmlns:a16="http://schemas.microsoft.com/office/drawing/2014/main" id="{C7AA8425-6DE2-48BD-9D9B-550BF08EB454}"/>
              </a:ext>
            </a:extLst>
          </p:cNvPr>
          <p:cNvSpPr txBox="1">
            <a:spLocks noChangeArrowheads="1"/>
          </p:cNvSpPr>
          <p:nvPr/>
        </p:nvSpPr>
        <p:spPr bwMode="auto">
          <a:xfrm>
            <a:off x="414395" y="682432"/>
            <a:ext cx="1429916" cy="369332"/>
          </a:xfrm>
          <a:prstGeom prst="rect">
            <a:avLst/>
          </a:prstGeom>
          <a:noFill/>
          <a:ln w="9525">
            <a:noFill/>
            <a:miter lim="800000"/>
            <a:headEnd/>
            <a:tailEnd/>
          </a:ln>
        </p:spPr>
        <p:txBody>
          <a:bodyPr wrap="square" lIns="0">
            <a:spAutoFit/>
          </a:bodyPr>
          <a:lstStyle/>
          <a:p>
            <a:pPr marL="3174" marR="0" lvl="0" indent="0" algn="l" defTabSz="914400" rtl="0" eaLnBrk="1" fontAlgn="auto" latinLnBrk="0" hangingPunct="1">
              <a:lnSpc>
                <a:spcPct val="90000"/>
              </a:lnSpc>
              <a:spcBef>
                <a:spcPts val="1200"/>
              </a:spcBef>
              <a:spcAft>
                <a:spcPts val="0"/>
              </a:spcAft>
              <a:buClr>
                <a:srgbClr val="5C5C5C"/>
              </a:buClr>
              <a:buSzPct val="80000"/>
              <a:buFontTx/>
              <a:buNone/>
              <a:tabLst/>
              <a:defRPr/>
            </a:pPr>
            <a:r>
              <a:rPr kumimoji="0" lang="nl-BE" sz="2000" b="1" i="0" u="none" strike="noStrike" kern="1200" cap="none" spc="0" normalizeH="0" baseline="0" noProof="0" dirty="0">
                <a:ln>
                  <a:noFill/>
                </a:ln>
                <a:solidFill>
                  <a:prstClr val="white"/>
                </a:solidFill>
                <a:effectLst/>
                <a:uLnTx/>
                <a:uFillTx/>
                <a:latin typeface="Amaranth" panose="02000503000000020004" pitchFamily="50" charset="0"/>
                <a:ea typeface="+mn-ea"/>
                <a:cs typeface="Arial" panose="020B0604020202020204" pitchFamily="34" charset="0"/>
              </a:rPr>
              <a:t>Software</a:t>
            </a:r>
          </a:p>
        </p:txBody>
      </p:sp>
      <p:sp>
        <p:nvSpPr>
          <p:cNvPr id="10" name="Freeform 41">
            <a:extLst>
              <a:ext uri="{FF2B5EF4-FFF2-40B4-BE49-F238E27FC236}">
                <a16:creationId xmlns:a16="http://schemas.microsoft.com/office/drawing/2014/main" id="{19C4BFF1-338F-4238-B984-12D30DA19C04}"/>
              </a:ext>
            </a:extLst>
          </p:cNvPr>
          <p:cNvSpPr/>
          <p:nvPr/>
        </p:nvSpPr>
        <p:spPr>
          <a:xfrm rot="845560">
            <a:off x="-82083" y="352836"/>
            <a:ext cx="2164079" cy="1020274"/>
          </a:xfrm>
          <a:custGeom>
            <a:avLst/>
            <a:gdLst>
              <a:gd name="connsiteX0" fmla="*/ 45720 w 1267097"/>
              <a:gd name="connsiteY0" fmla="*/ 378823 h 378823"/>
              <a:gd name="connsiteX1" fmla="*/ 1267097 w 1267097"/>
              <a:gd name="connsiteY1" fmla="*/ 182880 h 378823"/>
              <a:gd name="connsiteX2" fmla="*/ 1267097 w 1267097"/>
              <a:gd name="connsiteY2" fmla="*/ 0 h 378823"/>
              <a:gd name="connsiteX3" fmla="*/ 0 w 1267097"/>
              <a:gd name="connsiteY3" fmla="*/ 189412 h 378823"/>
              <a:gd name="connsiteX4" fmla="*/ 45720 w 1267097"/>
              <a:gd name="connsiteY4" fmla="*/ 378823 h 378823"/>
              <a:gd name="connsiteX0" fmla="*/ 71845 w 1293222"/>
              <a:gd name="connsiteY0" fmla="*/ 378823 h 378823"/>
              <a:gd name="connsiteX1" fmla="*/ 1293222 w 1293222"/>
              <a:gd name="connsiteY1" fmla="*/ 182880 h 378823"/>
              <a:gd name="connsiteX2" fmla="*/ 1293222 w 1293222"/>
              <a:gd name="connsiteY2" fmla="*/ 0 h 378823"/>
              <a:gd name="connsiteX3" fmla="*/ 0 w 1293222"/>
              <a:gd name="connsiteY3" fmla="*/ 130629 h 378823"/>
              <a:gd name="connsiteX4" fmla="*/ 71845 w 1293222"/>
              <a:gd name="connsiteY4" fmla="*/ 378823 h 378823"/>
              <a:gd name="connsiteX0" fmla="*/ 65313 w 1293222"/>
              <a:gd name="connsiteY0" fmla="*/ 398417 h 398417"/>
              <a:gd name="connsiteX1" fmla="*/ 1293222 w 1293222"/>
              <a:gd name="connsiteY1" fmla="*/ 182880 h 398417"/>
              <a:gd name="connsiteX2" fmla="*/ 1293222 w 1293222"/>
              <a:gd name="connsiteY2" fmla="*/ 0 h 398417"/>
              <a:gd name="connsiteX3" fmla="*/ 0 w 1293222"/>
              <a:gd name="connsiteY3" fmla="*/ 130629 h 398417"/>
              <a:gd name="connsiteX4" fmla="*/ 65313 w 1293222"/>
              <a:gd name="connsiteY4" fmla="*/ 398417 h 398417"/>
              <a:gd name="connsiteX0" fmla="*/ 104663 w 1332572"/>
              <a:gd name="connsiteY0" fmla="*/ 488407 h 488407"/>
              <a:gd name="connsiteX1" fmla="*/ 1332572 w 1332572"/>
              <a:gd name="connsiteY1" fmla="*/ 272870 h 488407"/>
              <a:gd name="connsiteX2" fmla="*/ 1332572 w 1332572"/>
              <a:gd name="connsiteY2" fmla="*/ 89990 h 488407"/>
              <a:gd name="connsiteX3" fmla="*/ 0 w 1332572"/>
              <a:gd name="connsiteY3" fmla="*/ 0 h 488407"/>
              <a:gd name="connsiteX4" fmla="*/ 104663 w 1332572"/>
              <a:gd name="connsiteY4" fmla="*/ 488407 h 488407"/>
              <a:gd name="connsiteX0" fmla="*/ 58754 w 1286663"/>
              <a:gd name="connsiteY0" fmla="*/ 488407 h 488407"/>
              <a:gd name="connsiteX1" fmla="*/ 1286663 w 1286663"/>
              <a:gd name="connsiteY1" fmla="*/ 272870 h 488407"/>
              <a:gd name="connsiteX2" fmla="*/ 1286663 w 1286663"/>
              <a:gd name="connsiteY2" fmla="*/ 89990 h 488407"/>
              <a:gd name="connsiteX3" fmla="*/ 0 w 1286663"/>
              <a:gd name="connsiteY3" fmla="*/ 0 h 488407"/>
              <a:gd name="connsiteX4" fmla="*/ 58754 w 1286663"/>
              <a:gd name="connsiteY4" fmla="*/ 488407 h 488407"/>
              <a:gd name="connsiteX0" fmla="*/ 58754 w 1293221"/>
              <a:gd name="connsiteY0" fmla="*/ 574912 h 574912"/>
              <a:gd name="connsiteX1" fmla="*/ 1286663 w 1293221"/>
              <a:gd name="connsiteY1" fmla="*/ 359375 h 574912"/>
              <a:gd name="connsiteX2" fmla="*/ 1293221 w 1293221"/>
              <a:gd name="connsiteY2" fmla="*/ 0 h 574912"/>
              <a:gd name="connsiteX3" fmla="*/ 0 w 1293221"/>
              <a:gd name="connsiteY3" fmla="*/ 86505 h 574912"/>
              <a:gd name="connsiteX4" fmla="*/ 58754 w 1293221"/>
              <a:gd name="connsiteY4" fmla="*/ 574912 h 574912"/>
              <a:gd name="connsiteX0" fmla="*/ 58754 w 1470298"/>
              <a:gd name="connsiteY0" fmla="*/ 574912 h 574912"/>
              <a:gd name="connsiteX1" fmla="*/ 1470298 w 1470298"/>
              <a:gd name="connsiteY1" fmla="*/ 561083 h 574912"/>
              <a:gd name="connsiteX2" fmla="*/ 1293221 w 1470298"/>
              <a:gd name="connsiteY2" fmla="*/ 0 h 574912"/>
              <a:gd name="connsiteX3" fmla="*/ 0 w 1470298"/>
              <a:gd name="connsiteY3" fmla="*/ 86505 h 574912"/>
              <a:gd name="connsiteX4" fmla="*/ 58754 w 1470298"/>
              <a:gd name="connsiteY4" fmla="*/ 574912 h 574912"/>
              <a:gd name="connsiteX0" fmla="*/ 65313 w 1470298"/>
              <a:gd name="connsiteY0" fmla="*/ 795531 h 795531"/>
              <a:gd name="connsiteX1" fmla="*/ 1470298 w 1470298"/>
              <a:gd name="connsiteY1" fmla="*/ 561083 h 795531"/>
              <a:gd name="connsiteX2" fmla="*/ 1293221 w 1470298"/>
              <a:gd name="connsiteY2" fmla="*/ 0 h 795531"/>
              <a:gd name="connsiteX3" fmla="*/ 0 w 1470298"/>
              <a:gd name="connsiteY3" fmla="*/ 86505 h 795531"/>
              <a:gd name="connsiteX4" fmla="*/ 65313 w 1470298"/>
              <a:gd name="connsiteY4" fmla="*/ 795531 h 795531"/>
              <a:gd name="connsiteX0" fmla="*/ 65313 w 1844126"/>
              <a:gd name="connsiteY0" fmla="*/ 795531 h 795531"/>
              <a:gd name="connsiteX1" fmla="*/ 1844126 w 1844126"/>
              <a:gd name="connsiteY1" fmla="*/ 504352 h 795531"/>
              <a:gd name="connsiteX2" fmla="*/ 1293221 w 1844126"/>
              <a:gd name="connsiteY2" fmla="*/ 0 h 795531"/>
              <a:gd name="connsiteX3" fmla="*/ 0 w 1844126"/>
              <a:gd name="connsiteY3" fmla="*/ 86505 h 795531"/>
              <a:gd name="connsiteX4" fmla="*/ 65313 w 1844126"/>
              <a:gd name="connsiteY4" fmla="*/ 795531 h 795531"/>
              <a:gd name="connsiteX0" fmla="*/ 65313 w 1844126"/>
              <a:gd name="connsiteY0" fmla="*/ 845958 h 845958"/>
              <a:gd name="connsiteX1" fmla="*/ 1844126 w 1844126"/>
              <a:gd name="connsiteY1" fmla="*/ 554779 h 845958"/>
              <a:gd name="connsiteX2" fmla="*/ 1621141 w 1844126"/>
              <a:gd name="connsiteY2" fmla="*/ 0 h 845958"/>
              <a:gd name="connsiteX3" fmla="*/ 0 w 1844126"/>
              <a:gd name="connsiteY3" fmla="*/ 136932 h 845958"/>
              <a:gd name="connsiteX4" fmla="*/ 65313 w 1844126"/>
              <a:gd name="connsiteY4" fmla="*/ 845958 h 845958"/>
              <a:gd name="connsiteX0" fmla="*/ 65313 w 1844126"/>
              <a:gd name="connsiteY0" fmla="*/ 864868 h 864868"/>
              <a:gd name="connsiteX1" fmla="*/ 1844126 w 1844126"/>
              <a:gd name="connsiteY1" fmla="*/ 573689 h 864868"/>
              <a:gd name="connsiteX2" fmla="*/ 1621141 w 1844126"/>
              <a:gd name="connsiteY2" fmla="*/ 0 h 864868"/>
              <a:gd name="connsiteX3" fmla="*/ 0 w 1844126"/>
              <a:gd name="connsiteY3" fmla="*/ 155842 h 864868"/>
              <a:gd name="connsiteX4" fmla="*/ 65313 w 1844126"/>
              <a:gd name="connsiteY4" fmla="*/ 864868 h 864868"/>
              <a:gd name="connsiteX0" fmla="*/ 65313 w 1686724"/>
              <a:gd name="connsiteY0" fmla="*/ 864868 h 864868"/>
              <a:gd name="connsiteX1" fmla="*/ 1686724 w 1686724"/>
              <a:gd name="connsiteY1" fmla="*/ 561082 h 864868"/>
              <a:gd name="connsiteX2" fmla="*/ 1621141 w 1686724"/>
              <a:gd name="connsiteY2" fmla="*/ 0 h 864868"/>
              <a:gd name="connsiteX3" fmla="*/ 0 w 1686724"/>
              <a:gd name="connsiteY3" fmla="*/ 155842 h 864868"/>
              <a:gd name="connsiteX4" fmla="*/ 65313 w 1686724"/>
              <a:gd name="connsiteY4" fmla="*/ 864868 h 864868"/>
              <a:gd name="connsiteX0" fmla="*/ 39079 w 1660490"/>
              <a:gd name="connsiteY0" fmla="*/ 864868 h 864868"/>
              <a:gd name="connsiteX1" fmla="*/ 1660490 w 1660490"/>
              <a:gd name="connsiteY1" fmla="*/ 561082 h 864868"/>
              <a:gd name="connsiteX2" fmla="*/ 1594907 w 1660490"/>
              <a:gd name="connsiteY2" fmla="*/ 0 h 864868"/>
              <a:gd name="connsiteX3" fmla="*/ 0 w 1660490"/>
              <a:gd name="connsiteY3" fmla="*/ 351248 h 864868"/>
              <a:gd name="connsiteX4" fmla="*/ 39079 w 1660490"/>
              <a:gd name="connsiteY4" fmla="*/ 864868 h 864868"/>
              <a:gd name="connsiteX0" fmla="*/ 39079 w 1857243"/>
              <a:gd name="connsiteY0" fmla="*/ 719889 h 719889"/>
              <a:gd name="connsiteX1" fmla="*/ 1660490 w 1857243"/>
              <a:gd name="connsiteY1" fmla="*/ 416103 h 719889"/>
              <a:gd name="connsiteX2" fmla="*/ 1857243 w 1857243"/>
              <a:gd name="connsiteY2" fmla="*/ 0 h 719889"/>
              <a:gd name="connsiteX3" fmla="*/ 0 w 1857243"/>
              <a:gd name="connsiteY3" fmla="*/ 206269 h 719889"/>
              <a:gd name="connsiteX4" fmla="*/ 39079 w 1857243"/>
              <a:gd name="connsiteY4" fmla="*/ 719889 h 719889"/>
              <a:gd name="connsiteX0" fmla="*/ 39079 w 1909709"/>
              <a:gd name="connsiteY0" fmla="*/ 719889 h 719889"/>
              <a:gd name="connsiteX1" fmla="*/ 1909709 w 1909709"/>
              <a:gd name="connsiteY1" fmla="*/ 208090 h 719889"/>
              <a:gd name="connsiteX2" fmla="*/ 1857243 w 1909709"/>
              <a:gd name="connsiteY2" fmla="*/ 0 h 719889"/>
              <a:gd name="connsiteX3" fmla="*/ 0 w 1909709"/>
              <a:gd name="connsiteY3" fmla="*/ 206269 h 719889"/>
              <a:gd name="connsiteX4" fmla="*/ 39079 w 1909709"/>
              <a:gd name="connsiteY4" fmla="*/ 719889 h 719889"/>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206269 h 511876"/>
              <a:gd name="connsiteX4" fmla="*/ 39079 w 1909709"/>
              <a:gd name="connsiteY4" fmla="*/ 511876 h 511876"/>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121173 h 511876"/>
              <a:gd name="connsiteX4" fmla="*/ 39079 w 1909709"/>
              <a:gd name="connsiteY4" fmla="*/ 511876 h 511876"/>
              <a:gd name="connsiteX0" fmla="*/ 39079 w 1857243"/>
              <a:gd name="connsiteY0" fmla="*/ 511876 h 511876"/>
              <a:gd name="connsiteX1" fmla="*/ 1748372 w 1857243"/>
              <a:gd name="connsiteY1" fmla="*/ 309201 h 511876"/>
              <a:gd name="connsiteX2" fmla="*/ 1857243 w 1857243"/>
              <a:gd name="connsiteY2" fmla="*/ 0 h 511876"/>
              <a:gd name="connsiteX3" fmla="*/ 0 w 1857243"/>
              <a:gd name="connsiteY3" fmla="*/ 121173 h 511876"/>
              <a:gd name="connsiteX4" fmla="*/ 39079 w 1857243"/>
              <a:gd name="connsiteY4" fmla="*/ 511876 h 511876"/>
              <a:gd name="connsiteX0" fmla="*/ 39079 w 1748372"/>
              <a:gd name="connsiteY0" fmla="*/ 499237 h 499237"/>
              <a:gd name="connsiteX1" fmla="*/ 1748372 w 1748372"/>
              <a:gd name="connsiteY1" fmla="*/ 296562 h 499237"/>
              <a:gd name="connsiteX2" fmla="*/ 1723965 w 1748372"/>
              <a:gd name="connsiteY2" fmla="*/ 0 h 499237"/>
              <a:gd name="connsiteX3" fmla="*/ 0 w 1748372"/>
              <a:gd name="connsiteY3" fmla="*/ 108534 h 499237"/>
              <a:gd name="connsiteX4" fmla="*/ 39079 w 1748372"/>
              <a:gd name="connsiteY4" fmla="*/ 499237 h 499237"/>
              <a:gd name="connsiteX0" fmla="*/ 95196 w 1748372"/>
              <a:gd name="connsiteY0" fmla="*/ 451841 h 451841"/>
              <a:gd name="connsiteX1" fmla="*/ 1748372 w 1748372"/>
              <a:gd name="connsiteY1" fmla="*/ 296562 h 451841"/>
              <a:gd name="connsiteX2" fmla="*/ 1723965 w 1748372"/>
              <a:gd name="connsiteY2" fmla="*/ 0 h 451841"/>
              <a:gd name="connsiteX3" fmla="*/ 0 w 1748372"/>
              <a:gd name="connsiteY3" fmla="*/ 108534 h 451841"/>
              <a:gd name="connsiteX4" fmla="*/ 95196 w 1748372"/>
              <a:gd name="connsiteY4" fmla="*/ 451841 h 451841"/>
              <a:gd name="connsiteX0" fmla="*/ 95196 w 1723965"/>
              <a:gd name="connsiteY0" fmla="*/ 451841 h 451841"/>
              <a:gd name="connsiteX1" fmla="*/ 1713299 w 1723965"/>
              <a:gd name="connsiteY1" fmla="*/ 315520 h 451841"/>
              <a:gd name="connsiteX2" fmla="*/ 1723965 w 1723965"/>
              <a:gd name="connsiteY2" fmla="*/ 0 h 451841"/>
              <a:gd name="connsiteX3" fmla="*/ 0 w 1723965"/>
              <a:gd name="connsiteY3" fmla="*/ 108534 h 451841"/>
              <a:gd name="connsiteX4" fmla="*/ 95196 w 1723965"/>
              <a:gd name="connsiteY4" fmla="*/ 451841 h 451841"/>
              <a:gd name="connsiteX0" fmla="*/ 95196 w 1713299"/>
              <a:gd name="connsiteY0" fmla="*/ 455001 h 455001"/>
              <a:gd name="connsiteX1" fmla="*/ 1713299 w 1713299"/>
              <a:gd name="connsiteY1" fmla="*/ 318680 h 455001"/>
              <a:gd name="connsiteX2" fmla="*/ 1667848 w 1713299"/>
              <a:gd name="connsiteY2" fmla="*/ 0 h 455001"/>
              <a:gd name="connsiteX3" fmla="*/ 0 w 1713299"/>
              <a:gd name="connsiteY3" fmla="*/ 111694 h 455001"/>
              <a:gd name="connsiteX4" fmla="*/ 95196 w 1713299"/>
              <a:gd name="connsiteY4" fmla="*/ 455001 h 455001"/>
              <a:gd name="connsiteX0" fmla="*/ 67137 w 1685240"/>
              <a:gd name="connsiteY0" fmla="*/ 455001 h 455001"/>
              <a:gd name="connsiteX1" fmla="*/ 1685240 w 1685240"/>
              <a:gd name="connsiteY1" fmla="*/ 318680 h 455001"/>
              <a:gd name="connsiteX2" fmla="*/ 1639789 w 1685240"/>
              <a:gd name="connsiteY2" fmla="*/ 0 h 455001"/>
              <a:gd name="connsiteX3" fmla="*/ 0 w 1685240"/>
              <a:gd name="connsiteY3" fmla="*/ 130652 h 455001"/>
              <a:gd name="connsiteX4" fmla="*/ 67137 w 1685240"/>
              <a:gd name="connsiteY4" fmla="*/ 455001 h 455001"/>
              <a:gd name="connsiteX0" fmla="*/ 67137 w 1667473"/>
              <a:gd name="connsiteY0" fmla="*/ 455001 h 455001"/>
              <a:gd name="connsiteX1" fmla="*/ 1667473 w 1667473"/>
              <a:gd name="connsiteY1" fmla="*/ 242054 h 455001"/>
              <a:gd name="connsiteX2" fmla="*/ 1639789 w 1667473"/>
              <a:gd name="connsiteY2" fmla="*/ 0 h 455001"/>
              <a:gd name="connsiteX3" fmla="*/ 0 w 1667473"/>
              <a:gd name="connsiteY3" fmla="*/ 130652 h 455001"/>
              <a:gd name="connsiteX4" fmla="*/ 67137 w 1667473"/>
              <a:gd name="connsiteY4" fmla="*/ 455001 h 455001"/>
              <a:gd name="connsiteX0" fmla="*/ 100217 w 1700553"/>
              <a:gd name="connsiteY0" fmla="*/ 455001 h 455001"/>
              <a:gd name="connsiteX1" fmla="*/ 1700553 w 1700553"/>
              <a:gd name="connsiteY1" fmla="*/ 242054 h 455001"/>
              <a:gd name="connsiteX2" fmla="*/ 1672869 w 1700553"/>
              <a:gd name="connsiteY2" fmla="*/ 0 h 455001"/>
              <a:gd name="connsiteX3" fmla="*/ 0 w 1700553"/>
              <a:gd name="connsiteY3" fmla="*/ 205540 h 455001"/>
              <a:gd name="connsiteX4" fmla="*/ 100217 w 1700553"/>
              <a:gd name="connsiteY4" fmla="*/ 455001 h 455001"/>
              <a:gd name="connsiteX0" fmla="*/ 100217 w 1700553"/>
              <a:gd name="connsiteY0" fmla="*/ 366878 h 366878"/>
              <a:gd name="connsiteX1" fmla="*/ 1700553 w 1700553"/>
              <a:gd name="connsiteY1" fmla="*/ 153931 h 366878"/>
              <a:gd name="connsiteX2" fmla="*/ 1588975 w 1700553"/>
              <a:gd name="connsiteY2" fmla="*/ 0 h 366878"/>
              <a:gd name="connsiteX3" fmla="*/ 0 w 1700553"/>
              <a:gd name="connsiteY3" fmla="*/ 117417 h 366878"/>
              <a:gd name="connsiteX4" fmla="*/ 100217 w 1700553"/>
              <a:gd name="connsiteY4" fmla="*/ 366878 h 366878"/>
              <a:gd name="connsiteX0" fmla="*/ 115726 w 1700553"/>
              <a:gd name="connsiteY0" fmla="*/ 305211 h 305211"/>
              <a:gd name="connsiteX1" fmla="*/ 1700553 w 1700553"/>
              <a:gd name="connsiteY1" fmla="*/ 153931 h 305211"/>
              <a:gd name="connsiteX2" fmla="*/ 1588975 w 1700553"/>
              <a:gd name="connsiteY2" fmla="*/ 0 h 305211"/>
              <a:gd name="connsiteX3" fmla="*/ 0 w 1700553"/>
              <a:gd name="connsiteY3" fmla="*/ 117417 h 305211"/>
              <a:gd name="connsiteX4" fmla="*/ 115726 w 1700553"/>
              <a:gd name="connsiteY4" fmla="*/ 305211 h 305211"/>
              <a:gd name="connsiteX0" fmla="*/ 115726 w 1700553"/>
              <a:gd name="connsiteY0" fmla="*/ 321895 h 321895"/>
              <a:gd name="connsiteX1" fmla="*/ 1700553 w 1700553"/>
              <a:gd name="connsiteY1" fmla="*/ 170615 h 321895"/>
              <a:gd name="connsiteX2" fmla="*/ 1471607 w 1700553"/>
              <a:gd name="connsiteY2" fmla="*/ 0 h 321895"/>
              <a:gd name="connsiteX3" fmla="*/ 0 w 1700553"/>
              <a:gd name="connsiteY3" fmla="*/ 134101 h 321895"/>
              <a:gd name="connsiteX4" fmla="*/ 115726 w 1700553"/>
              <a:gd name="connsiteY4" fmla="*/ 321895 h 321895"/>
              <a:gd name="connsiteX0" fmla="*/ 115726 w 1581352"/>
              <a:gd name="connsiteY0" fmla="*/ 321895 h 321895"/>
              <a:gd name="connsiteX1" fmla="*/ 1581352 w 1581352"/>
              <a:gd name="connsiteY1" fmla="*/ 210307 h 321895"/>
              <a:gd name="connsiteX2" fmla="*/ 1471607 w 1581352"/>
              <a:gd name="connsiteY2" fmla="*/ 0 h 321895"/>
              <a:gd name="connsiteX3" fmla="*/ 0 w 1581352"/>
              <a:gd name="connsiteY3" fmla="*/ 134101 h 321895"/>
              <a:gd name="connsiteX4" fmla="*/ 115726 w 1581352"/>
              <a:gd name="connsiteY4" fmla="*/ 321895 h 321895"/>
              <a:gd name="connsiteX0" fmla="*/ 92298 w 1557924"/>
              <a:gd name="connsiteY0" fmla="*/ 321895 h 321895"/>
              <a:gd name="connsiteX1" fmla="*/ 1557924 w 1557924"/>
              <a:gd name="connsiteY1" fmla="*/ 210307 h 321895"/>
              <a:gd name="connsiteX2" fmla="*/ 1448179 w 1557924"/>
              <a:gd name="connsiteY2" fmla="*/ 0 h 321895"/>
              <a:gd name="connsiteX3" fmla="*/ 0 w 1557924"/>
              <a:gd name="connsiteY3" fmla="*/ 116473 h 321895"/>
              <a:gd name="connsiteX4" fmla="*/ 92298 w 1557924"/>
              <a:gd name="connsiteY4" fmla="*/ 321895 h 321895"/>
              <a:gd name="connsiteX0" fmla="*/ 152961 w 1557924"/>
              <a:gd name="connsiteY0" fmla="*/ 341247 h 341247"/>
              <a:gd name="connsiteX1" fmla="*/ 1557924 w 1557924"/>
              <a:gd name="connsiteY1" fmla="*/ 210307 h 341247"/>
              <a:gd name="connsiteX2" fmla="*/ 1448179 w 1557924"/>
              <a:gd name="connsiteY2" fmla="*/ 0 h 341247"/>
              <a:gd name="connsiteX3" fmla="*/ 0 w 1557924"/>
              <a:gd name="connsiteY3" fmla="*/ 116473 h 341247"/>
              <a:gd name="connsiteX4" fmla="*/ 152961 w 1557924"/>
              <a:gd name="connsiteY4" fmla="*/ 341247 h 341247"/>
              <a:gd name="connsiteX0" fmla="*/ 135357 w 1557924"/>
              <a:gd name="connsiteY0" fmla="*/ 339493 h 339493"/>
              <a:gd name="connsiteX1" fmla="*/ 1557924 w 1557924"/>
              <a:gd name="connsiteY1" fmla="*/ 210307 h 339493"/>
              <a:gd name="connsiteX2" fmla="*/ 1448179 w 1557924"/>
              <a:gd name="connsiteY2" fmla="*/ 0 h 339493"/>
              <a:gd name="connsiteX3" fmla="*/ 0 w 1557924"/>
              <a:gd name="connsiteY3" fmla="*/ 116473 h 339493"/>
              <a:gd name="connsiteX4" fmla="*/ 135357 w 1557924"/>
              <a:gd name="connsiteY4" fmla="*/ 339493 h 339493"/>
              <a:gd name="connsiteX0" fmla="*/ 109934 w 1532501"/>
              <a:gd name="connsiteY0" fmla="*/ 339493 h 339493"/>
              <a:gd name="connsiteX1" fmla="*/ 1532501 w 1532501"/>
              <a:gd name="connsiteY1" fmla="*/ 210307 h 339493"/>
              <a:gd name="connsiteX2" fmla="*/ 1422756 w 1532501"/>
              <a:gd name="connsiteY2" fmla="*/ 0 h 339493"/>
              <a:gd name="connsiteX3" fmla="*/ 0 w 1532501"/>
              <a:gd name="connsiteY3" fmla="*/ 117343 h 339493"/>
              <a:gd name="connsiteX4" fmla="*/ 109934 w 1532501"/>
              <a:gd name="connsiteY4" fmla="*/ 339493 h 339493"/>
              <a:gd name="connsiteX0" fmla="*/ 133525 w 1556092"/>
              <a:gd name="connsiteY0" fmla="*/ 339493 h 339493"/>
              <a:gd name="connsiteX1" fmla="*/ 1556092 w 1556092"/>
              <a:gd name="connsiteY1" fmla="*/ 210307 h 339493"/>
              <a:gd name="connsiteX2" fmla="*/ 1446347 w 1556092"/>
              <a:gd name="connsiteY2" fmla="*/ 0 h 339493"/>
              <a:gd name="connsiteX3" fmla="*/ 0 w 1556092"/>
              <a:gd name="connsiteY3" fmla="*/ 60098 h 339493"/>
              <a:gd name="connsiteX4" fmla="*/ 133525 w 1556092"/>
              <a:gd name="connsiteY4" fmla="*/ 339493 h 339493"/>
              <a:gd name="connsiteX0" fmla="*/ 133525 w 2343667"/>
              <a:gd name="connsiteY0" fmla="*/ 459688 h 459688"/>
              <a:gd name="connsiteX1" fmla="*/ 1556092 w 2343667"/>
              <a:gd name="connsiteY1" fmla="*/ 330502 h 459688"/>
              <a:gd name="connsiteX2" fmla="*/ 2343667 w 2343667"/>
              <a:gd name="connsiteY2" fmla="*/ 0 h 459688"/>
              <a:gd name="connsiteX3" fmla="*/ 0 w 2343667"/>
              <a:gd name="connsiteY3" fmla="*/ 180293 h 459688"/>
              <a:gd name="connsiteX4" fmla="*/ 133525 w 2343667"/>
              <a:gd name="connsiteY4" fmla="*/ 459688 h 459688"/>
              <a:gd name="connsiteX0" fmla="*/ 133525 w 2391079"/>
              <a:gd name="connsiteY0" fmla="*/ 459688 h 459688"/>
              <a:gd name="connsiteX1" fmla="*/ 2391079 w 2391079"/>
              <a:gd name="connsiteY1" fmla="*/ 322204 h 459688"/>
              <a:gd name="connsiteX2" fmla="*/ 2343667 w 2391079"/>
              <a:gd name="connsiteY2" fmla="*/ 0 h 459688"/>
              <a:gd name="connsiteX3" fmla="*/ 0 w 2391079"/>
              <a:gd name="connsiteY3" fmla="*/ 180293 h 459688"/>
              <a:gd name="connsiteX4" fmla="*/ 133525 w 2391079"/>
              <a:gd name="connsiteY4" fmla="*/ 459688 h 459688"/>
              <a:gd name="connsiteX0" fmla="*/ 159047 w 2391079"/>
              <a:gd name="connsiteY0" fmla="*/ 505482 h 505482"/>
              <a:gd name="connsiteX1" fmla="*/ 2391079 w 2391079"/>
              <a:gd name="connsiteY1" fmla="*/ 322204 h 505482"/>
              <a:gd name="connsiteX2" fmla="*/ 2343667 w 2391079"/>
              <a:gd name="connsiteY2" fmla="*/ 0 h 505482"/>
              <a:gd name="connsiteX3" fmla="*/ 0 w 2391079"/>
              <a:gd name="connsiteY3" fmla="*/ 180293 h 505482"/>
              <a:gd name="connsiteX4" fmla="*/ 159047 w 2391079"/>
              <a:gd name="connsiteY4" fmla="*/ 505482 h 505482"/>
              <a:gd name="connsiteX0" fmla="*/ 159047 w 2391079"/>
              <a:gd name="connsiteY0" fmla="*/ 518659 h 518659"/>
              <a:gd name="connsiteX1" fmla="*/ 2391079 w 2391079"/>
              <a:gd name="connsiteY1" fmla="*/ 335381 h 518659"/>
              <a:gd name="connsiteX2" fmla="*/ 2261507 w 2391079"/>
              <a:gd name="connsiteY2" fmla="*/ 0 h 518659"/>
              <a:gd name="connsiteX3" fmla="*/ 0 w 2391079"/>
              <a:gd name="connsiteY3" fmla="*/ 193470 h 518659"/>
              <a:gd name="connsiteX4" fmla="*/ 159047 w 2391079"/>
              <a:gd name="connsiteY4" fmla="*/ 518659 h 518659"/>
              <a:gd name="connsiteX0" fmla="*/ 159047 w 2513813"/>
              <a:gd name="connsiteY0" fmla="*/ 498511 h 498511"/>
              <a:gd name="connsiteX1" fmla="*/ 2391079 w 2513813"/>
              <a:gd name="connsiteY1" fmla="*/ 315233 h 498511"/>
              <a:gd name="connsiteX2" fmla="*/ 2513813 w 2513813"/>
              <a:gd name="connsiteY2" fmla="*/ 0 h 498511"/>
              <a:gd name="connsiteX3" fmla="*/ 0 w 2513813"/>
              <a:gd name="connsiteY3" fmla="*/ 173322 h 498511"/>
              <a:gd name="connsiteX4" fmla="*/ 159047 w 2513813"/>
              <a:gd name="connsiteY4" fmla="*/ 498511 h 498511"/>
              <a:gd name="connsiteX0" fmla="*/ 159047 w 2547383"/>
              <a:gd name="connsiteY0" fmla="*/ 498511 h 498511"/>
              <a:gd name="connsiteX1" fmla="*/ 2547383 w 2547383"/>
              <a:gd name="connsiteY1" fmla="*/ 252623 h 498511"/>
              <a:gd name="connsiteX2" fmla="*/ 2513813 w 2547383"/>
              <a:gd name="connsiteY2" fmla="*/ 0 h 498511"/>
              <a:gd name="connsiteX3" fmla="*/ 0 w 2547383"/>
              <a:gd name="connsiteY3" fmla="*/ 173322 h 498511"/>
              <a:gd name="connsiteX4" fmla="*/ 159047 w 2547383"/>
              <a:gd name="connsiteY4" fmla="*/ 498511 h 498511"/>
              <a:gd name="connsiteX0" fmla="*/ 164772 w 2553108"/>
              <a:gd name="connsiteY0" fmla="*/ 498511 h 498511"/>
              <a:gd name="connsiteX1" fmla="*/ 2553108 w 2553108"/>
              <a:gd name="connsiteY1" fmla="*/ 252623 h 498511"/>
              <a:gd name="connsiteX2" fmla="*/ 2519538 w 2553108"/>
              <a:gd name="connsiteY2" fmla="*/ 0 h 498511"/>
              <a:gd name="connsiteX3" fmla="*/ 0 w 2553108"/>
              <a:gd name="connsiteY3" fmla="*/ 237627 h 498511"/>
              <a:gd name="connsiteX4" fmla="*/ 164772 w 2553108"/>
              <a:gd name="connsiteY4" fmla="*/ 498511 h 498511"/>
              <a:gd name="connsiteX0" fmla="*/ 102113 w 2553108"/>
              <a:gd name="connsiteY0" fmla="*/ 460662 h 460662"/>
              <a:gd name="connsiteX1" fmla="*/ 2553108 w 2553108"/>
              <a:gd name="connsiteY1" fmla="*/ 252623 h 460662"/>
              <a:gd name="connsiteX2" fmla="*/ 2519538 w 2553108"/>
              <a:gd name="connsiteY2" fmla="*/ 0 h 460662"/>
              <a:gd name="connsiteX3" fmla="*/ 0 w 2553108"/>
              <a:gd name="connsiteY3" fmla="*/ 237627 h 460662"/>
              <a:gd name="connsiteX4" fmla="*/ 102113 w 2553108"/>
              <a:gd name="connsiteY4" fmla="*/ 460662 h 460662"/>
              <a:gd name="connsiteX0" fmla="*/ 102113 w 2553108"/>
              <a:gd name="connsiteY0" fmla="*/ 424537 h 424537"/>
              <a:gd name="connsiteX1" fmla="*/ 2553108 w 2553108"/>
              <a:gd name="connsiteY1" fmla="*/ 216498 h 424537"/>
              <a:gd name="connsiteX2" fmla="*/ 2498106 w 2553108"/>
              <a:gd name="connsiteY2" fmla="*/ 0 h 424537"/>
              <a:gd name="connsiteX3" fmla="*/ 0 w 2553108"/>
              <a:gd name="connsiteY3" fmla="*/ 201502 h 424537"/>
              <a:gd name="connsiteX4" fmla="*/ 102113 w 2553108"/>
              <a:gd name="connsiteY4" fmla="*/ 424537 h 424537"/>
              <a:gd name="connsiteX0" fmla="*/ 90333 w 2553108"/>
              <a:gd name="connsiteY0" fmla="*/ 403402 h 403402"/>
              <a:gd name="connsiteX1" fmla="*/ 2553108 w 2553108"/>
              <a:gd name="connsiteY1" fmla="*/ 216498 h 403402"/>
              <a:gd name="connsiteX2" fmla="*/ 2498106 w 2553108"/>
              <a:gd name="connsiteY2" fmla="*/ 0 h 403402"/>
              <a:gd name="connsiteX3" fmla="*/ 0 w 2553108"/>
              <a:gd name="connsiteY3" fmla="*/ 201502 h 403402"/>
              <a:gd name="connsiteX4" fmla="*/ 90333 w 2553108"/>
              <a:gd name="connsiteY4" fmla="*/ 403402 h 403402"/>
              <a:gd name="connsiteX0" fmla="*/ 60951 w 2523726"/>
              <a:gd name="connsiteY0" fmla="*/ 403402 h 403402"/>
              <a:gd name="connsiteX1" fmla="*/ 2523726 w 2523726"/>
              <a:gd name="connsiteY1" fmla="*/ 216498 h 403402"/>
              <a:gd name="connsiteX2" fmla="*/ 2468724 w 2523726"/>
              <a:gd name="connsiteY2" fmla="*/ 0 h 403402"/>
              <a:gd name="connsiteX3" fmla="*/ 0 w 2523726"/>
              <a:gd name="connsiteY3" fmla="*/ 224392 h 403402"/>
              <a:gd name="connsiteX4" fmla="*/ 60951 w 2523726"/>
              <a:gd name="connsiteY4" fmla="*/ 403402 h 40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3726" h="403402">
                <a:moveTo>
                  <a:pt x="60951" y="403402"/>
                </a:moveTo>
                <a:lnTo>
                  <a:pt x="2523726" y="216498"/>
                </a:lnTo>
                <a:lnTo>
                  <a:pt x="2468724" y="0"/>
                </a:lnTo>
                <a:lnTo>
                  <a:pt x="0" y="224392"/>
                </a:lnTo>
                <a:lnTo>
                  <a:pt x="60951" y="403402"/>
                </a:lnTo>
                <a:close/>
              </a:path>
            </a:pathLst>
          </a:custGeom>
          <a:solidFill>
            <a:schemeClr val="bg1"/>
          </a:solidFill>
          <a:ln>
            <a:noFill/>
          </a:ln>
          <a:effectLst>
            <a:outerShdw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solidFill>
                <a:schemeClr val="accent4"/>
              </a:solidFill>
            </a:endParaRPr>
          </a:p>
        </p:txBody>
      </p:sp>
      <p:sp>
        <p:nvSpPr>
          <p:cNvPr id="12" name="TextBox 9">
            <a:extLst>
              <a:ext uri="{FF2B5EF4-FFF2-40B4-BE49-F238E27FC236}">
                <a16:creationId xmlns:a16="http://schemas.microsoft.com/office/drawing/2014/main" id="{C3944AA2-7FD8-4EED-A32C-A9F6411C21EC}"/>
              </a:ext>
            </a:extLst>
          </p:cNvPr>
          <p:cNvSpPr txBox="1">
            <a:spLocks noChangeArrowheads="1"/>
          </p:cNvSpPr>
          <p:nvPr/>
        </p:nvSpPr>
        <p:spPr bwMode="auto">
          <a:xfrm>
            <a:off x="224576" y="678307"/>
            <a:ext cx="2485989" cy="369332"/>
          </a:xfrm>
          <a:prstGeom prst="rect">
            <a:avLst/>
          </a:prstGeom>
          <a:noFill/>
          <a:ln w="9525">
            <a:noFill/>
            <a:miter lim="800000"/>
            <a:headEnd/>
            <a:tailEnd/>
          </a:ln>
          <a:effectLst/>
        </p:spPr>
        <p:txBody>
          <a:bodyPr wrap="square" lIns="0">
            <a:spAutoFit/>
          </a:bodyPr>
          <a:lstStyle/>
          <a:p>
            <a:pPr marL="3174">
              <a:lnSpc>
                <a:spcPct val="90000"/>
              </a:lnSpc>
              <a:spcBef>
                <a:spcPts val="1200"/>
              </a:spcBef>
              <a:buClr>
                <a:srgbClr val="5C5C5C"/>
              </a:buClr>
              <a:buSzPct val="80000"/>
            </a:pPr>
            <a:r>
              <a:rPr lang="nl-BE" sz="2000" b="1" dirty="0">
                <a:solidFill>
                  <a:srgbClr val="FFC000"/>
                </a:solidFill>
                <a:latin typeface="Amaranth" panose="02000503000000020004" pitchFamily="50" charset="0"/>
                <a:cs typeface="Arial" panose="020B0604020202020204" pitchFamily="34" charset="0"/>
              </a:rPr>
              <a:t>Software</a:t>
            </a:r>
          </a:p>
        </p:txBody>
      </p:sp>
      <p:pic>
        <p:nvPicPr>
          <p:cNvPr id="17" name="Afbeelding 16">
            <a:extLst>
              <a:ext uri="{FF2B5EF4-FFF2-40B4-BE49-F238E27FC236}">
                <a16:creationId xmlns:a16="http://schemas.microsoft.com/office/drawing/2014/main" id="{CC74526C-91E5-4356-9F09-02B38EF18E16}"/>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1241707" y="6052930"/>
            <a:ext cx="661508" cy="556592"/>
          </a:xfrm>
          <a:prstGeom prst="rect">
            <a:avLst/>
          </a:prstGeom>
        </p:spPr>
      </p:pic>
      <p:sp>
        <p:nvSpPr>
          <p:cNvPr id="3" name="Rechthoek 2">
            <a:extLst>
              <a:ext uri="{FF2B5EF4-FFF2-40B4-BE49-F238E27FC236}">
                <a16:creationId xmlns:a16="http://schemas.microsoft.com/office/drawing/2014/main" id="{8CCCA7C5-4D8B-42E0-B5E2-026207558DA9}"/>
              </a:ext>
            </a:extLst>
          </p:cNvPr>
          <p:cNvSpPr/>
          <p:nvPr/>
        </p:nvSpPr>
        <p:spPr>
          <a:xfrm>
            <a:off x="6983138" y="2498413"/>
            <a:ext cx="3850798" cy="461665"/>
          </a:xfrm>
          <a:prstGeom prst="rect">
            <a:avLst/>
          </a:prstGeom>
        </p:spPr>
        <p:txBody>
          <a:bodyPr wrap="none">
            <a:spAutoFit/>
          </a:bodyPr>
          <a:lstStyle/>
          <a:p>
            <a:r>
              <a:rPr lang="nl-NL" sz="2400" b="1" dirty="0">
                <a:solidFill>
                  <a:schemeClr val="bg1"/>
                </a:solidFill>
              </a:rPr>
              <a:t>Zoemspel: letters en klanken</a:t>
            </a:r>
            <a:endParaRPr lang="nl-NL" sz="2400" dirty="0">
              <a:solidFill>
                <a:schemeClr val="bg1"/>
              </a:solidFill>
            </a:endParaRPr>
          </a:p>
        </p:txBody>
      </p:sp>
      <p:sp>
        <p:nvSpPr>
          <p:cNvPr id="4" name="Rechthoek 3">
            <a:extLst>
              <a:ext uri="{FF2B5EF4-FFF2-40B4-BE49-F238E27FC236}">
                <a16:creationId xmlns:a16="http://schemas.microsoft.com/office/drawing/2014/main" id="{05E846C1-5940-4420-9140-3BD06367E482}"/>
              </a:ext>
            </a:extLst>
          </p:cNvPr>
          <p:cNvSpPr/>
          <p:nvPr/>
        </p:nvSpPr>
        <p:spPr>
          <a:xfrm>
            <a:off x="7158468" y="3345924"/>
            <a:ext cx="4744747" cy="1477328"/>
          </a:xfrm>
          <a:prstGeom prst="rect">
            <a:avLst/>
          </a:prstGeom>
        </p:spPr>
        <p:txBody>
          <a:bodyPr wrap="square">
            <a:spAutoFit/>
          </a:bodyPr>
          <a:lstStyle/>
          <a:p>
            <a:r>
              <a:rPr lang="nl-NL" dirty="0">
                <a:solidFill>
                  <a:schemeClr val="bg1"/>
                </a:solidFill>
              </a:rPr>
              <a:t>Spelen met:</a:t>
            </a:r>
          </a:p>
          <a:p>
            <a:pPr marL="457200" indent="-457200">
              <a:buFont typeface="Arial" panose="020B0604020202020204" pitchFamily="34" charset="0"/>
              <a:buChar char="•"/>
            </a:pPr>
            <a:r>
              <a:rPr lang="nl-NL" dirty="0">
                <a:solidFill>
                  <a:schemeClr val="bg1"/>
                </a:solidFill>
              </a:rPr>
              <a:t>Klanken</a:t>
            </a:r>
          </a:p>
          <a:p>
            <a:pPr marL="457200" indent="-457200">
              <a:buFont typeface="Arial" panose="020B0604020202020204" pitchFamily="34" charset="0"/>
              <a:buChar char="•"/>
            </a:pPr>
            <a:r>
              <a:rPr lang="nl-NL" dirty="0">
                <a:solidFill>
                  <a:schemeClr val="bg1"/>
                </a:solidFill>
              </a:rPr>
              <a:t>Letters</a:t>
            </a:r>
          </a:p>
          <a:p>
            <a:pPr marL="457200" indent="-457200">
              <a:buFont typeface="Arial" panose="020B0604020202020204" pitchFamily="34" charset="0"/>
              <a:buChar char="•"/>
            </a:pPr>
            <a:r>
              <a:rPr lang="nl-NL" dirty="0">
                <a:solidFill>
                  <a:schemeClr val="bg1"/>
                </a:solidFill>
              </a:rPr>
              <a:t>Woorden</a:t>
            </a:r>
          </a:p>
          <a:p>
            <a:pPr marL="457200" indent="-457200">
              <a:buFont typeface="Arial" panose="020B0604020202020204" pitchFamily="34" charset="0"/>
              <a:buChar char="•"/>
            </a:pPr>
            <a:r>
              <a:rPr lang="nl-NL" dirty="0">
                <a:solidFill>
                  <a:schemeClr val="bg1"/>
                </a:solidFill>
              </a:rPr>
              <a:t>Alle vriendjes in het letterhotel</a:t>
            </a:r>
          </a:p>
        </p:txBody>
      </p:sp>
      <p:pic>
        <p:nvPicPr>
          <p:cNvPr id="14" name="Afbeelding 13">
            <a:extLst>
              <a:ext uri="{FF2B5EF4-FFF2-40B4-BE49-F238E27FC236}">
                <a16:creationId xmlns:a16="http://schemas.microsoft.com/office/drawing/2014/main" id="{30C2B4CC-2522-434E-AFBC-B2C5CB245BBE}"/>
              </a:ext>
            </a:extLst>
          </p:cNvPr>
          <p:cNvPicPr>
            <a:picLocks noChangeAspect="1"/>
          </p:cNvPicPr>
          <p:nvPr/>
        </p:nvPicPr>
        <p:blipFill>
          <a:blip r:embed="rId8"/>
          <a:stretch>
            <a:fillRect/>
          </a:stretch>
        </p:blipFill>
        <p:spPr>
          <a:xfrm>
            <a:off x="398623" y="1262300"/>
            <a:ext cx="3780561" cy="2553610"/>
          </a:xfrm>
          <a:prstGeom prst="rect">
            <a:avLst/>
          </a:prstGeom>
        </p:spPr>
      </p:pic>
      <p:pic>
        <p:nvPicPr>
          <p:cNvPr id="16" name="Afbeelding 15">
            <a:extLst>
              <a:ext uri="{FF2B5EF4-FFF2-40B4-BE49-F238E27FC236}">
                <a16:creationId xmlns:a16="http://schemas.microsoft.com/office/drawing/2014/main" id="{5A919452-BBF0-4AA2-ADE0-01B6427A3E05}"/>
              </a:ext>
            </a:extLst>
          </p:cNvPr>
          <p:cNvPicPr>
            <a:picLocks noChangeAspect="1"/>
          </p:cNvPicPr>
          <p:nvPr/>
        </p:nvPicPr>
        <p:blipFill>
          <a:blip r:embed="rId9"/>
          <a:stretch>
            <a:fillRect/>
          </a:stretch>
        </p:blipFill>
        <p:spPr>
          <a:xfrm>
            <a:off x="396647" y="4007028"/>
            <a:ext cx="3782537" cy="2641956"/>
          </a:xfrm>
          <a:prstGeom prst="rect">
            <a:avLst/>
          </a:prstGeom>
        </p:spPr>
      </p:pic>
      <p:pic>
        <p:nvPicPr>
          <p:cNvPr id="18" name="Afbeelding 17">
            <a:extLst>
              <a:ext uri="{FF2B5EF4-FFF2-40B4-BE49-F238E27FC236}">
                <a16:creationId xmlns:a16="http://schemas.microsoft.com/office/drawing/2014/main" id="{760DC61D-0F04-46D3-878D-5CE0BA84189A}"/>
              </a:ext>
            </a:extLst>
          </p:cNvPr>
          <p:cNvPicPr>
            <a:picLocks noChangeAspect="1"/>
          </p:cNvPicPr>
          <p:nvPr/>
        </p:nvPicPr>
        <p:blipFill>
          <a:blip r:embed="rId10"/>
          <a:stretch>
            <a:fillRect/>
          </a:stretch>
        </p:blipFill>
        <p:spPr>
          <a:xfrm>
            <a:off x="4335382" y="3345924"/>
            <a:ext cx="2198768" cy="3303060"/>
          </a:xfrm>
          <a:prstGeom prst="rect">
            <a:avLst/>
          </a:prstGeom>
        </p:spPr>
      </p:pic>
    </p:spTree>
    <p:extLst>
      <p:ext uri="{BB962C8B-B14F-4D97-AF65-F5344CB8AC3E}">
        <p14:creationId xmlns:p14="http://schemas.microsoft.com/office/powerpoint/2010/main" val="412691862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hoek 12">
            <a:extLst>
              <a:ext uri="{FF2B5EF4-FFF2-40B4-BE49-F238E27FC236}">
                <a16:creationId xmlns:a16="http://schemas.microsoft.com/office/drawing/2014/main" id="{CECEAB52-2BFE-4DB7-83D8-2B3EABF14D7F}"/>
              </a:ext>
            </a:extLst>
          </p:cNvPr>
          <p:cNvSpPr/>
          <p:nvPr/>
        </p:nvSpPr>
        <p:spPr>
          <a:xfrm>
            <a:off x="36308" y="1721610"/>
            <a:ext cx="12192000" cy="4453958"/>
          </a:xfrm>
          <a:prstGeom prst="rect">
            <a:avLst/>
          </a:prstGeom>
          <a:solidFill>
            <a:srgbClr val="FFC00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04" name="think-cell Slide" r:id="rId5" imgW="353" imgH="353" progId="TCLayout.ActiveDocument.1">
                  <p:embed/>
                </p:oleObj>
              </mc:Choice>
              <mc:Fallback>
                <p:oleObj name="think-cell Slide" r:id="rId5" imgW="353" imgH="353"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extBox 14"/>
          <p:cNvSpPr txBox="1"/>
          <p:nvPr/>
        </p:nvSpPr>
        <p:spPr>
          <a:xfrm>
            <a:off x="5819286" y="601863"/>
            <a:ext cx="6178503" cy="646331"/>
          </a:xfrm>
          <a:prstGeom prst="rect">
            <a:avLst/>
          </a:prstGeom>
          <a:noFill/>
        </p:spPr>
        <p:txBody>
          <a:bodyPr wrap="square" rtlCol="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tab pos="1971675" algn="l"/>
              </a:tabLst>
              <a:defRPr/>
            </a:pPr>
            <a:r>
              <a:rPr kumimoji="0" lang="nl-BE" sz="4000" b="0" i="0" u="none" strike="noStrike" kern="1200" cap="none" spc="0" normalizeH="0" baseline="0" noProof="0" dirty="0">
                <a:ln>
                  <a:noFill/>
                </a:ln>
                <a:solidFill>
                  <a:srgbClr val="FFC000"/>
                </a:solidFill>
                <a:effectLst/>
                <a:uLnTx/>
                <a:uFillTx/>
                <a:latin typeface="Amaranth" panose="02000503000000020004" pitchFamily="50" charset="0"/>
                <a:ea typeface="+mn-ea"/>
                <a:cs typeface="Arial" panose="020B0604020202020204" pitchFamily="34" charset="0"/>
              </a:rPr>
              <a:t>Leerlingsoftware: volgen</a:t>
            </a:r>
          </a:p>
        </p:txBody>
      </p:sp>
      <p:sp>
        <p:nvSpPr>
          <p:cNvPr id="20" name="TextBox 9">
            <a:extLst>
              <a:ext uri="{FF2B5EF4-FFF2-40B4-BE49-F238E27FC236}">
                <a16:creationId xmlns:a16="http://schemas.microsoft.com/office/drawing/2014/main" id="{C7AA8425-6DE2-48BD-9D9B-550BF08EB454}"/>
              </a:ext>
            </a:extLst>
          </p:cNvPr>
          <p:cNvSpPr txBox="1">
            <a:spLocks noChangeArrowheads="1"/>
          </p:cNvSpPr>
          <p:nvPr/>
        </p:nvSpPr>
        <p:spPr bwMode="auto">
          <a:xfrm>
            <a:off x="414395" y="682432"/>
            <a:ext cx="1429916" cy="369332"/>
          </a:xfrm>
          <a:prstGeom prst="rect">
            <a:avLst/>
          </a:prstGeom>
          <a:noFill/>
          <a:ln w="9525">
            <a:noFill/>
            <a:miter lim="800000"/>
            <a:headEnd/>
            <a:tailEnd/>
          </a:ln>
        </p:spPr>
        <p:txBody>
          <a:bodyPr wrap="square" lIns="0">
            <a:spAutoFit/>
          </a:bodyPr>
          <a:lstStyle/>
          <a:p>
            <a:pPr marL="3174" marR="0" lvl="0" indent="0" algn="l" defTabSz="914400" rtl="0" eaLnBrk="1" fontAlgn="auto" latinLnBrk="0" hangingPunct="1">
              <a:lnSpc>
                <a:spcPct val="90000"/>
              </a:lnSpc>
              <a:spcBef>
                <a:spcPts val="1200"/>
              </a:spcBef>
              <a:spcAft>
                <a:spcPts val="0"/>
              </a:spcAft>
              <a:buClr>
                <a:srgbClr val="5C5C5C"/>
              </a:buClr>
              <a:buSzPct val="80000"/>
              <a:buFontTx/>
              <a:buNone/>
              <a:tabLst/>
              <a:defRPr/>
            </a:pPr>
            <a:r>
              <a:rPr kumimoji="0" lang="nl-BE" sz="2000" b="1" i="0" u="none" strike="noStrike" kern="1200" cap="none" spc="0" normalizeH="0" baseline="0" noProof="0" dirty="0">
                <a:ln>
                  <a:noFill/>
                </a:ln>
                <a:solidFill>
                  <a:prstClr val="white"/>
                </a:solidFill>
                <a:effectLst/>
                <a:uLnTx/>
                <a:uFillTx/>
                <a:latin typeface="Amaranth" panose="02000503000000020004" pitchFamily="50" charset="0"/>
                <a:ea typeface="+mn-ea"/>
                <a:cs typeface="Arial" panose="020B0604020202020204" pitchFamily="34" charset="0"/>
              </a:rPr>
              <a:t>Software</a:t>
            </a:r>
          </a:p>
        </p:txBody>
      </p:sp>
      <p:sp>
        <p:nvSpPr>
          <p:cNvPr id="10" name="Freeform 41">
            <a:extLst>
              <a:ext uri="{FF2B5EF4-FFF2-40B4-BE49-F238E27FC236}">
                <a16:creationId xmlns:a16="http://schemas.microsoft.com/office/drawing/2014/main" id="{19C4BFF1-338F-4238-B984-12D30DA19C04}"/>
              </a:ext>
            </a:extLst>
          </p:cNvPr>
          <p:cNvSpPr/>
          <p:nvPr/>
        </p:nvSpPr>
        <p:spPr>
          <a:xfrm rot="845560">
            <a:off x="-31283" y="-2535"/>
            <a:ext cx="2164079" cy="1020274"/>
          </a:xfrm>
          <a:custGeom>
            <a:avLst/>
            <a:gdLst>
              <a:gd name="connsiteX0" fmla="*/ 45720 w 1267097"/>
              <a:gd name="connsiteY0" fmla="*/ 378823 h 378823"/>
              <a:gd name="connsiteX1" fmla="*/ 1267097 w 1267097"/>
              <a:gd name="connsiteY1" fmla="*/ 182880 h 378823"/>
              <a:gd name="connsiteX2" fmla="*/ 1267097 w 1267097"/>
              <a:gd name="connsiteY2" fmla="*/ 0 h 378823"/>
              <a:gd name="connsiteX3" fmla="*/ 0 w 1267097"/>
              <a:gd name="connsiteY3" fmla="*/ 189412 h 378823"/>
              <a:gd name="connsiteX4" fmla="*/ 45720 w 1267097"/>
              <a:gd name="connsiteY4" fmla="*/ 378823 h 378823"/>
              <a:gd name="connsiteX0" fmla="*/ 71845 w 1293222"/>
              <a:gd name="connsiteY0" fmla="*/ 378823 h 378823"/>
              <a:gd name="connsiteX1" fmla="*/ 1293222 w 1293222"/>
              <a:gd name="connsiteY1" fmla="*/ 182880 h 378823"/>
              <a:gd name="connsiteX2" fmla="*/ 1293222 w 1293222"/>
              <a:gd name="connsiteY2" fmla="*/ 0 h 378823"/>
              <a:gd name="connsiteX3" fmla="*/ 0 w 1293222"/>
              <a:gd name="connsiteY3" fmla="*/ 130629 h 378823"/>
              <a:gd name="connsiteX4" fmla="*/ 71845 w 1293222"/>
              <a:gd name="connsiteY4" fmla="*/ 378823 h 378823"/>
              <a:gd name="connsiteX0" fmla="*/ 65313 w 1293222"/>
              <a:gd name="connsiteY0" fmla="*/ 398417 h 398417"/>
              <a:gd name="connsiteX1" fmla="*/ 1293222 w 1293222"/>
              <a:gd name="connsiteY1" fmla="*/ 182880 h 398417"/>
              <a:gd name="connsiteX2" fmla="*/ 1293222 w 1293222"/>
              <a:gd name="connsiteY2" fmla="*/ 0 h 398417"/>
              <a:gd name="connsiteX3" fmla="*/ 0 w 1293222"/>
              <a:gd name="connsiteY3" fmla="*/ 130629 h 398417"/>
              <a:gd name="connsiteX4" fmla="*/ 65313 w 1293222"/>
              <a:gd name="connsiteY4" fmla="*/ 398417 h 398417"/>
              <a:gd name="connsiteX0" fmla="*/ 104663 w 1332572"/>
              <a:gd name="connsiteY0" fmla="*/ 488407 h 488407"/>
              <a:gd name="connsiteX1" fmla="*/ 1332572 w 1332572"/>
              <a:gd name="connsiteY1" fmla="*/ 272870 h 488407"/>
              <a:gd name="connsiteX2" fmla="*/ 1332572 w 1332572"/>
              <a:gd name="connsiteY2" fmla="*/ 89990 h 488407"/>
              <a:gd name="connsiteX3" fmla="*/ 0 w 1332572"/>
              <a:gd name="connsiteY3" fmla="*/ 0 h 488407"/>
              <a:gd name="connsiteX4" fmla="*/ 104663 w 1332572"/>
              <a:gd name="connsiteY4" fmla="*/ 488407 h 488407"/>
              <a:gd name="connsiteX0" fmla="*/ 58754 w 1286663"/>
              <a:gd name="connsiteY0" fmla="*/ 488407 h 488407"/>
              <a:gd name="connsiteX1" fmla="*/ 1286663 w 1286663"/>
              <a:gd name="connsiteY1" fmla="*/ 272870 h 488407"/>
              <a:gd name="connsiteX2" fmla="*/ 1286663 w 1286663"/>
              <a:gd name="connsiteY2" fmla="*/ 89990 h 488407"/>
              <a:gd name="connsiteX3" fmla="*/ 0 w 1286663"/>
              <a:gd name="connsiteY3" fmla="*/ 0 h 488407"/>
              <a:gd name="connsiteX4" fmla="*/ 58754 w 1286663"/>
              <a:gd name="connsiteY4" fmla="*/ 488407 h 488407"/>
              <a:gd name="connsiteX0" fmla="*/ 58754 w 1293221"/>
              <a:gd name="connsiteY0" fmla="*/ 574912 h 574912"/>
              <a:gd name="connsiteX1" fmla="*/ 1286663 w 1293221"/>
              <a:gd name="connsiteY1" fmla="*/ 359375 h 574912"/>
              <a:gd name="connsiteX2" fmla="*/ 1293221 w 1293221"/>
              <a:gd name="connsiteY2" fmla="*/ 0 h 574912"/>
              <a:gd name="connsiteX3" fmla="*/ 0 w 1293221"/>
              <a:gd name="connsiteY3" fmla="*/ 86505 h 574912"/>
              <a:gd name="connsiteX4" fmla="*/ 58754 w 1293221"/>
              <a:gd name="connsiteY4" fmla="*/ 574912 h 574912"/>
              <a:gd name="connsiteX0" fmla="*/ 58754 w 1470298"/>
              <a:gd name="connsiteY0" fmla="*/ 574912 h 574912"/>
              <a:gd name="connsiteX1" fmla="*/ 1470298 w 1470298"/>
              <a:gd name="connsiteY1" fmla="*/ 561083 h 574912"/>
              <a:gd name="connsiteX2" fmla="*/ 1293221 w 1470298"/>
              <a:gd name="connsiteY2" fmla="*/ 0 h 574912"/>
              <a:gd name="connsiteX3" fmla="*/ 0 w 1470298"/>
              <a:gd name="connsiteY3" fmla="*/ 86505 h 574912"/>
              <a:gd name="connsiteX4" fmla="*/ 58754 w 1470298"/>
              <a:gd name="connsiteY4" fmla="*/ 574912 h 574912"/>
              <a:gd name="connsiteX0" fmla="*/ 65313 w 1470298"/>
              <a:gd name="connsiteY0" fmla="*/ 795531 h 795531"/>
              <a:gd name="connsiteX1" fmla="*/ 1470298 w 1470298"/>
              <a:gd name="connsiteY1" fmla="*/ 561083 h 795531"/>
              <a:gd name="connsiteX2" fmla="*/ 1293221 w 1470298"/>
              <a:gd name="connsiteY2" fmla="*/ 0 h 795531"/>
              <a:gd name="connsiteX3" fmla="*/ 0 w 1470298"/>
              <a:gd name="connsiteY3" fmla="*/ 86505 h 795531"/>
              <a:gd name="connsiteX4" fmla="*/ 65313 w 1470298"/>
              <a:gd name="connsiteY4" fmla="*/ 795531 h 795531"/>
              <a:gd name="connsiteX0" fmla="*/ 65313 w 1844126"/>
              <a:gd name="connsiteY0" fmla="*/ 795531 h 795531"/>
              <a:gd name="connsiteX1" fmla="*/ 1844126 w 1844126"/>
              <a:gd name="connsiteY1" fmla="*/ 504352 h 795531"/>
              <a:gd name="connsiteX2" fmla="*/ 1293221 w 1844126"/>
              <a:gd name="connsiteY2" fmla="*/ 0 h 795531"/>
              <a:gd name="connsiteX3" fmla="*/ 0 w 1844126"/>
              <a:gd name="connsiteY3" fmla="*/ 86505 h 795531"/>
              <a:gd name="connsiteX4" fmla="*/ 65313 w 1844126"/>
              <a:gd name="connsiteY4" fmla="*/ 795531 h 795531"/>
              <a:gd name="connsiteX0" fmla="*/ 65313 w 1844126"/>
              <a:gd name="connsiteY0" fmla="*/ 845958 h 845958"/>
              <a:gd name="connsiteX1" fmla="*/ 1844126 w 1844126"/>
              <a:gd name="connsiteY1" fmla="*/ 554779 h 845958"/>
              <a:gd name="connsiteX2" fmla="*/ 1621141 w 1844126"/>
              <a:gd name="connsiteY2" fmla="*/ 0 h 845958"/>
              <a:gd name="connsiteX3" fmla="*/ 0 w 1844126"/>
              <a:gd name="connsiteY3" fmla="*/ 136932 h 845958"/>
              <a:gd name="connsiteX4" fmla="*/ 65313 w 1844126"/>
              <a:gd name="connsiteY4" fmla="*/ 845958 h 845958"/>
              <a:gd name="connsiteX0" fmla="*/ 65313 w 1844126"/>
              <a:gd name="connsiteY0" fmla="*/ 864868 h 864868"/>
              <a:gd name="connsiteX1" fmla="*/ 1844126 w 1844126"/>
              <a:gd name="connsiteY1" fmla="*/ 573689 h 864868"/>
              <a:gd name="connsiteX2" fmla="*/ 1621141 w 1844126"/>
              <a:gd name="connsiteY2" fmla="*/ 0 h 864868"/>
              <a:gd name="connsiteX3" fmla="*/ 0 w 1844126"/>
              <a:gd name="connsiteY3" fmla="*/ 155842 h 864868"/>
              <a:gd name="connsiteX4" fmla="*/ 65313 w 1844126"/>
              <a:gd name="connsiteY4" fmla="*/ 864868 h 864868"/>
              <a:gd name="connsiteX0" fmla="*/ 65313 w 1686724"/>
              <a:gd name="connsiteY0" fmla="*/ 864868 h 864868"/>
              <a:gd name="connsiteX1" fmla="*/ 1686724 w 1686724"/>
              <a:gd name="connsiteY1" fmla="*/ 561082 h 864868"/>
              <a:gd name="connsiteX2" fmla="*/ 1621141 w 1686724"/>
              <a:gd name="connsiteY2" fmla="*/ 0 h 864868"/>
              <a:gd name="connsiteX3" fmla="*/ 0 w 1686724"/>
              <a:gd name="connsiteY3" fmla="*/ 155842 h 864868"/>
              <a:gd name="connsiteX4" fmla="*/ 65313 w 1686724"/>
              <a:gd name="connsiteY4" fmla="*/ 864868 h 864868"/>
              <a:gd name="connsiteX0" fmla="*/ 39079 w 1660490"/>
              <a:gd name="connsiteY0" fmla="*/ 864868 h 864868"/>
              <a:gd name="connsiteX1" fmla="*/ 1660490 w 1660490"/>
              <a:gd name="connsiteY1" fmla="*/ 561082 h 864868"/>
              <a:gd name="connsiteX2" fmla="*/ 1594907 w 1660490"/>
              <a:gd name="connsiteY2" fmla="*/ 0 h 864868"/>
              <a:gd name="connsiteX3" fmla="*/ 0 w 1660490"/>
              <a:gd name="connsiteY3" fmla="*/ 351248 h 864868"/>
              <a:gd name="connsiteX4" fmla="*/ 39079 w 1660490"/>
              <a:gd name="connsiteY4" fmla="*/ 864868 h 864868"/>
              <a:gd name="connsiteX0" fmla="*/ 39079 w 1857243"/>
              <a:gd name="connsiteY0" fmla="*/ 719889 h 719889"/>
              <a:gd name="connsiteX1" fmla="*/ 1660490 w 1857243"/>
              <a:gd name="connsiteY1" fmla="*/ 416103 h 719889"/>
              <a:gd name="connsiteX2" fmla="*/ 1857243 w 1857243"/>
              <a:gd name="connsiteY2" fmla="*/ 0 h 719889"/>
              <a:gd name="connsiteX3" fmla="*/ 0 w 1857243"/>
              <a:gd name="connsiteY3" fmla="*/ 206269 h 719889"/>
              <a:gd name="connsiteX4" fmla="*/ 39079 w 1857243"/>
              <a:gd name="connsiteY4" fmla="*/ 719889 h 719889"/>
              <a:gd name="connsiteX0" fmla="*/ 39079 w 1909709"/>
              <a:gd name="connsiteY0" fmla="*/ 719889 h 719889"/>
              <a:gd name="connsiteX1" fmla="*/ 1909709 w 1909709"/>
              <a:gd name="connsiteY1" fmla="*/ 208090 h 719889"/>
              <a:gd name="connsiteX2" fmla="*/ 1857243 w 1909709"/>
              <a:gd name="connsiteY2" fmla="*/ 0 h 719889"/>
              <a:gd name="connsiteX3" fmla="*/ 0 w 1909709"/>
              <a:gd name="connsiteY3" fmla="*/ 206269 h 719889"/>
              <a:gd name="connsiteX4" fmla="*/ 39079 w 1909709"/>
              <a:gd name="connsiteY4" fmla="*/ 719889 h 719889"/>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206269 h 511876"/>
              <a:gd name="connsiteX4" fmla="*/ 39079 w 1909709"/>
              <a:gd name="connsiteY4" fmla="*/ 511876 h 511876"/>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121173 h 511876"/>
              <a:gd name="connsiteX4" fmla="*/ 39079 w 1909709"/>
              <a:gd name="connsiteY4" fmla="*/ 511876 h 511876"/>
              <a:gd name="connsiteX0" fmla="*/ 39079 w 1857243"/>
              <a:gd name="connsiteY0" fmla="*/ 511876 h 511876"/>
              <a:gd name="connsiteX1" fmla="*/ 1748372 w 1857243"/>
              <a:gd name="connsiteY1" fmla="*/ 309201 h 511876"/>
              <a:gd name="connsiteX2" fmla="*/ 1857243 w 1857243"/>
              <a:gd name="connsiteY2" fmla="*/ 0 h 511876"/>
              <a:gd name="connsiteX3" fmla="*/ 0 w 1857243"/>
              <a:gd name="connsiteY3" fmla="*/ 121173 h 511876"/>
              <a:gd name="connsiteX4" fmla="*/ 39079 w 1857243"/>
              <a:gd name="connsiteY4" fmla="*/ 511876 h 511876"/>
              <a:gd name="connsiteX0" fmla="*/ 39079 w 1748372"/>
              <a:gd name="connsiteY0" fmla="*/ 499237 h 499237"/>
              <a:gd name="connsiteX1" fmla="*/ 1748372 w 1748372"/>
              <a:gd name="connsiteY1" fmla="*/ 296562 h 499237"/>
              <a:gd name="connsiteX2" fmla="*/ 1723965 w 1748372"/>
              <a:gd name="connsiteY2" fmla="*/ 0 h 499237"/>
              <a:gd name="connsiteX3" fmla="*/ 0 w 1748372"/>
              <a:gd name="connsiteY3" fmla="*/ 108534 h 499237"/>
              <a:gd name="connsiteX4" fmla="*/ 39079 w 1748372"/>
              <a:gd name="connsiteY4" fmla="*/ 499237 h 499237"/>
              <a:gd name="connsiteX0" fmla="*/ 95196 w 1748372"/>
              <a:gd name="connsiteY0" fmla="*/ 451841 h 451841"/>
              <a:gd name="connsiteX1" fmla="*/ 1748372 w 1748372"/>
              <a:gd name="connsiteY1" fmla="*/ 296562 h 451841"/>
              <a:gd name="connsiteX2" fmla="*/ 1723965 w 1748372"/>
              <a:gd name="connsiteY2" fmla="*/ 0 h 451841"/>
              <a:gd name="connsiteX3" fmla="*/ 0 w 1748372"/>
              <a:gd name="connsiteY3" fmla="*/ 108534 h 451841"/>
              <a:gd name="connsiteX4" fmla="*/ 95196 w 1748372"/>
              <a:gd name="connsiteY4" fmla="*/ 451841 h 451841"/>
              <a:gd name="connsiteX0" fmla="*/ 95196 w 1723965"/>
              <a:gd name="connsiteY0" fmla="*/ 451841 h 451841"/>
              <a:gd name="connsiteX1" fmla="*/ 1713299 w 1723965"/>
              <a:gd name="connsiteY1" fmla="*/ 315520 h 451841"/>
              <a:gd name="connsiteX2" fmla="*/ 1723965 w 1723965"/>
              <a:gd name="connsiteY2" fmla="*/ 0 h 451841"/>
              <a:gd name="connsiteX3" fmla="*/ 0 w 1723965"/>
              <a:gd name="connsiteY3" fmla="*/ 108534 h 451841"/>
              <a:gd name="connsiteX4" fmla="*/ 95196 w 1723965"/>
              <a:gd name="connsiteY4" fmla="*/ 451841 h 451841"/>
              <a:gd name="connsiteX0" fmla="*/ 95196 w 1713299"/>
              <a:gd name="connsiteY0" fmla="*/ 455001 h 455001"/>
              <a:gd name="connsiteX1" fmla="*/ 1713299 w 1713299"/>
              <a:gd name="connsiteY1" fmla="*/ 318680 h 455001"/>
              <a:gd name="connsiteX2" fmla="*/ 1667848 w 1713299"/>
              <a:gd name="connsiteY2" fmla="*/ 0 h 455001"/>
              <a:gd name="connsiteX3" fmla="*/ 0 w 1713299"/>
              <a:gd name="connsiteY3" fmla="*/ 111694 h 455001"/>
              <a:gd name="connsiteX4" fmla="*/ 95196 w 1713299"/>
              <a:gd name="connsiteY4" fmla="*/ 455001 h 455001"/>
              <a:gd name="connsiteX0" fmla="*/ 67137 w 1685240"/>
              <a:gd name="connsiteY0" fmla="*/ 455001 h 455001"/>
              <a:gd name="connsiteX1" fmla="*/ 1685240 w 1685240"/>
              <a:gd name="connsiteY1" fmla="*/ 318680 h 455001"/>
              <a:gd name="connsiteX2" fmla="*/ 1639789 w 1685240"/>
              <a:gd name="connsiteY2" fmla="*/ 0 h 455001"/>
              <a:gd name="connsiteX3" fmla="*/ 0 w 1685240"/>
              <a:gd name="connsiteY3" fmla="*/ 130652 h 455001"/>
              <a:gd name="connsiteX4" fmla="*/ 67137 w 1685240"/>
              <a:gd name="connsiteY4" fmla="*/ 455001 h 455001"/>
              <a:gd name="connsiteX0" fmla="*/ 67137 w 1667473"/>
              <a:gd name="connsiteY0" fmla="*/ 455001 h 455001"/>
              <a:gd name="connsiteX1" fmla="*/ 1667473 w 1667473"/>
              <a:gd name="connsiteY1" fmla="*/ 242054 h 455001"/>
              <a:gd name="connsiteX2" fmla="*/ 1639789 w 1667473"/>
              <a:gd name="connsiteY2" fmla="*/ 0 h 455001"/>
              <a:gd name="connsiteX3" fmla="*/ 0 w 1667473"/>
              <a:gd name="connsiteY3" fmla="*/ 130652 h 455001"/>
              <a:gd name="connsiteX4" fmla="*/ 67137 w 1667473"/>
              <a:gd name="connsiteY4" fmla="*/ 455001 h 455001"/>
              <a:gd name="connsiteX0" fmla="*/ 100217 w 1700553"/>
              <a:gd name="connsiteY0" fmla="*/ 455001 h 455001"/>
              <a:gd name="connsiteX1" fmla="*/ 1700553 w 1700553"/>
              <a:gd name="connsiteY1" fmla="*/ 242054 h 455001"/>
              <a:gd name="connsiteX2" fmla="*/ 1672869 w 1700553"/>
              <a:gd name="connsiteY2" fmla="*/ 0 h 455001"/>
              <a:gd name="connsiteX3" fmla="*/ 0 w 1700553"/>
              <a:gd name="connsiteY3" fmla="*/ 205540 h 455001"/>
              <a:gd name="connsiteX4" fmla="*/ 100217 w 1700553"/>
              <a:gd name="connsiteY4" fmla="*/ 455001 h 455001"/>
              <a:gd name="connsiteX0" fmla="*/ 100217 w 1700553"/>
              <a:gd name="connsiteY0" fmla="*/ 366878 h 366878"/>
              <a:gd name="connsiteX1" fmla="*/ 1700553 w 1700553"/>
              <a:gd name="connsiteY1" fmla="*/ 153931 h 366878"/>
              <a:gd name="connsiteX2" fmla="*/ 1588975 w 1700553"/>
              <a:gd name="connsiteY2" fmla="*/ 0 h 366878"/>
              <a:gd name="connsiteX3" fmla="*/ 0 w 1700553"/>
              <a:gd name="connsiteY3" fmla="*/ 117417 h 366878"/>
              <a:gd name="connsiteX4" fmla="*/ 100217 w 1700553"/>
              <a:gd name="connsiteY4" fmla="*/ 366878 h 366878"/>
              <a:gd name="connsiteX0" fmla="*/ 115726 w 1700553"/>
              <a:gd name="connsiteY0" fmla="*/ 305211 h 305211"/>
              <a:gd name="connsiteX1" fmla="*/ 1700553 w 1700553"/>
              <a:gd name="connsiteY1" fmla="*/ 153931 h 305211"/>
              <a:gd name="connsiteX2" fmla="*/ 1588975 w 1700553"/>
              <a:gd name="connsiteY2" fmla="*/ 0 h 305211"/>
              <a:gd name="connsiteX3" fmla="*/ 0 w 1700553"/>
              <a:gd name="connsiteY3" fmla="*/ 117417 h 305211"/>
              <a:gd name="connsiteX4" fmla="*/ 115726 w 1700553"/>
              <a:gd name="connsiteY4" fmla="*/ 305211 h 305211"/>
              <a:gd name="connsiteX0" fmla="*/ 115726 w 1700553"/>
              <a:gd name="connsiteY0" fmla="*/ 321895 h 321895"/>
              <a:gd name="connsiteX1" fmla="*/ 1700553 w 1700553"/>
              <a:gd name="connsiteY1" fmla="*/ 170615 h 321895"/>
              <a:gd name="connsiteX2" fmla="*/ 1471607 w 1700553"/>
              <a:gd name="connsiteY2" fmla="*/ 0 h 321895"/>
              <a:gd name="connsiteX3" fmla="*/ 0 w 1700553"/>
              <a:gd name="connsiteY3" fmla="*/ 134101 h 321895"/>
              <a:gd name="connsiteX4" fmla="*/ 115726 w 1700553"/>
              <a:gd name="connsiteY4" fmla="*/ 321895 h 321895"/>
              <a:gd name="connsiteX0" fmla="*/ 115726 w 1581352"/>
              <a:gd name="connsiteY0" fmla="*/ 321895 h 321895"/>
              <a:gd name="connsiteX1" fmla="*/ 1581352 w 1581352"/>
              <a:gd name="connsiteY1" fmla="*/ 210307 h 321895"/>
              <a:gd name="connsiteX2" fmla="*/ 1471607 w 1581352"/>
              <a:gd name="connsiteY2" fmla="*/ 0 h 321895"/>
              <a:gd name="connsiteX3" fmla="*/ 0 w 1581352"/>
              <a:gd name="connsiteY3" fmla="*/ 134101 h 321895"/>
              <a:gd name="connsiteX4" fmla="*/ 115726 w 1581352"/>
              <a:gd name="connsiteY4" fmla="*/ 321895 h 321895"/>
              <a:gd name="connsiteX0" fmla="*/ 92298 w 1557924"/>
              <a:gd name="connsiteY0" fmla="*/ 321895 h 321895"/>
              <a:gd name="connsiteX1" fmla="*/ 1557924 w 1557924"/>
              <a:gd name="connsiteY1" fmla="*/ 210307 h 321895"/>
              <a:gd name="connsiteX2" fmla="*/ 1448179 w 1557924"/>
              <a:gd name="connsiteY2" fmla="*/ 0 h 321895"/>
              <a:gd name="connsiteX3" fmla="*/ 0 w 1557924"/>
              <a:gd name="connsiteY3" fmla="*/ 116473 h 321895"/>
              <a:gd name="connsiteX4" fmla="*/ 92298 w 1557924"/>
              <a:gd name="connsiteY4" fmla="*/ 321895 h 321895"/>
              <a:gd name="connsiteX0" fmla="*/ 152961 w 1557924"/>
              <a:gd name="connsiteY0" fmla="*/ 341247 h 341247"/>
              <a:gd name="connsiteX1" fmla="*/ 1557924 w 1557924"/>
              <a:gd name="connsiteY1" fmla="*/ 210307 h 341247"/>
              <a:gd name="connsiteX2" fmla="*/ 1448179 w 1557924"/>
              <a:gd name="connsiteY2" fmla="*/ 0 h 341247"/>
              <a:gd name="connsiteX3" fmla="*/ 0 w 1557924"/>
              <a:gd name="connsiteY3" fmla="*/ 116473 h 341247"/>
              <a:gd name="connsiteX4" fmla="*/ 152961 w 1557924"/>
              <a:gd name="connsiteY4" fmla="*/ 341247 h 341247"/>
              <a:gd name="connsiteX0" fmla="*/ 135357 w 1557924"/>
              <a:gd name="connsiteY0" fmla="*/ 339493 h 339493"/>
              <a:gd name="connsiteX1" fmla="*/ 1557924 w 1557924"/>
              <a:gd name="connsiteY1" fmla="*/ 210307 h 339493"/>
              <a:gd name="connsiteX2" fmla="*/ 1448179 w 1557924"/>
              <a:gd name="connsiteY2" fmla="*/ 0 h 339493"/>
              <a:gd name="connsiteX3" fmla="*/ 0 w 1557924"/>
              <a:gd name="connsiteY3" fmla="*/ 116473 h 339493"/>
              <a:gd name="connsiteX4" fmla="*/ 135357 w 1557924"/>
              <a:gd name="connsiteY4" fmla="*/ 339493 h 339493"/>
              <a:gd name="connsiteX0" fmla="*/ 109934 w 1532501"/>
              <a:gd name="connsiteY0" fmla="*/ 339493 h 339493"/>
              <a:gd name="connsiteX1" fmla="*/ 1532501 w 1532501"/>
              <a:gd name="connsiteY1" fmla="*/ 210307 h 339493"/>
              <a:gd name="connsiteX2" fmla="*/ 1422756 w 1532501"/>
              <a:gd name="connsiteY2" fmla="*/ 0 h 339493"/>
              <a:gd name="connsiteX3" fmla="*/ 0 w 1532501"/>
              <a:gd name="connsiteY3" fmla="*/ 117343 h 339493"/>
              <a:gd name="connsiteX4" fmla="*/ 109934 w 1532501"/>
              <a:gd name="connsiteY4" fmla="*/ 339493 h 339493"/>
              <a:gd name="connsiteX0" fmla="*/ 133525 w 1556092"/>
              <a:gd name="connsiteY0" fmla="*/ 339493 h 339493"/>
              <a:gd name="connsiteX1" fmla="*/ 1556092 w 1556092"/>
              <a:gd name="connsiteY1" fmla="*/ 210307 h 339493"/>
              <a:gd name="connsiteX2" fmla="*/ 1446347 w 1556092"/>
              <a:gd name="connsiteY2" fmla="*/ 0 h 339493"/>
              <a:gd name="connsiteX3" fmla="*/ 0 w 1556092"/>
              <a:gd name="connsiteY3" fmla="*/ 60098 h 339493"/>
              <a:gd name="connsiteX4" fmla="*/ 133525 w 1556092"/>
              <a:gd name="connsiteY4" fmla="*/ 339493 h 339493"/>
              <a:gd name="connsiteX0" fmla="*/ 133525 w 2343667"/>
              <a:gd name="connsiteY0" fmla="*/ 459688 h 459688"/>
              <a:gd name="connsiteX1" fmla="*/ 1556092 w 2343667"/>
              <a:gd name="connsiteY1" fmla="*/ 330502 h 459688"/>
              <a:gd name="connsiteX2" fmla="*/ 2343667 w 2343667"/>
              <a:gd name="connsiteY2" fmla="*/ 0 h 459688"/>
              <a:gd name="connsiteX3" fmla="*/ 0 w 2343667"/>
              <a:gd name="connsiteY3" fmla="*/ 180293 h 459688"/>
              <a:gd name="connsiteX4" fmla="*/ 133525 w 2343667"/>
              <a:gd name="connsiteY4" fmla="*/ 459688 h 459688"/>
              <a:gd name="connsiteX0" fmla="*/ 133525 w 2391079"/>
              <a:gd name="connsiteY0" fmla="*/ 459688 h 459688"/>
              <a:gd name="connsiteX1" fmla="*/ 2391079 w 2391079"/>
              <a:gd name="connsiteY1" fmla="*/ 322204 h 459688"/>
              <a:gd name="connsiteX2" fmla="*/ 2343667 w 2391079"/>
              <a:gd name="connsiteY2" fmla="*/ 0 h 459688"/>
              <a:gd name="connsiteX3" fmla="*/ 0 w 2391079"/>
              <a:gd name="connsiteY3" fmla="*/ 180293 h 459688"/>
              <a:gd name="connsiteX4" fmla="*/ 133525 w 2391079"/>
              <a:gd name="connsiteY4" fmla="*/ 459688 h 459688"/>
              <a:gd name="connsiteX0" fmla="*/ 159047 w 2391079"/>
              <a:gd name="connsiteY0" fmla="*/ 505482 h 505482"/>
              <a:gd name="connsiteX1" fmla="*/ 2391079 w 2391079"/>
              <a:gd name="connsiteY1" fmla="*/ 322204 h 505482"/>
              <a:gd name="connsiteX2" fmla="*/ 2343667 w 2391079"/>
              <a:gd name="connsiteY2" fmla="*/ 0 h 505482"/>
              <a:gd name="connsiteX3" fmla="*/ 0 w 2391079"/>
              <a:gd name="connsiteY3" fmla="*/ 180293 h 505482"/>
              <a:gd name="connsiteX4" fmla="*/ 159047 w 2391079"/>
              <a:gd name="connsiteY4" fmla="*/ 505482 h 505482"/>
              <a:gd name="connsiteX0" fmla="*/ 159047 w 2391079"/>
              <a:gd name="connsiteY0" fmla="*/ 518659 h 518659"/>
              <a:gd name="connsiteX1" fmla="*/ 2391079 w 2391079"/>
              <a:gd name="connsiteY1" fmla="*/ 335381 h 518659"/>
              <a:gd name="connsiteX2" fmla="*/ 2261507 w 2391079"/>
              <a:gd name="connsiteY2" fmla="*/ 0 h 518659"/>
              <a:gd name="connsiteX3" fmla="*/ 0 w 2391079"/>
              <a:gd name="connsiteY3" fmla="*/ 193470 h 518659"/>
              <a:gd name="connsiteX4" fmla="*/ 159047 w 2391079"/>
              <a:gd name="connsiteY4" fmla="*/ 518659 h 518659"/>
              <a:gd name="connsiteX0" fmla="*/ 159047 w 2513813"/>
              <a:gd name="connsiteY0" fmla="*/ 498511 h 498511"/>
              <a:gd name="connsiteX1" fmla="*/ 2391079 w 2513813"/>
              <a:gd name="connsiteY1" fmla="*/ 315233 h 498511"/>
              <a:gd name="connsiteX2" fmla="*/ 2513813 w 2513813"/>
              <a:gd name="connsiteY2" fmla="*/ 0 h 498511"/>
              <a:gd name="connsiteX3" fmla="*/ 0 w 2513813"/>
              <a:gd name="connsiteY3" fmla="*/ 173322 h 498511"/>
              <a:gd name="connsiteX4" fmla="*/ 159047 w 2513813"/>
              <a:gd name="connsiteY4" fmla="*/ 498511 h 498511"/>
              <a:gd name="connsiteX0" fmla="*/ 159047 w 2547383"/>
              <a:gd name="connsiteY0" fmla="*/ 498511 h 498511"/>
              <a:gd name="connsiteX1" fmla="*/ 2547383 w 2547383"/>
              <a:gd name="connsiteY1" fmla="*/ 252623 h 498511"/>
              <a:gd name="connsiteX2" fmla="*/ 2513813 w 2547383"/>
              <a:gd name="connsiteY2" fmla="*/ 0 h 498511"/>
              <a:gd name="connsiteX3" fmla="*/ 0 w 2547383"/>
              <a:gd name="connsiteY3" fmla="*/ 173322 h 498511"/>
              <a:gd name="connsiteX4" fmla="*/ 159047 w 2547383"/>
              <a:gd name="connsiteY4" fmla="*/ 498511 h 498511"/>
              <a:gd name="connsiteX0" fmla="*/ 164772 w 2553108"/>
              <a:gd name="connsiteY0" fmla="*/ 498511 h 498511"/>
              <a:gd name="connsiteX1" fmla="*/ 2553108 w 2553108"/>
              <a:gd name="connsiteY1" fmla="*/ 252623 h 498511"/>
              <a:gd name="connsiteX2" fmla="*/ 2519538 w 2553108"/>
              <a:gd name="connsiteY2" fmla="*/ 0 h 498511"/>
              <a:gd name="connsiteX3" fmla="*/ 0 w 2553108"/>
              <a:gd name="connsiteY3" fmla="*/ 237627 h 498511"/>
              <a:gd name="connsiteX4" fmla="*/ 164772 w 2553108"/>
              <a:gd name="connsiteY4" fmla="*/ 498511 h 498511"/>
              <a:gd name="connsiteX0" fmla="*/ 102113 w 2553108"/>
              <a:gd name="connsiteY0" fmla="*/ 460662 h 460662"/>
              <a:gd name="connsiteX1" fmla="*/ 2553108 w 2553108"/>
              <a:gd name="connsiteY1" fmla="*/ 252623 h 460662"/>
              <a:gd name="connsiteX2" fmla="*/ 2519538 w 2553108"/>
              <a:gd name="connsiteY2" fmla="*/ 0 h 460662"/>
              <a:gd name="connsiteX3" fmla="*/ 0 w 2553108"/>
              <a:gd name="connsiteY3" fmla="*/ 237627 h 460662"/>
              <a:gd name="connsiteX4" fmla="*/ 102113 w 2553108"/>
              <a:gd name="connsiteY4" fmla="*/ 460662 h 460662"/>
              <a:gd name="connsiteX0" fmla="*/ 102113 w 2553108"/>
              <a:gd name="connsiteY0" fmla="*/ 424537 h 424537"/>
              <a:gd name="connsiteX1" fmla="*/ 2553108 w 2553108"/>
              <a:gd name="connsiteY1" fmla="*/ 216498 h 424537"/>
              <a:gd name="connsiteX2" fmla="*/ 2498106 w 2553108"/>
              <a:gd name="connsiteY2" fmla="*/ 0 h 424537"/>
              <a:gd name="connsiteX3" fmla="*/ 0 w 2553108"/>
              <a:gd name="connsiteY3" fmla="*/ 201502 h 424537"/>
              <a:gd name="connsiteX4" fmla="*/ 102113 w 2553108"/>
              <a:gd name="connsiteY4" fmla="*/ 424537 h 424537"/>
              <a:gd name="connsiteX0" fmla="*/ 90333 w 2553108"/>
              <a:gd name="connsiteY0" fmla="*/ 403402 h 403402"/>
              <a:gd name="connsiteX1" fmla="*/ 2553108 w 2553108"/>
              <a:gd name="connsiteY1" fmla="*/ 216498 h 403402"/>
              <a:gd name="connsiteX2" fmla="*/ 2498106 w 2553108"/>
              <a:gd name="connsiteY2" fmla="*/ 0 h 403402"/>
              <a:gd name="connsiteX3" fmla="*/ 0 w 2553108"/>
              <a:gd name="connsiteY3" fmla="*/ 201502 h 403402"/>
              <a:gd name="connsiteX4" fmla="*/ 90333 w 2553108"/>
              <a:gd name="connsiteY4" fmla="*/ 403402 h 403402"/>
              <a:gd name="connsiteX0" fmla="*/ 60951 w 2523726"/>
              <a:gd name="connsiteY0" fmla="*/ 403402 h 403402"/>
              <a:gd name="connsiteX1" fmla="*/ 2523726 w 2523726"/>
              <a:gd name="connsiteY1" fmla="*/ 216498 h 403402"/>
              <a:gd name="connsiteX2" fmla="*/ 2468724 w 2523726"/>
              <a:gd name="connsiteY2" fmla="*/ 0 h 403402"/>
              <a:gd name="connsiteX3" fmla="*/ 0 w 2523726"/>
              <a:gd name="connsiteY3" fmla="*/ 224392 h 403402"/>
              <a:gd name="connsiteX4" fmla="*/ 60951 w 2523726"/>
              <a:gd name="connsiteY4" fmla="*/ 403402 h 40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3726" h="403402">
                <a:moveTo>
                  <a:pt x="60951" y="403402"/>
                </a:moveTo>
                <a:lnTo>
                  <a:pt x="2523726" y="216498"/>
                </a:lnTo>
                <a:lnTo>
                  <a:pt x="2468724" y="0"/>
                </a:lnTo>
                <a:lnTo>
                  <a:pt x="0" y="224392"/>
                </a:lnTo>
                <a:lnTo>
                  <a:pt x="60951" y="403402"/>
                </a:lnTo>
                <a:close/>
              </a:path>
            </a:pathLst>
          </a:custGeom>
          <a:solidFill>
            <a:schemeClr val="bg1"/>
          </a:solidFill>
          <a:ln>
            <a:noFill/>
          </a:ln>
          <a:effectLst>
            <a:outerShdw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solidFill>
                <a:schemeClr val="accent4"/>
              </a:solidFill>
            </a:endParaRPr>
          </a:p>
        </p:txBody>
      </p:sp>
      <p:sp>
        <p:nvSpPr>
          <p:cNvPr id="12" name="TextBox 9">
            <a:extLst>
              <a:ext uri="{FF2B5EF4-FFF2-40B4-BE49-F238E27FC236}">
                <a16:creationId xmlns:a16="http://schemas.microsoft.com/office/drawing/2014/main" id="{C3944AA2-7FD8-4EED-A32C-A9F6411C21EC}"/>
              </a:ext>
            </a:extLst>
          </p:cNvPr>
          <p:cNvSpPr txBox="1">
            <a:spLocks noChangeArrowheads="1"/>
          </p:cNvSpPr>
          <p:nvPr/>
        </p:nvSpPr>
        <p:spPr bwMode="auto">
          <a:xfrm>
            <a:off x="275376" y="322936"/>
            <a:ext cx="2485989" cy="369332"/>
          </a:xfrm>
          <a:prstGeom prst="rect">
            <a:avLst/>
          </a:prstGeom>
          <a:noFill/>
          <a:ln w="9525">
            <a:noFill/>
            <a:miter lim="800000"/>
            <a:headEnd/>
            <a:tailEnd/>
          </a:ln>
          <a:effectLst/>
        </p:spPr>
        <p:txBody>
          <a:bodyPr wrap="square" lIns="0">
            <a:spAutoFit/>
          </a:bodyPr>
          <a:lstStyle/>
          <a:p>
            <a:pPr marL="3174">
              <a:lnSpc>
                <a:spcPct val="90000"/>
              </a:lnSpc>
              <a:spcBef>
                <a:spcPts val="1200"/>
              </a:spcBef>
              <a:buClr>
                <a:srgbClr val="5C5C5C"/>
              </a:buClr>
              <a:buSzPct val="80000"/>
            </a:pPr>
            <a:r>
              <a:rPr lang="nl-BE" sz="2000" b="1" dirty="0">
                <a:solidFill>
                  <a:srgbClr val="FFC000"/>
                </a:solidFill>
                <a:latin typeface="Amaranth" panose="02000503000000020004" pitchFamily="50" charset="0"/>
                <a:cs typeface="Arial" panose="020B0604020202020204" pitchFamily="34" charset="0"/>
              </a:rPr>
              <a:t>Software</a:t>
            </a:r>
          </a:p>
        </p:txBody>
      </p:sp>
      <p:pic>
        <p:nvPicPr>
          <p:cNvPr id="17" name="Afbeelding 16">
            <a:extLst>
              <a:ext uri="{FF2B5EF4-FFF2-40B4-BE49-F238E27FC236}">
                <a16:creationId xmlns:a16="http://schemas.microsoft.com/office/drawing/2014/main" id="{CC74526C-91E5-4356-9F09-02B38EF18E16}"/>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1241707" y="6052930"/>
            <a:ext cx="661508" cy="556592"/>
          </a:xfrm>
          <a:prstGeom prst="rect">
            <a:avLst/>
          </a:prstGeom>
        </p:spPr>
      </p:pic>
      <p:sp>
        <p:nvSpPr>
          <p:cNvPr id="3" name="Rechthoek 2">
            <a:extLst>
              <a:ext uri="{FF2B5EF4-FFF2-40B4-BE49-F238E27FC236}">
                <a16:creationId xmlns:a16="http://schemas.microsoft.com/office/drawing/2014/main" id="{8CCCA7C5-4D8B-42E0-B5E2-026207558DA9}"/>
              </a:ext>
            </a:extLst>
          </p:cNvPr>
          <p:cNvSpPr/>
          <p:nvPr/>
        </p:nvSpPr>
        <p:spPr>
          <a:xfrm>
            <a:off x="6983138" y="2498413"/>
            <a:ext cx="3935501" cy="461665"/>
          </a:xfrm>
          <a:prstGeom prst="rect">
            <a:avLst/>
          </a:prstGeom>
        </p:spPr>
        <p:txBody>
          <a:bodyPr wrap="none">
            <a:spAutoFit/>
          </a:bodyPr>
          <a:lstStyle/>
          <a:p>
            <a:r>
              <a:rPr lang="nl-NL" sz="2400" b="1" dirty="0">
                <a:solidFill>
                  <a:schemeClr val="bg1"/>
                </a:solidFill>
              </a:rPr>
              <a:t>Leerlingen volgen in Digiregie</a:t>
            </a:r>
            <a:endParaRPr lang="nl-NL" sz="2400" dirty="0">
              <a:solidFill>
                <a:schemeClr val="bg1"/>
              </a:solidFill>
            </a:endParaRPr>
          </a:p>
        </p:txBody>
      </p:sp>
      <p:sp>
        <p:nvSpPr>
          <p:cNvPr id="4" name="Rechthoek 3">
            <a:extLst>
              <a:ext uri="{FF2B5EF4-FFF2-40B4-BE49-F238E27FC236}">
                <a16:creationId xmlns:a16="http://schemas.microsoft.com/office/drawing/2014/main" id="{05E846C1-5940-4420-9140-3BD06367E482}"/>
              </a:ext>
            </a:extLst>
          </p:cNvPr>
          <p:cNvSpPr/>
          <p:nvPr/>
        </p:nvSpPr>
        <p:spPr>
          <a:xfrm>
            <a:off x="7158468" y="3345924"/>
            <a:ext cx="4744747" cy="923330"/>
          </a:xfrm>
          <a:prstGeom prst="rect">
            <a:avLst/>
          </a:prstGeom>
        </p:spPr>
        <p:txBody>
          <a:bodyPr wrap="square">
            <a:spAutoFit/>
          </a:bodyPr>
          <a:lstStyle/>
          <a:p>
            <a:pPr marL="457200" indent="-457200">
              <a:buFont typeface="Arial" panose="020B0604020202020204" pitchFamily="34" charset="0"/>
              <a:buChar char="•"/>
            </a:pPr>
            <a:r>
              <a:rPr lang="nl-NL" dirty="0">
                <a:solidFill>
                  <a:schemeClr val="bg1"/>
                </a:solidFill>
              </a:rPr>
              <a:t>Sessie overzicht</a:t>
            </a:r>
          </a:p>
          <a:p>
            <a:pPr marL="457200" indent="-457200">
              <a:buFont typeface="Arial" panose="020B0604020202020204" pitchFamily="34" charset="0"/>
              <a:buChar char="•"/>
            </a:pPr>
            <a:r>
              <a:rPr lang="nl-NL" dirty="0">
                <a:solidFill>
                  <a:schemeClr val="bg1"/>
                </a:solidFill>
              </a:rPr>
              <a:t>Groepsoverzicht</a:t>
            </a:r>
          </a:p>
          <a:p>
            <a:pPr marL="457200" indent="-457200">
              <a:buFont typeface="Arial" panose="020B0604020202020204" pitchFamily="34" charset="0"/>
              <a:buChar char="•"/>
            </a:pPr>
            <a:r>
              <a:rPr lang="nl-NL" dirty="0">
                <a:solidFill>
                  <a:schemeClr val="bg1"/>
                </a:solidFill>
              </a:rPr>
              <a:t>Leerling overzicht</a:t>
            </a:r>
          </a:p>
        </p:txBody>
      </p:sp>
      <p:pic>
        <p:nvPicPr>
          <p:cNvPr id="19" name="Afbeelding 18">
            <a:extLst>
              <a:ext uri="{FF2B5EF4-FFF2-40B4-BE49-F238E27FC236}">
                <a16:creationId xmlns:a16="http://schemas.microsoft.com/office/drawing/2014/main" id="{2B1A2DF2-1EDD-41A8-8743-0518F2ABFAD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5975" y="1191367"/>
            <a:ext cx="4168905" cy="2619735"/>
          </a:xfrm>
          <a:prstGeom prst="rect">
            <a:avLst/>
          </a:prstGeom>
        </p:spPr>
      </p:pic>
      <p:pic>
        <p:nvPicPr>
          <p:cNvPr id="21" name="Afbeelding 20">
            <a:extLst>
              <a:ext uri="{FF2B5EF4-FFF2-40B4-BE49-F238E27FC236}">
                <a16:creationId xmlns:a16="http://schemas.microsoft.com/office/drawing/2014/main" id="{695024C0-D99C-4590-99F2-298E60C0FE9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8248" y="3881881"/>
            <a:ext cx="4176632" cy="2851831"/>
          </a:xfrm>
          <a:prstGeom prst="rect">
            <a:avLst/>
          </a:prstGeom>
        </p:spPr>
      </p:pic>
    </p:spTree>
    <p:extLst>
      <p:ext uri="{BB962C8B-B14F-4D97-AF65-F5344CB8AC3E}">
        <p14:creationId xmlns:p14="http://schemas.microsoft.com/office/powerpoint/2010/main" val="403322952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Afbeelding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01" y="1080085"/>
            <a:ext cx="6115660" cy="4077108"/>
          </a:xfrm>
          <a:prstGeom prst="roundRect">
            <a:avLst>
              <a:gd name="adj" fmla="val 4167"/>
            </a:avLst>
          </a:prstGeom>
          <a:solidFill>
            <a:srgbClr val="FFFFFF"/>
          </a:solidFill>
          <a:ln w="76200" cap="sq">
            <a:noFill/>
            <a:miter lim="800000"/>
          </a:ln>
          <a:effectLst/>
        </p:spPr>
      </p:pic>
      <p:pic>
        <p:nvPicPr>
          <p:cNvPr id="7" name="Afbeelding 6"/>
          <p:cNvPicPr>
            <a:picLocks noChangeAspect="1"/>
          </p:cNvPicPr>
          <p:nvPr/>
        </p:nvPicPr>
        <p:blipFill rotWithShape="1">
          <a:blip r:embed="rId3" cstate="print">
            <a:extLst>
              <a:ext uri="{28A0092B-C50C-407E-A947-70E740481C1C}">
                <a14:useLocalDpi xmlns:a14="http://schemas.microsoft.com/office/drawing/2010/main" val="0"/>
              </a:ext>
            </a:extLst>
          </a:blip>
          <a:srcRect t="52800" r="27239" b="36000"/>
          <a:stretch/>
        </p:blipFill>
        <p:spPr>
          <a:xfrm>
            <a:off x="3028340" y="4947509"/>
            <a:ext cx="6135320" cy="899419"/>
          </a:xfrm>
          <a:prstGeom prst="rect">
            <a:avLst/>
          </a:prstGeom>
        </p:spPr>
      </p:pic>
      <p:sp>
        <p:nvSpPr>
          <p:cNvPr id="13" name="Tekstvak 12"/>
          <p:cNvSpPr txBox="1"/>
          <p:nvPr/>
        </p:nvSpPr>
        <p:spPr>
          <a:xfrm>
            <a:off x="3048000" y="4965261"/>
            <a:ext cx="6120000" cy="666786"/>
          </a:xfrm>
          <a:prstGeom prst="rect">
            <a:avLst/>
          </a:prstGeom>
          <a:noFill/>
        </p:spPr>
        <p:txBody>
          <a:bodyPr wrap="square" rtlCol="0">
            <a:spAutoFit/>
          </a:bodyPr>
          <a:lstStyle/>
          <a:p>
            <a:pPr algn="ctr"/>
            <a:r>
              <a:rPr lang="nl-NL" sz="3733" dirty="0">
                <a:solidFill>
                  <a:schemeClr val="bg1"/>
                </a:solidFill>
                <a:latin typeface="Amaranth" panose="02000503050000020004" pitchFamily="2" charset="0"/>
              </a:rPr>
              <a:t>Materialen</a:t>
            </a:r>
          </a:p>
        </p:txBody>
      </p:sp>
      <p:pic>
        <p:nvPicPr>
          <p:cNvPr id="9" name="Afbeelding 8">
            <a:extLst>
              <a:ext uri="{FF2B5EF4-FFF2-40B4-BE49-F238E27FC236}">
                <a16:creationId xmlns:a16="http://schemas.microsoft.com/office/drawing/2014/main" id="{ED381EDA-C1FB-46C9-A6C6-F9859646484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1241707" y="6052930"/>
            <a:ext cx="661508" cy="556592"/>
          </a:xfrm>
          <a:prstGeom prst="rect">
            <a:avLst/>
          </a:prstGeom>
        </p:spPr>
      </p:pic>
    </p:spTree>
    <p:extLst>
      <p:ext uri="{BB962C8B-B14F-4D97-AF65-F5344CB8AC3E}">
        <p14:creationId xmlns:p14="http://schemas.microsoft.com/office/powerpoint/2010/main" val="243387304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69" name="think-cell Slide" r:id="rId5" imgW="353" imgH="353" progId="TCLayout.ActiveDocument.1">
                  <p:embed/>
                </p:oleObj>
              </mc:Choice>
              <mc:Fallback>
                <p:oleObj name="think-cell Slide" r:id="rId5" imgW="353" imgH="353"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9" name="Freeform: Shape 58"/>
          <p:cNvSpPr/>
          <p:nvPr/>
        </p:nvSpPr>
        <p:spPr>
          <a:xfrm>
            <a:off x="532886" y="0"/>
            <a:ext cx="11659115" cy="6879365"/>
          </a:xfrm>
          <a:custGeom>
            <a:avLst/>
            <a:gdLst>
              <a:gd name="connsiteX0" fmla="*/ 0 w 9109817"/>
              <a:gd name="connsiteY0" fmla="*/ 94004 h 6999006"/>
              <a:gd name="connsiteX1" fmla="*/ 709301 w 9109817"/>
              <a:gd name="connsiteY1" fmla="*/ 5879507 h 6999006"/>
              <a:gd name="connsiteX2" fmla="*/ 1922804 w 9109817"/>
              <a:gd name="connsiteY2" fmla="*/ 5862415 h 6999006"/>
              <a:gd name="connsiteX3" fmla="*/ 3452501 w 9109817"/>
              <a:gd name="connsiteY3" fmla="*/ 6999006 h 6999006"/>
              <a:gd name="connsiteX4" fmla="*/ 9109817 w 9109817"/>
              <a:gd name="connsiteY4" fmla="*/ 6999006 h 6999006"/>
              <a:gd name="connsiteX5" fmla="*/ 9109817 w 9109817"/>
              <a:gd name="connsiteY5" fmla="*/ 0 h 6999006"/>
              <a:gd name="connsiteX6" fmla="*/ 0 w 9109817"/>
              <a:gd name="connsiteY6" fmla="*/ 94004 h 6999006"/>
              <a:gd name="connsiteX0" fmla="*/ 528426 w 9638243"/>
              <a:gd name="connsiteY0" fmla="*/ 94004 h 6999006"/>
              <a:gd name="connsiteX1" fmla="*/ 1237727 w 9638243"/>
              <a:gd name="connsiteY1" fmla="*/ 5879507 h 6999006"/>
              <a:gd name="connsiteX2" fmla="*/ 2451230 w 9638243"/>
              <a:gd name="connsiteY2" fmla="*/ 5862415 h 6999006"/>
              <a:gd name="connsiteX3" fmla="*/ 3980927 w 9638243"/>
              <a:gd name="connsiteY3" fmla="*/ 6999006 h 6999006"/>
              <a:gd name="connsiteX4" fmla="*/ 9638243 w 9638243"/>
              <a:gd name="connsiteY4" fmla="*/ 6999006 h 6999006"/>
              <a:gd name="connsiteX5" fmla="*/ 9638243 w 9638243"/>
              <a:gd name="connsiteY5" fmla="*/ 0 h 6999006"/>
              <a:gd name="connsiteX6" fmla="*/ 528426 w 9638243"/>
              <a:gd name="connsiteY6" fmla="*/ 94004 h 6999006"/>
              <a:gd name="connsiteX0" fmla="*/ 528426 w 9638243"/>
              <a:gd name="connsiteY0" fmla="*/ 94004 h 6999006"/>
              <a:gd name="connsiteX1" fmla="*/ 1237727 w 9638243"/>
              <a:gd name="connsiteY1" fmla="*/ 5879507 h 6999006"/>
              <a:gd name="connsiteX2" fmla="*/ 2451230 w 9638243"/>
              <a:gd name="connsiteY2" fmla="*/ 5862415 h 6999006"/>
              <a:gd name="connsiteX3" fmla="*/ 3980927 w 9638243"/>
              <a:gd name="connsiteY3" fmla="*/ 6999006 h 6999006"/>
              <a:gd name="connsiteX4" fmla="*/ 9638243 w 9638243"/>
              <a:gd name="connsiteY4" fmla="*/ 6999006 h 6999006"/>
              <a:gd name="connsiteX5" fmla="*/ 9638243 w 9638243"/>
              <a:gd name="connsiteY5" fmla="*/ 0 h 6999006"/>
              <a:gd name="connsiteX6" fmla="*/ 528426 w 9638243"/>
              <a:gd name="connsiteY6" fmla="*/ 94004 h 6999006"/>
              <a:gd name="connsiteX0" fmla="*/ 292742 w 9402559"/>
              <a:gd name="connsiteY0" fmla="*/ 94004 h 6999006"/>
              <a:gd name="connsiteX1" fmla="*/ 1002043 w 9402559"/>
              <a:gd name="connsiteY1" fmla="*/ 5879507 h 6999006"/>
              <a:gd name="connsiteX2" fmla="*/ 2215546 w 9402559"/>
              <a:gd name="connsiteY2" fmla="*/ 5862415 h 6999006"/>
              <a:gd name="connsiteX3" fmla="*/ 3745243 w 9402559"/>
              <a:gd name="connsiteY3" fmla="*/ 6999006 h 6999006"/>
              <a:gd name="connsiteX4" fmla="*/ 9402559 w 9402559"/>
              <a:gd name="connsiteY4" fmla="*/ 6999006 h 6999006"/>
              <a:gd name="connsiteX5" fmla="*/ 9402559 w 9402559"/>
              <a:gd name="connsiteY5" fmla="*/ 0 h 6999006"/>
              <a:gd name="connsiteX6" fmla="*/ 292742 w 9402559"/>
              <a:gd name="connsiteY6" fmla="*/ 94004 h 6999006"/>
              <a:gd name="connsiteX0" fmla="*/ 292742 w 9402559"/>
              <a:gd name="connsiteY0" fmla="*/ 94004 h 6999006"/>
              <a:gd name="connsiteX1" fmla="*/ 1002043 w 9402559"/>
              <a:gd name="connsiteY1" fmla="*/ 5879507 h 6999006"/>
              <a:gd name="connsiteX2" fmla="*/ 3745243 w 9402559"/>
              <a:gd name="connsiteY2" fmla="*/ 6999006 h 6999006"/>
              <a:gd name="connsiteX3" fmla="*/ 9402559 w 9402559"/>
              <a:gd name="connsiteY3" fmla="*/ 6999006 h 6999006"/>
              <a:gd name="connsiteX4" fmla="*/ 9402559 w 9402559"/>
              <a:gd name="connsiteY4" fmla="*/ 0 h 6999006"/>
              <a:gd name="connsiteX5" fmla="*/ 292742 w 9402559"/>
              <a:gd name="connsiteY5" fmla="*/ 94004 h 6999006"/>
              <a:gd name="connsiteX0" fmla="*/ 292742 w 9402559"/>
              <a:gd name="connsiteY0" fmla="*/ 94004 h 6999006"/>
              <a:gd name="connsiteX1" fmla="*/ 1002043 w 9402559"/>
              <a:gd name="connsiteY1" fmla="*/ 5879507 h 6999006"/>
              <a:gd name="connsiteX2" fmla="*/ 3745243 w 9402559"/>
              <a:gd name="connsiteY2" fmla="*/ 6999006 h 6999006"/>
              <a:gd name="connsiteX3" fmla="*/ 9402559 w 9402559"/>
              <a:gd name="connsiteY3" fmla="*/ 6999006 h 6999006"/>
              <a:gd name="connsiteX4" fmla="*/ 9402559 w 9402559"/>
              <a:gd name="connsiteY4" fmla="*/ 0 h 6999006"/>
              <a:gd name="connsiteX5" fmla="*/ 292742 w 9402559"/>
              <a:gd name="connsiteY5" fmla="*/ 94004 h 6999006"/>
              <a:gd name="connsiteX0" fmla="*/ 292742 w 9402559"/>
              <a:gd name="connsiteY0" fmla="*/ 0 h 6905002"/>
              <a:gd name="connsiteX1" fmla="*/ 1002043 w 9402559"/>
              <a:gd name="connsiteY1" fmla="*/ 5785503 h 6905002"/>
              <a:gd name="connsiteX2" fmla="*/ 3745243 w 9402559"/>
              <a:gd name="connsiteY2" fmla="*/ 6905002 h 6905002"/>
              <a:gd name="connsiteX3" fmla="*/ 9402559 w 9402559"/>
              <a:gd name="connsiteY3" fmla="*/ 6905002 h 6905002"/>
              <a:gd name="connsiteX4" fmla="*/ 9325647 w 9402559"/>
              <a:gd name="connsiteY4" fmla="*/ 34183 h 6905002"/>
              <a:gd name="connsiteX5" fmla="*/ 292742 w 9402559"/>
              <a:gd name="connsiteY5" fmla="*/ 0 h 6905002"/>
              <a:gd name="connsiteX0" fmla="*/ 292742 w 9325647"/>
              <a:gd name="connsiteY0" fmla="*/ 0 h 6905002"/>
              <a:gd name="connsiteX1" fmla="*/ 1002043 w 9325647"/>
              <a:gd name="connsiteY1" fmla="*/ 5785503 h 6905002"/>
              <a:gd name="connsiteX2" fmla="*/ 3745243 w 9325647"/>
              <a:gd name="connsiteY2" fmla="*/ 6905002 h 6905002"/>
              <a:gd name="connsiteX3" fmla="*/ 9325647 w 9325647"/>
              <a:gd name="connsiteY3" fmla="*/ 6905002 h 6905002"/>
              <a:gd name="connsiteX4" fmla="*/ 9325647 w 9325647"/>
              <a:gd name="connsiteY4" fmla="*/ 34183 h 6905002"/>
              <a:gd name="connsiteX5" fmla="*/ 292742 w 9325647"/>
              <a:gd name="connsiteY5" fmla="*/ 0 h 6905002"/>
              <a:gd name="connsiteX0" fmla="*/ 292742 w 9325647"/>
              <a:gd name="connsiteY0" fmla="*/ 0 h 6879364"/>
              <a:gd name="connsiteX1" fmla="*/ 1002043 w 9325647"/>
              <a:gd name="connsiteY1" fmla="*/ 5759865 h 6879364"/>
              <a:gd name="connsiteX2" fmla="*/ 3745243 w 9325647"/>
              <a:gd name="connsiteY2" fmla="*/ 6879364 h 6879364"/>
              <a:gd name="connsiteX3" fmla="*/ 9325647 w 9325647"/>
              <a:gd name="connsiteY3" fmla="*/ 6879364 h 6879364"/>
              <a:gd name="connsiteX4" fmla="*/ 9325647 w 9325647"/>
              <a:gd name="connsiteY4" fmla="*/ 8545 h 6879364"/>
              <a:gd name="connsiteX5" fmla="*/ 292742 w 9325647"/>
              <a:gd name="connsiteY5" fmla="*/ 0 h 6879364"/>
              <a:gd name="connsiteX0" fmla="*/ 270611 w 9705168"/>
              <a:gd name="connsiteY0" fmla="*/ 8547 h 6870819"/>
              <a:gd name="connsiteX1" fmla="*/ 1381564 w 9705168"/>
              <a:gd name="connsiteY1" fmla="*/ 5751320 h 6870819"/>
              <a:gd name="connsiteX2" fmla="*/ 4124764 w 9705168"/>
              <a:gd name="connsiteY2" fmla="*/ 6870819 h 6870819"/>
              <a:gd name="connsiteX3" fmla="*/ 9705168 w 9705168"/>
              <a:gd name="connsiteY3" fmla="*/ 6870819 h 6870819"/>
              <a:gd name="connsiteX4" fmla="*/ 9705168 w 9705168"/>
              <a:gd name="connsiteY4" fmla="*/ 0 h 6870819"/>
              <a:gd name="connsiteX5" fmla="*/ 270611 w 9705168"/>
              <a:gd name="connsiteY5" fmla="*/ 8547 h 6870819"/>
              <a:gd name="connsiteX0" fmla="*/ 163110 w 9597667"/>
              <a:gd name="connsiteY0" fmla="*/ 8547 h 6870819"/>
              <a:gd name="connsiteX1" fmla="*/ 1274063 w 9597667"/>
              <a:gd name="connsiteY1" fmla="*/ 5751320 h 6870819"/>
              <a:gd name="connsiteX2" fmla="*/ 4017263 w 9597667"/>
              <a:gd name="connsiteY2" fmla="*/ 6870819 h 6870819"/>
              <a:gd name="connsiteX3" fmla="*/ 9597667 w 9597667"/>
              <a:gd name="connsiteY3" fmla="*/ 6870819 h 6870819"/>
              <a:gd name="connsiteX4" fmla="*/ 9597667 w 9597667"/>
              <a:gd name="connsiteY4" fmla="*/ 0 h 6870819"/>
              <a:gd name="connsiteX5" fmla="*/ 163110 w 9597667"/>
              <a:gd name="connsiteY5" fmla="*/ 8547 h 6870819"/>
              <a:gd name="connsiteX0" fmla="*/ 64601 w 9499158"/>
              <a:gd name="connsiteY0" fmla="*/ 8547 h 6870819"/>
              <a:gd name="connsiteX1" fmla="*/ 1175554 w 9499158"/>
              <a:gd name="connsiteY1" fmla="*/ 5751320 h 6870819"/>
              <a:gd name="connsiteX2" fmla="*/ 3918754 w 9499158"/>
              <a:gd name="connsiteY2" fmla="*/ 6870819 h 6870819"/>
              <a:gd name="connsiteX3" fmla="*/ 9499158 w 9499158"/>
              <a:gd name="connsiteY3" fmla="*/ 6870819 h 6870819"/>
              <a:gd name="connsiteX4" fmla="*/ 9499158 w 9499158"/>
              <a:gd name="connsiteY4" fmla="*/ 0 h 6870819"/>
              <a:gd name="connsiteX5" fmla="*/ 64601 w 9499158"/>
              <a:gd name="connsiteY5" fmla="*/ 8547 h 6870819"/>
              <a:gd name="connsiteX0" fmla="*/ 64601 w 9499158"/>
              <a:gd name="connsiteY0" fmla="*/ 8547 h 6879365"/>
              <a:gd name="connsiteX1" fmla="*/ 1175554 w 9499158"/>
              <a:gd name="connsiteY1" fmla="*/ 5751320 h 6879365"/>
              <a:gd name="connsiteX2" fmla="*/ 3464845 w 9499158"/>
              <a:gd name="connsiteY2" fmla="*/ 6879365 h 6879365"/>
              <a:gd name="connsiteX3" fmla="*/ 9499158 w 9499158"/>
              <a:gd name="connsiteY3" fmla="*/ 6870819 h 6879365"/>
              <a:gd name="connsiteX4" fmla="*/ 9499158 w 9499158"/>
              <a:gd name="connsiteY4" fmla="*/ 0 h 6879365"/>
              <a:gd name="connsiteX5" fmla="*/ 64601 w 9499158"/>
              <a:gd name="connsiteY5" fmla="*/ 8547 h 6879365"/>
              <a:gd name="connsiteX0" fmla="*/ 64601 w 9499158"/>
              <a:gd name="connsiteY0" fmla="*/ 8547 h 6879365"/>
              <a:gd name="connsiteX1" fmla="*/ 1175554 w 9499158"/>
              <a:gd name="connsiteY1" fmla="*/ 5751320 h 6879365"/>
              <a:gd name="connsiteX2" fmla="*/ 3464845 w 9499158"/>
              <a:gd name="connsiteY2" fmla="*/ 6879365 h 6879365"/>
              <a:gd name="connsiteX3" fmla="*/ 9499158 w 9499158"/>
              <a:gd name="connsiteY3" fmla="*/ 6870819 h 6879365"/>
              <a:gd name="connsiteX4" fmla="*/ 9499158 w 9499158"/>
              <a:gd name="connsiteY4" fmla="*/ 0 h 6879365"/>
              <a:gd name="connsiteX5" fmla="*/ 64601 w 9499158"/>
              <a:gd name="connsiteY5" fmla="*/ 8547 h 6879365"/>
              <a:gd name="connsiteX0" fmla="*/ 64601 w 9499158"/>
              <a:gd name="connsiteY0" fmla="*/ 8547 h 6879365"/>
              <a:gd name="connsiteX1" fmla="*/ 1175554 w 9499158"/>
              <a:gd name="connsiteY1" fmla="*/ 5751320 h 6879365"/>
              <a:gd name="connsiteX2" fmla="*/ 3464845 w 9499158"/>
              <a:gd name="connsiteY2" fmla="*/ 6879365 h 6879365"/>
              <a:gd name="connsiteX3" fmla="*/ 9499158 w 9499158"/>
              <a:gd name="connsiteY3" fmla="*/ 6870819 h 6879365"/>
              <a:gd name="connsiteX4" fmla="*/ 9499158 w 9499158"/>
              <a:gd name="connsiteY4" fmla="*/ 0 h 6879365"/>
              <a:gd name="connsiteX5" fmla="*/ 64601 w 9499158"/>
              <a:gd name="connsiteY5" fmla="*/ 8547 h 6879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99158" h="6879365">
                <a:moveTo>
                  <a:pt x="64601" y="8547"/>
                </a:moveTo>
                <a:cubicBezTo>
                  <a:pt x="-532180" y="2731806"/>
                  <a:pt x="3256455" y="4225895"/>
                  <a:pt x="1175554" y="5751320"/>
                </a:cubicBezTo>
                <a:cubicBezTo>
                  <a:pt x="2391905" y="4953713"/>
                  <a:pt x="2544855" y="6692782"/>
                  <a:pt x="3464845" y="6879365"/>
                </a:cubicBezTo>
                <a:lnTo>
                  <a:pt x="9499158" y="6870819"/>
                </a:lnTo>
                <a:lnTo>
                  <a:pt x="9499158" y="0"/>
                </a:lnTo>
                <a:lnTo>
                  <a:pt x="64601" y="8547"/>
                </a:lnTo>
                <a:close/>
              </a:path>
            </a:pathLst>
          </a:custGeom>
          <a:solidFill>
            <a:srgbClr val="83D0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7" name="Afbeelding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32886" y="5778000"/>
            <a:ext cx="1595699" cy="1080000"/>
          </a:xfrm>
          <a:prstGeom prst="rect">
            <a:avLst/>
          </a:prstGeom>
        </p:spPr>
      </p:pic>
      <p:pic>
        <p:nvPicPr>
          <p:cNvPr id="8" name="Picture 1" descr="\\harpo\users\jelle.janssen\Desktop\pompom vooraanzicht kleur.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247068" y="5778000"/>
            <a:ext cx="1595391" cy="1080000"/>
          </a:xfrm>
          <a:prstGeom prst="rect">
            <a:avLst/>
          </a:prstGeom>
          <a:noFill/>
          <a:extLst>
            <a:ext uri="{909E8E84-426E-40DD-AFC4-6F175D3DCCD1}">
              <a14:hiddenFill xmlns:a14="http://schemas.microsoft.com/office/drawing/2010/main">
                <a:solidFill>
                  <a:srgbClr val="FFFFFF"/>
                </a:solidFill>
              </a14:hiddenFill>
            </a:ext>
          </a:extLst>
        </p:spPr>
      </p:pic>
      <p:sp>
        <p:nvSpPr>
          <p:cNvPr id="13" name="Rechthoek 12"/>
          <p:cNvSpPr/>
          <p:nvPr/>
        </p:nvSpPr>
        <p:spPr>
          <a:xfrm>
            <a:off x="1036187" y="1948012"/>
            <a:ext cx="1869964" cy="541671"/>
          </a:xfrm>
          <a:prstGeom prst="rect">
            <a:avLst/>
          </a:prstGeom>
        </p:spPr>
        <p:txBody>
          <a:bodyPr wrap="square" lIns="91424" tIns="45712" rIns="91424" bIns="45712">
            <a:spAutoFit/>
          </a:bodyPr>
          <a:lstStyle/>
          <a:p>
            <a:pPr marL="0" marR="0" lvl="0" indent="0" algn="ctr" defTabSz="914400" rtl="0" eaLnBrk="1" fontAlgn="ctr" latinLnBrk="0" hangingPunct="1">
              <a:lnSpc>
                <a:spcPct val="90000"/>
              </a:lnSpc>
              <a:spcBef>
                <a:spcPts val="0"/>
              </a:spcBef>
              <a:spcAft>
                <a:spcPts val="0"/>
              </a:spcAft>
              <a:buClrTx/>
              <a:buSzTx/>
              <a:buFontTx/>
              <a:buNone/>
              <a:tabLst/>
              <a:defRPr/>
            </a:pPr>
            <a:r>
              <a:rPr kumimoji="0" lang="nl-NL" sz="1600" b="0" i="0" u="none" strike="noStrike" kern="1200" cap="none" spc="0" normalizeH="0" baseline="0" noProof="0" dirty="0">
                <a:ln>
                  <a:noFill/>
                </a:ln>
                <a:solidFill>
                  <a:prstClr val="white"/>
                </a:solidFill>
                <a:effectLst/>
                <a:uLnTx/>
                <a:uFillTx/>
                <a:latin typeface="Calibri"/>
                <a:ea typeface="+mn-ea"/>
                <a:cs typeface="Arial" panose="020B0604020202020204" pitchFamily="34" charset="0"/>
              </a:rPr>
              <a:t>Handpop </a:t>
            </a:r>
          </a:p>
          <a:p>
            <a:pPr marL="0" marR="0" lvl="0" indent="0" algn="ctr" defTabSz="914400" rtl="0" eaLnBrk="1" fontAlgn="ctr" latinLnBrk="0" hangingPunct="1">
              <a:lnSpc>
                <a:spcPct val="90000"/>
              </a:lnSpc>
              <a:spcBef>
                <a:spcPts val="0"/>
              </a:spcBef>
              <a:spcAft>
                <a:spcPts val="0"/>
              </a:spcAft>
              <a:buClrTx/>
              <a:buSzTx/>
              <a:buFontTx/>
              <a:buNone/>
              <a:tabLst/>
              <a:defRPr/>
            </a:pPr>
            <a:r>
              <a:rPr kumimoji="0" lang="nl-NL" sz="1600" b="0" i="0" u="none" strike="noStrike" kern="1200" cap="none" spc="0" normalizeH="0" baseline="0" noProof="0" dirty="0" err="1">
                <a:ln>
                  <a:noFill/>
                </a:ln>
                <a:solidFill>
                  <a:prstClr val="white"/>
                </a:solidFill>
                <a:effectLst/>
                <a:uLnTx/>
                <a:uFillTx/>
                <a:latin typeface="Calibri"/>
                <a:ea typeface="+mn-ea"/>
                <a:cs typeface="Arial" panose="020B0604020202020204" pitchFamily="34" charset="0"/>
              </a:rPr>
              <a:t>Pompom</a:t>
            </a:r>
            <a:r>
              <a:rPr kumimoji="0" lang="nl-NL" sz="1600" b="0" i="0" u="none" strike="noStrike" kern="1200" cap="none" spc="0" normalizeH="0" baseline="0" noProof="0" dirty="0">
                <a:ln>
                  <a:noFill/>
                </a:ln>
                <a:solidFill>
                  <a:prstClr val="white"/>
                </a:solidFill>
                <a:effectLst/>
                <a:uLnTx/>
                <a:uFillTx/>
                <a:latin typeface="Calibri"/>
                <a:ea typeface="+mn-ea"/>
                <a:cs typeface="Arial" panose="020B0604020202020204" pitchFamily="34" charset="0"/>
              </a:rPr>
              <a:t> &amp; Zoem</a:t>
            </a:r>
            <a:endParaRPr kumimoji="0" lang="nl-BE" sz="1600" b="0" i="0" u="none" strike="noStrike" kern="1200" cap="none" spc="0" normalizeH="0" baseline="0" noProof="0" dirty="0">
              <a:ln>
                <a:noFill/>
              </a:ln>
              <a:solidFill>
                <a:prstClr val="white"/>
              </a:solidFill>
              <a:effectLst/>
              <a:uLnTx/>
              <a:uFillTx/>
              <a:latin typeface="Calibri"/>
              <a:ea typeface="+mn-ea"/>
              <a:cs typeface="+mn-cs"/>
            </a:endParaRPr>
          </a:p>
        </p:txBody>
      </p:sp>
      <p:sp>
        <p:nvSpPr>
          <p:cNvPr id="15" name="Rechthoek 12"/>
          <p:cNvSpPr/>
          <p:nvPr/>
        </p:nvSpPr>
        <p:spPr>
          <a:xfrm>
            <a:off x="9937351" y="1125540"/>
            <a:ext cx="2286472" cy="320071"/>
          </a:xfrm>
          <a:prstGeom prst="rect">
            <a:avLst/>
          </a:prstGeom>
        </p:spPr>
        <p:txBody>
          <a:bodyPr wrap="square" lIns="91424" tIns="45712" rIns="91424" bIns="45712">
            <a:spAutoFit/>
          </a:bodyPr>
          <a:lstStyle/>
          <a:p>
            <a:pPr marL="0" marR="0" lvl="0" indent="0" algn="ctr" defTabSz="914400" rtl="0" eaLnBrk="1" fontAlgn="ctr" latinLnBrk="0" hangingPunct="1">
              <a:lnSpc>
                <a:spcPct val="90000"/>
              </a:lnSpc>
              <a:spcBef>
                <a:spcPts val="0"/>
              </a:spcBef>
              <a:spcAft>
                <a:spcPts val="0"/>
              </a:spcAft>
              <a:buClrTx/>
              <a:buSzTx/>
              <a:buFontTx/>
              <a:buNone/>
              <a:tabLst/>
              <a:defRPr/>
            </a:pPr>
            <a:r>
              <a:rPr kumimoji="0" lang="nl-NL" sz="1600" b="0" i="0" u="none" strike="noStrike" kern="1200" cap="none" spc="0" normalizeH="0" baseline="0" noProof="0" dirty="0">
                <a:ln>
                  <a:noFill/>
                </a:ln>
                <a:solidFill>
                  <a:prstClr val="white"/>
                </a:solidFill>
                <a:effectLst/>
                <a:uLnTx/>
                <a:uFillTx/>
                <a:latin typeface="Calibri"/>
                <a:ea typeface="+mn-ea"/>
                <a:cs typeface="Arial" panose="020B0604020202020204" pitchFamily="34" charset="0"/>
              </a:rPr>
              <a:t>Zoemverhalen</a:t>
            </a:r>
            <a:endParaRPr kumimoji="0" lang="nl-BE" sz="1600" b="0" i="0" u="none" strike="noStrike" kern="120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35" name="Rechthoek 12"/>
          <p:cNvSpPr/>
          <p:nvPr/>
        </p:nvSpPr>
        <p:spPr>
          <a:xfrm>
            <a:off x="2736233" y="2001379"/>
            <a:ext cx="1486370" cy="320071"/>
          </a:xfrm>
          <a:prstGeom prst="rect">
            <a:avLst/>
          </a:prstGeom>
        </p:spPr>
        <p:txBody>
          <a:bodyPr wrap="square" lIns="91424" tIns="45712" rIns="91424" bIns="45712">
            <a:spAutoFit/>
          </a:bodyPr>
          <a:lstStyle/>
          <a:p>
            <a:pPr marL="0" marR="0" lvl="0" indent="0" algn="ctr" defTabSz="914400" rtl="0" eaLnBrk="1" fontAlgn="ctr" latinLnBrk="0" hangingPunct="1">
              <a:lnSpc>
                <a:spcPct val="90000"/>
              </a:lnSpc>
              <a:spcBef>
                <a:spcPts val="0"/>
              </a:spcBef>
              <a:spcAft>
                <a:spcPts val="0"/>
              </a:spcAft>
              <a:buClrTx/>
              <a:buSzTx/>
              <a:buFontTx/>
              <a:buNone/>
              <a:tabLst/>
              <a:defRPr/>
            </a:pPr>
            <a:r>
              <a:rPr kumimoji="0" lang="nl-BE" sz="1600" b="0" i="0" u="none" strike="noStrike" kern="1200" cap="none" spc="0" normalizeH="0" baseline="0" noProof="0" dirty="0">
                <a:ln>
                  <a:noFill/>
                </a:ln>
                <a:solidFill>
                  <a:prstClr val="white"/>
                </a:solidFill>
                <a:effectLst/>
                <a:uLnTx/>
                <a:uFillTx/>
                <a:latin typeface="Calibri"/>
                <a:ea typeface="+mn-ea"/>
                <a:cs typeface="Arial" panose="020B0604020202020204" pitchFamily="34" charset="0"/>
              </a:rPr>
              <a:t>Woordkaarten</a:t>
            </a:r>
            <a:endParaRPr kumimoji="0" lang="nl-BE" sz="1600" b="0" i="0" u="none" strike="noStrike" kern="1200" cap="none" spc="0" normalizeH="0" baseline="0" noProof="0" dirty="0">
              <a:ln>
                <a:noFill/>
              </a:ln>
              <a:solidFill>
                <a:prstClr val="white"/>
              </a:solidFill>
              <a:effectLst/>
              <a:uLnTx/>
              <a:uFillTx/>
              <a:latin typeface="Calibri"/>
              <a:ea typeface="+mn-ea"/>
              <a:cs typeface="+mn-cs"/>
            </a:endParaRPr>
          </a:p>
        </p:txBody>
      </p:sp>
      <p:sp>
        <p:nvSpPr>
          <p:cNvPr id="38" name="Rechthoek 12"/>
          <p:cNvSpPr/>
          <p:nvPr/>
        </p:nvSpPr>
        <p:spPr>
          <a:xfrm>
            <a:off x="7467716" y="2004637"/>
            <a:ext cx="2286472" cy="320071"/>
          </a:xfrm>
          <a:prstGeom prst="rect">
            <a:avLst/>
          </a:prstGeom>
        </p:spPr>
        <p:txBody>
          <a:bodyPr wrap="square" lIns="91424" tIns="45712" rIns="91424" bIns="45712">
            <a:spAutoFit/>
          </a:bodyPr>
          <a:lstStyle/>
          <a:p>
            <a:pPr marL="0" marR="0" lvl="0" indent="0" algn="ctr" defTabSz="914400" rtl="0" eaLnBrk="1" fontAlgn="ctr" latinLnBrk="0" hangingPunct="1">
              <a:lnSpc>
                <a:spcPct val="90000"/>
              </a:lnSpc>
              <a:spcBef>
                <a:spcPts val="0"/>
              </a:spcBef>
              <a:spcAft>
                <a:spcPts val="0"/>
              </a:spcAft>
              <a:buClrTx/>
              <a:buSzTx/>
              <a:buFontTx/>
              <a:buNone/>
              <a:tabLst/>
              <a:defRPr/>
            </a:pPr>
            <a:r>
              <a:rPr kumimoji="0" lang="nl-BE" sz="1600" b="0" i="0" u="none" strike="noStrike" kern="1200" cap="none" spc="0" normalizeH="0" baseline="0" noProof="0" dirty="0">
                <a:ln>
                  <a:noFill/>
                </a:ln>
                <a:solidFill>
                  <a:prstClr val="white"/>
                </a:solidFill>
                <a:effectLst/>
                <a:uLnTx/>
                <a:uFillTx/>
                <a:latin typeface="Calibri"/>
                <a:ea typeface="+mn-ea"/>
                <a:cs typeface="Arial" panose="020B0604020202020204" pitchFamily="34" charset="0"/>
              </a:rPr>
              <a:t>Getallenwand 0-12</a:t>
            </a:r>
          </a:p>
        </p:txBody>
      </p:sp>
      <p:sp>
        <p:nvSpPr>
          <p:cNvPr id="39" name="Rechthoek 12"/>
          <p:cNvSpPr/>
          <p:nvPr/>
        </p:nvSpPr>
        <p:spPr>
          <a:xfrm>
            <a:off x="10263366" y="2181124"/>
            <a:ext cx="1578329" cy="541671"/>
          </a:xfrm>
          <a:prstGeom prst="rect">
            <a:avLst/>
          </a:prstGeom>
        </p:spPr>
        <p:txBody>
          <a:bodyPr wrap="square" lIns="91424" tIns="45712" rIns="91424" bIns="45712">
            <a:spAutoFit/>
          </a:bodyPr>
          <a:lstStyle/>
          <a:p>
            <a:pPr marL="0" marR="0" lvl="0" indent="0" algn="ctr" defTabSz="914400" rtl="0" eaLnBrk="1" fontAlgn="ctr" latinLnBrk="0" hangingPunct="1">
              <a:lnSpc>
                <a:spcPct val="90000"/>
              </a:lnSpc>
              <a:spcBef>
                <a:spcPts val="0"/>
              </a:spcBef>
              <a:spcAft>
                <a:spcPts val="0"/>
              </a:spcAft>
              <a:buClrTx/>
              <a:buSzTx/>
              <a:buFontTx/>
              <a:buNone/>
              <a:tabLst/>
              <a:defRPr/>
            </a:pPr>
            <a:r>
              <a:rPr kumimoji="0" lang="nl-BE" sz="1600" b="0" i="0" u="none" strike="noStrike" kern="1200" cap="none" spc="0" normalizeH="0" baseline="0" noProof="0" dirty="0">
                <a:ln>
                  <a:noFill/>
                </a:ln>
                <a:solidFill>
                  <a:prstClr val="white"/>
                </a:solidFill>
                <a:effectLst/>
                <a:uLnTx/>
                <a:uFillTx/>
                <a:latin typeface="Calibri"/>
                <a:ea typeface="+mn-ea"/>
                <a:cs typeface="Arial" panose="020B0604020202020204" pitchFamily="34" charset="0"/>
              </a:rPr>
              <a:t>Set van 2 dobbelstenen </a:t>
            </a:r>
          </a:p>
        </p:txBody>
      </p:sp>
      <p:pic>
        <p:nvPicPr>
          <p:cNvPr id="42" name="Picture 4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523886" y="2549568"/>
            <a:ext cx="1566789" cy="1793972"/>
          </a:xfrm>
          <a:prstGeom prst="rect">
            <a:avLst/>
          </a:prstGeom>
        </p:spPr>
      </p:pic>
      <p:pic>
        <p:nvPicPr>
          <p:cNvPr id="51" name="Picture 5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563052" y="1436537"/>
            <a:ext cx="1126062" cy="783099"/>
          </a:xfrm>
          <a:prstGeom prst="rect">
            <a:avLst/>
          </a:prstGeom>
          <a:effectLst>
            <a:outerShdw blurRad="50800" dist="38100" dir="5400000" algn="t" rotWithShape="0">
              <a:prstClr val="black">
                <a:alpha val="40000"/>
              </a:prstClr>
            </a:outerShdw>
          </a:effectLst>
        </p:spPr>
      </p:pic>
      <p:pic>
        <p:nvPicPr>
          <p:cNvPr id="54" name="Picture 5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rot="20062052">
            <a:off x="704756" y="1072451"/>
            <a:ext cx="811863" cy="651738"/>
          </a:xfrm>
          <a:prstGeom prst="rect">
            <a:avLst/>
          </a:prstGeom>
        </p:spPr>
      </p:pic>
      <p:pic>
        <p:nvPicPr>
          <p:cNvPr id="55" name="Picture 5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709724" y="2726578"/>
            <a:ext cx="2644527" cy="1250140"/>
          </a:xfrm>
          <a:prstGeom prst="rect">
            <a:avLst/>
          </a:prstGeom>
        </p:spPr>
      </p:pic>
      <p:pic>
        <p:nvPicPr>
          <p:cNvPr id="3" name="Picture 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465437" y="531760"/>
            <a:ext cx="866144" cy="1299217"/>
          </a:xfrm>
          <a:prstGeom prst="rect">
            <a:avLst/>
          </a:prstGeom>
        </p:spPr>
      </p:pic>
      <p:pic>
        <p:nvPicPr>
          <p:cNvPr id="14" name="Picture 13"/>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0558773" y="265458"/>
            <a:ext cx="1043629" cy="823848"/>
          </a:xfrm>
          <a:prstGeom prst="rect">
            <a:avLst/>
          </a:prstGeom>
          <a:effectLst>
            <a:outerShdw blurRad="50800" dist="38100" dir="2700000" algn="tl" rotWithShape="0">
              <a:prstClr val="black">
                <a:alpha val="40000"/>
              </a:prstClr>
            </a:outerShdw>
          </a:effectLst>
        </p:spPr>
      </p:pic>
      <p:sp>
        <p:nvSpPr>
          <p:cNvPr id="56" name="TextBox 11">
            <a:extLst>
              <a:ext uri="{FF2B5EF4-FFF2-40B4-BE49-F238E27FC236}">
                <a16:creationId xmlns:a16="http://schemas.microsoft.com/office/drawing/2014/main" id="{C6FBD76D-6C6A-417F-83E0-B432C2B9E302}"/>
              </a:ext>
            </a:extLst>
          </p:cNvPr>
          <p:cNvSpPr txBox="1"/>
          <p:nvPr/>
        </p:nvSpPr>
        <p:spPr>
          <a:xfrm>
            <a:off x="97816" y="137727"/>
            <a:ext cx="4476162" cy="480131"/>
          </a:xfrm>
          <a:prstGeom prst="rect">
            <a:avLst/>
          </a:prstGeom>
          <a:noFill/>
        </p:spPr>
        <p:txBody>
          <a:bodyPr wrap="square" rtlCol="0" anchor="b"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tab pos="1971675" algn="l"/>
              </a:tabLst>
              <a:defRPr/>
            </a:pPr>
            <a:r>
              <a:rPr kumimoji="0" lang="nl-BE" sz="2800" b="0" i="0" u="none" strike="noStrike" kern="1200" cap="none" spc="0" normalizeH="0" baseline="0" noProof="0" dirty="0">
                <a:ln>
                  <a:noFill/>
                </a:ln>
                <a:solidFill>
                  <a:prstClr val="white"/>
                </a:solidFill>
                <a:effectLst/>
                <a:uLnTx/>
                <a:uFillTx/>
                <a:latin typeface="Amaranth" panose="02000503000000020004" pitchFamily="50" charset="0"/>
                <a:ea typeface="+mn-ea"/>
                <a:cs typeface="Arial" panose="020B0604020202020204" pitchFamily="34" charset="0"/>
              </a:rPr>
              <a:t>Algemeen pakket</a:t>
            </a:r>
            <a:endParaRPr kumimoji="0" lang="nl-BE" sz="4400" b="0" i="0" u="none" strike="noStrike" kern="120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58" name="Rechthoek 12">
            <a:extLst>
              <a:ext uri="{FF2B5EF4-FFF2-40B4-BE49-F238E27FC236}">
                <a16:creationId xmlns:a16="http://schemas.microsoft.com/office/drawing/2014/main" id="{2FD7C881-782B-478C-86E5-4F9E868506F0}"/>
              </a:ext>
            </a:extLst>
          </p:cNvPr>
          <p:cNvSpPr/>
          <p:nvPr/>
        </p:nvSpPr>
        <p:spPr>
          <a:xfrm>
            <a:off x="4090675" y="2033243"/>
            <a:ext cx="1822938" cy="541671"/>
          </a:xfrm>
          <a:prstGeom prst="rect">
            <a:avLst/>
          </a:prstGeom>
        </p:spPr>
        <p:txBody>
          <a:bodyPr wrap="square" lIns="91424" tIns="45712" rIns="91424" bIns="45712">
            <a:spAutoFit/>
          </a:bodyPr>
          <a:lstStyle/>
          <a:p>
            <a:pPr marL="0" marR="0" lvl="0" indent="0" algn="ctr" defTabSz="914400" rtl="0" eaLnBrk="1" fontAlgn="ctr" latinLnBrk="0" hangingPunct="1">
              <a:lnSpc>
                <a:spcPct val="90000"/>
              </a:lnSpc>
              <a:spcBef>
                <a:spcPts val="0"/>
              </a:spcBef>
              <a:spcAft>
                <a:spcPts val="0"/>
              </a:spcAft>
              <a:buClrTx/>
              <a:buSzTx/>
              <a:buFontTx/>
              <a:buNone/>
              <a:tabLst/>
              <a:defRPr/>
            </a:pPr>
            <a:r>
              <a:rPr kumimoji="0" lang="nl-BE" sz="1600" b="0" i="0" u="none" strike="noStrike" kern="1200" cap="none" spc="0" normalizeH="0" baseline="0" noProof="0" dirty="0">
                <a:ln>
                  <a:noFill/>
                </a:ln>
                <a:solidFill>
                  <a:prstClr val="white"/>
                </a:solidFill>
                <a:effectLst/>
                <a:uLnTx/>
                <a:uFillTx/>
                <a:latin typeface="Calibri"/>
                <a:ea typeface="+mn-ea"/>
                <a:cs typeface="Arial" panose="020B0604020202020204" pitchFamily="34" charset="0"/>
              </a:rPr>
              <a:t>Schatkist-</a:t>
            </a:r>
          </a:p>
          <a:p>
            <a:pPr marL="0" marR="0" lvl="0" indent="0" algn="ctr" defTabSz="914400" rtl="0" eaLnBrk="1" fontAlgn="ctr" latinLnBrk="0" hangingPunct="1">
              <a:lnSpc>
                <a:spcPct val="90000"/>
              </a:lnSpc>
              <a:spcBef>
                <a:spcPts val="0"/>
              </a:spcBef>
              <a:spcAft>
                <a:spcPts val="0"/>
              </a:spcAft>
              <a:buClrTx/>
              <a:buSzTx/>
              <a:buFontTx/>
              <a:buNone/>
              <a:tabLst/>
              <a:defRPr/>
            </a:pPr>
            <a:r>
              <a:rPr kumimoji="0" lang="nl-BE" sz="1600" b="0" i="0" u="none" strike="noStrike" kern="1200" cap="none" spc="0" normalizeH="0" baseline="0" noProof="0" dirty="0">
                <a:ln>
                  <a:noFill/>
                </a:ln>
                <a:solidFill>
                  <a:prstClr val="white"/>
                </a:solidFill>
                <a:effectLst/>
                <a:uLnTx/>
                <a:uFillTx/>
                <a:latin typeface="Calibri"/>
                <a:ea typeface="+mn-ea"/>
                <a:cs typeface="Arial" panose="020B0604020202020204" pitchFamily="34" charset="0"/>
              </a:rPr>
              <a:t>kaarten</a:t>
            </a:r>
            <a:endParaRPr kumimoji="0" lang="nl-BE" sz="1600" b="0" i="0" u="none" strike="noStrike" kern="1200" cap="none" spc="0" normalizeH="0" baseline="0" noProof="0" dirty="0">
              <a:ln>
                <a:noFill/>
              </a:ln>
              <a:solidFill>
                <a:prstClr val="white"/>
              </a:solidFill>
              <a:effectLst/>
              <a:uLnTx/>
              <a:uFillTx/>
              <a:latin typeface="Calibri"/>
              <a:ea typeface="+mn-ea"/>
              <a:cs typeface="+mn-cs"/>
            </a:endParaRPr>
          </a:p>
        </p:txBody>
      </p:sp>
      <p:sp>
        <p:nvSpPr>
          <p:cNvPr id="62" name="Rechthoek 12">
            <a:extLst>
              <a:ext uri="{FF2B5EF4-FFF2-40B4-BE49-F238E27FC236}">
                <a16:creationId xmlns:a16="http://schemas.microsoft.com/office/drawing/2014/main" id="{75393BCF-F092-408F-8F07-5C8DBCEAA509}"/>
              </a:ext>
            </a:extLst>
          </p:cNvPr>
          <p:cNvSpPr/>
          <p:nvPr/>
        </p:nvSpPr>
        <p:spPr>
          <a:xfrm>
            <a:off x="3493750" y="4002064"/>
            <a:ext cx="1578329" cy="320071"/>
          </a:xfrm>
          <a:prstGeom prst="rect">
            <a:avLst/>
          </a:prstGeom>
        </p:spPr>
        <p:txBody>
          <a:bodyPr wrap="square" lIns="91424" tIns="45712" rIns="91424" bIns="45712">
            <a:spAutoFit/>
          </a:bodyPr>
          <a:lstStyle/>
          <a:p>
            <a:pPr marL="0" marR="0" lvl="0" indent="0" algn="ctr" defTabSz="914400" rtl="0" eaLnBrk="1" fontAlgn="ctr" latinLnBrk="0" hangingPunct="1">
              <a:lnSpc>
                <a:spcPct val="90000"/>
              </a:lnSpc>
              <a:spcBef>
                <a:spcPts val="0"/>
              </a:spcBef>
              <a:spcAft>
                <a:spcPts val="0"/>
              </a:spcAft>
              <a:buClrTx/>
              <a:buSzTx/>
              <a:buFontTx/>
              <a:buNone/>
              <a:tabLst/>
              <a:defRPr/>
            </a:pPr>
            <a:r>
              <a:rPr kumimoji="0" lang="nl-BE" sz="1600" b="0" i="0" u="none" strike="noStrike" kern="1200" cap="none" spc="0" normalizeH="0" baseline="0" noProof="0" dirty="0">
                <a:ln>
                  <a:noFill/>
                </a:ln>
                <a:solidFill>
                  <a:prstClr val="white"/>
                </a:solidFill>
                <a:effectLst/>
                <a:uLnTx/>
                <a:uFillTx/>
                <a:latin typeface="Calibri"/>
                <a:ea typeface="+mn-ea"/>
                <a:cs typeface="Arial" panose="020B0604020202020204" pitchFamily="34" charset="0"/>
              </a:rPr>
              <a:t>Schatkist</a:t>
            </a:r>
          </a:p>
        </p:txBody>
      </p:sp>
      <p:sp>
        <p:nvSpPr>
          <p:cNvPr id="63" name="Rechthoek 12">
            <a:extLst>
              <a:ext uri="{FF2B5EF4-FFF2-40B4-BE49-F238E27FC236}">
                <a16:creationId xmlns:a16="http://schemas.microsoft.com/office/drawing/2014/main" id="{1F7B0BA9-0588-4783-8008-D3BBF6E2D47E}"/>
              </a:ext>
            </a:extLst>
          </p:cNvPr>
          <p:cNvSpPr/>
          <p:nvPr/>
        </p:nvSpPr>
        <p:spPr>
          <a:xfrm>
            <a:off x="5313960" y="3999968"/>
            <a:ext cx="1578329" cy="320071"/>
          </a:xfrm>
          <a:prstGeom prst="rect">
            <a:avLst/>
          </a:prstGeom>
        </p:spPr>
        <p:txBody>
          <a:bodyPr wrap="square" lIns="91424" tIns="45712" rIns="91424" bIns="45712">
            <a:spAutoFit/>
          </a:bodyPr>
          <a:lstStyle/>
          <a:p>
            <a:pPr marL="0" marR="0" lvl="0" indent="0" algn="ctr" defTabSz="914400" rtl="0" eaLnBrk="1" fontAlgn="ctr" latinLnBrk="0" hangingPunct="1">
              <a:lnSpc>
                <a:spcPct val="90000"/>
              </a:lnSpc>
              <a:spcBef>
                <a:spcPts val="0"/>
              </a:spcBef>
              <a:spcAft>
                <a:spcPts val="0"/>
              </a:spcAft>
              <a:buClrTx/>
              <a:buSzTx/>
              <a:buFontTx/>
              <a:buNone/>
              <a:tabLst/>
              <a:defRPr/>
            </a:pPr>
            <a:r>
              <a:rPr kumimoji="0" lang="nl-BE" sz="1600" b="0" i="0" u="none" strike="noStrike" kern="1200" cap="none" spc="0" normalizeH="0" baseline="0" noProof="0" dirty="0">
                <a:ln>
                  <a:noFill/>
                </a:ln>
                <a:solidFill>
                  <a:prstClr val="white"/>
                </a:solidFill>
                <a:effectLst/>
                <a:uLnTx/>
                <a:uFillTx/>
                <a:latin typeface="Calibri"/>
                <a:ea typeface="+mn-ea"/>
                <a:cs typeface="Arial" panose="020B0604020202020204" pitchFamily="34" charset="0"/>
              </a:rPr>
              <a:t>Weekkalender</a:t>
            </a:r>
          </a:p>
        </p:txBody>
      </p:sp>
      <p:sp>
        <p:nvSpPr>
          <p:cNvPr id="72" name="TextBox 11">
            <a:extLst>
              <a:ext uri="{FF2B5EF4-FFF2-40B4-BE49-F238E27FC236}">
                <a16:creationId xmlns:a16="http://schemas.microsoft.com/office/drawing/2014/main" id="{6632045E-42C7-4E89-A619-3FC68495175B}"/>
              </a:ext>
            </a:extLst>
          </p:cNvPr>
          <p:cNvSpPr txBox="1"/>
          <p:nvPr/>
        </p:nvSpPr>
        <p:spPr>
          <a:xfrm>
            <a:off x="7773749" y="4765414"/>
            <a:ext cx="2374998" cy="480131"/>
          </a:xfrm>
          <a:prstGeom prst="rect">
            <a:avLst/>
          </a:prstGeom>
          <a:noFill/>
        </p:spPr>
        <p:txBody>
          <a:bodyPr wrap="square" rtlCol="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tab pos="1971675" algn="l"/>
              </a:tabLst>
              <a:defRPr/>
            </a:pPr>
            <a:r>
              <a:rPr kumimoji="0" lang="nl-BE" sz="2800" b="0" i="0" u="none" strike="noStrike" kern="1200" cap="none" spc="0" normalizeH="0" baseline="0" noProof="0" dirty="0">
                <a:ln>
                  <a:noFill/>
                </a:ln>
                <a:solidFill>
                  <a:prstClr val="white"/>
                </a:solidFill>
                <a:effectLst/>
                <a:uLnTx/>
                <a:uFillTx/>
                <a:latin typeface="Amaranth" panose="02000503000000020004" pitchFamily="50" charset="0"/>
                <a:ea typeface="+mn-ea"/>
                <a:cs typeface="Arial" panose="020B0604020202020204" pitchFamily="34" charset="0"/>
              </a:rPr>
              <a:t>Jaarpakket 2</a:t>
            </a:r>
            <a:endParaRPr kumimoji="0" lang="nl-BE" sz="2800" b="0" i="0" u="none" strike="noStrike" kern="120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73" name="TextBox 11">
            <a:extLst>
              <a:ext uri="{FF2B5EF4-FFF2-40B4-BE49-F238E27FC236}">
                <a16:creationId xmlns:a16="http://schemas.microsoft.com/office/drawing/2014/main" id="{D0986BC1-7DFA-4294-BA86-3606B75282CE}"/>
              </a:ext>
            </a:extLst>
          </p:cNvPr>
          <p:cNvSpPr txBox="1"/>
          <p:nvPr/>
        </p:nvSpPr>
        <p:spPr>
          <a:xfrm>
            <a:off x="3229458" y="4765414"/>
            <a:ext cx="2215444" cy="480131"/>
          </a:xfrm>
          <a:prstGeom prst="rect">
            <a:avLst/>
          </a:prstGeom>
          <a:noFill/>
        </p:spPr>
        <p:txBody>
          <a:bodyPr wrap="square" rtlCol="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tab pos="1971675" algn="l"/>
              </a:tabLst>
              <a:defRPr/>
            </a:pPr>
            <a:r>
              <a:rPr kumimoji="0" lang="nl-BE" sz="2800" b="0" i="0" u="none" strike="noStrike" kern="1200" cap="none" spc="0" normalizeH="0" baseline="0" noProof="0" dirty="0">
                <a:ln>
                  <a:noFill/>
                </a:ln>
                <a:solidFill>
                  <a:prstClr val="white"/>
                </a:solidFill>
                <a:effectLst/>
                <a:uLnTx/>
                <a:uFillTx/>
                <a:latin typeface="Amaranth" panose="02000503000000020004" pitchFamily="50" charset="0"/>
                <a:ea typeface="+mn-ea"/>
                <a:cs typeface="Arial" panose="020B0604020202020204" pitchFamily="34" charset="0"/>
              </a:rPr>
              <a:t>Jaarpakket 1</a:t>
            </a:r>
          </a:p>
        </p:txBody>
      </p:sp>
      <p:cxnSp>
        <p:nvCxnSpPr>
          <p:cNvPr id="12" name="Rechte verbindingslijn 11">
            <a:extLst>
              <a:ext uri="{FF2B5EF4-FFF2-40B4-BE49-F238E27FC236}">
                <a16:creationId xmlns:a16="http://schemas.microsoft.com/office/drawing/2014/main" id="{E1215E45-3D77-48DB-8C12-2C6DD370AD4B}"/>
              </a:ext>
            </a:extLst>
          </p:cNvPr>
          <p:cNvCxnSpPr>
            <a:cxnSpLocks/>
          </p:cNvCxnSpPr>
          <p:nvPr/>
        </p:nvCxnSpPr>
        <p:spPr>
          <a:xfrm>
            <a:off x="2570627" y="4618066"/>
            <a:ext cx="962137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Rechte verbindingslijn 42">
            <a:extLst>
              <a:ext uri="{FF2B5EF4-FFF2-40B4-BE49-F238E27FC236}">
                <a16:creationId xmlns:a16="http://schemas.microsoft.com/office/drawing/2014/main" id="{B9AAB5A3-AD58-475B-8169-A7177E97108F}"/>
              </a:ext>
            </a:extLst>
          </p:cNvPr>
          <p:cNvCxnSpPr>
            <a:cxnSpLocks/>
          </p:cNvCxnSpPr>
          <p:nvPr/>
        </p:nvCxnSpPr>
        <p:spPr>
          <a:xfrm>
            <a:off x="7647080" y="4597843"/>
            <a:ext cx="14260" cy="228152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44" name="Afbeelding 43">
            <a:extLst>
              <a:ext uri="{FF2B5EF4-FFF2-40B4-BE49-F238E27FC236}">
                <a16:creationId xmlns:a16="http://schemas.microsoft.com/office/drawing/2014/main" id="{25148F37-94C7-467E-B051-AEBAA1A8EC42}"/>
              </a:ext>
            </a:extLst>
          </p:cNvPr>
          <p:cNvPicPr>
            <a:picLocks noChangeAspect="1"/>
          </p:cNvPicPr>
          <p:nvPr/>
        </p:nvPicPr>
        <p:blipFill>
          <a:blip r:embed="rId15"/>
          <a:stretch>
            <a:fillRect/>
          </a:stretch>
        </p:blipFill>
        <p:spPr>
          <a:xfrm>
            <a:off x="7669592" y="2826143"/>
            <a:ext cx="1562541" cy="1086607"/>
          </a:xfrm>
          <a:prstGeom prst="rect">
            <a:avLst/>
          </a:prstGeom>
        </p:spPr>
      </p:pic>
      <p:sp>
        <p:nvSpPr>
          <p:cNvPr id="75" name="Rechthoek 12">
            <a:extLst>
              <a:ext uri="{FF2B5EF4-FFF2-40B4-BE49-F238E27FC236}">
                <a16:creationId xmlns:a16="http://schemas.microsoft.com/office/drawing/2014/main" id="{6BF39644-C1B8-45E5-86FF-A7DE817D6194}"/>
              </a:ext>
            </a:extLst>
          </p:cNvPr>
          <p:cNvSpPr/>
          <p:nvPr/>
        </p:nvSpPr>
        <p:spPr>
          <a:xfrm>
            <a:off x="7695136" y="3978526"/>
            <a:ext cx="1578329" cy="320071"/>
          </a:xfrm>
          <a:prstGeom prst="rect">
            <a:avLst/>
          </a:prstGeom>
        </p:spPr>
        <p:txBody>
          <a:bodyPr wrap="square" lIns="91424" tIns="45712" rIns="91424" bIns="45712">
            <a:spAutoFit/>
          </a:bodyPr>
          <a:lstStyle/>
          <a:p>
            <a:pPr marL="0" marR="0" lvl="0" indent="0" algn="ctr" defTabSz="914400" rtl="0" eaLnBrk="1" fontAlgn="ctr" latinLnBrk="0" hangingPunct="1">
              <a:lnSpc>
                <a:spcPct val="90000"/>
              </a:lnSpc>
              <a:spcBef>
                <a:spcPts val="0"/>
              </a:spcBef>
              <a:spcAft>
                <a:spcPts val="0"/>
              </a:spcAft>
              <a:buClrTx/>
              <a:buSzTx/>
              <a:buFontTx/>
              <a:buNone/>
              <a:tabLst/>
              <a:defRPr/>
            </a:pPr>
            <a:r>
              <a:rPr kumimoji="0" lang="nl-BE" sz="1600" b="0" i="0" u="none" strike="noStrike" kern="1200" cap="none" spc="0" normalizeH="0" baseline="0" noProof="0" dirty="0">
                <a:ln>
                  <a:noFill/>
                </a:ln>
                <a:solidFill>
                  <a:prstClr val="white"/>
                </a:solidFill>
                <a:effectLst/>
                <a:uLnTx/>
                <a:uFillTx/>
                <a:latin typeface="Calibri"/>
                <a:ea typeface="+mn-ea"/>
                <a:cs typeface="Arial" panose="020B0604020202020204" pitchFamily="34" charset="0"/>
              </a:rPr>
              <a:t>Reiskaart</a:t>
            </a:r>
          </a:p>
        </p:txBody>
      </p:sp>
      <p:pic>
        <p:nvPicPr>
          <p:cNvPr id="6" name="Afbeelding 5">
            <a:extLst>
              <a:ext uri="{FF2B5EF4-FFF2-40B4-BE49-F238E27FC236}">
                <a16:creationId xmlns:a16="http://schemas.microsoft.com/office/drawing/2014/main" id="{1EE66D59-A491-411B-9DAD-5B3BE8F7BA57}"/>
              </a:ext>
            </a:extLst>
          </p:cNvPr>
          <p:cNvPicPr>
            <a:picLocks noChangeAspect="1"/>
          </p:cNvPicPr>
          <p:nvPr/>
        </p:nvPicPr>
        <p:blipFill>
          <a:blip r:embed="rId16"/>
          <a:stretch>
            <a:fillRect/>
          </a:stretch>
        </p:blipFill>
        <p:spPr>
          <a:xfrm>
            <a:off x="10005435" y="2986415"/>
            <a:ext cx="644636" cy="919874"/>
          </a:xfrm>
          <a:prstGeom prst="rect">
            <a:avLst/>
          </a:prstGeom>
        </p:spPr>
      </p:pic>
      <p:sp>
        <p:nvSpPr>
          <p:cNvPr id="40" name="Rechthoek 12">
            <a:extLst>
              <a:ext uri="{FF2B5EF4-FFF2-40B4-BE49-F238E27FC236}">
                <a16:creationId xmlns:a16="http://schemas.microsoft.com/office/drawing/2014/main" id="{73C03466-871E-4339-BBBE-9A23073CC221}"/>
              </a:ext>
            </a:extLst>
          </p:cNvPr>
          <p:cNvSpPr/>
          <p:nvPr/>
        </p:nvSpPr>
        <p:spPr>
          <a:xfrm>
            <a:off x="9509432" y="3994576"/>
            <a:ext cx="1571156" cy="541671"/>
          </a:xfrm>
          <a:prstGeom prst="rect">
            <a:avLst/>
          </a:prstGeom>
        </p:spPr>
        <p:txBody>
          <a:bodyPr wrap="square" lIns="91424" tIns="45712" rIns="91424" bIns="45712">
            <a:spAutoFit/>
          </a:bodyPr>
          <a:lstStyle/>
          <a:p>
            <a:pPr marL="0" marR="0" lvl="0" indent="0" algn="ctr" defTabSz="914400" rtl="0" eaLnBrk="1" fontAlgn="ctr" latinLnBrk="0" hangingPunct="1">
              <a:lnSpc>
                <a:spcPct val="90000"/>
              </a:lnSpc>
              <a:spcBef>
                <a:spcPts val="0"/>
              </a:spcBef>
              <a:spcAft>
                <a:spcPts val="0"/>
              </a:spcAft>
              <a:buClrTx/>
              <a:buSzTx/>
              <a:buFontTx/>
              <a:buNone/>
              <a:tabLst/>
              <a:defRPr/>
            </a:pPr>
            <a:r>
              <a:rPr kumimoji="0" lang="nl-NL"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a:t>
            </a:r>
            <a:r>
              <a:rPr kumimoji="0" lang="nl-NL" sz="1600" b="0" i="0" u="none" strike="noStrike" kern="1200" cap="none" spc="0" normalizeH="0" baseline="0" noProof="0" dirty="0">
                <a:ln>
                  <a:noFill/>
                </a:ln>
                <a:solidFill>
                  <a:prstClr val="white"/>
                </a:solidFill>
                <a:effectLst/>
                <a:uLnTx/>
                <a:uFillTx/>
                <a:latin typeface="Calibri"/>
                <a:ea typeface="+mn-ea"/>
                <a:cs typeface="Arial" panose="020B0604020202020204" pitchFamily="34" charset="0"/>
              </a:rPr>
              <a:t>ebruiks-</a:t>
            </a:r>
          </a:p>
          <a:p>
            <a:pPr marL="0" marR="0" lvl="0" indent="0" algn="ctr" defTabSz="914400" rtl="0" eaLnBrk="1" fontAlgn="ctr" latinLnBrk="0" hangingPunct="1">
              <a:lnSpc>
                <a:spcPct val="90000"/>
              </a:lnSpc>
              <a:spcBef>
                <a:spcPts val="0"/>
              </a:spcBef>
              <a:spcAft>
                <a:spcPts val="0"/>
              </a:spcAft>
              <a:buClrTx/>
              <a:buSzTx/>
              <a:buFontTx/>
              <a:buNone/>
              <a:tabLst/>
              <a:defRPr/>
            </a:pPr>
            <a:r>
              <a:rPr kumimoji="0" lang="nl-NL" sz="1600" b="0" i="0" u="none" strike="noStrike" kern="1200" cap="none" spc="0" normalizeH="0" baseline="0" noProof="0" dirty="0">
                <a:ln>
                  <a:noFill/>
                </a:ln>
                <a:solidFill>
                  <a:prstClr val="white"/>
                </a:solidFill>
                <a:effectLst/>
                <a:uLnTx/>
                <a:uFillTx/>
                <a:latin typeface="Calibri"/>
                <a:ea typeface="+mn-ea"/>
                <a:cs typeface="Arial" panose="020B0604020202020204" pitchFamily="34" charset="0"/>
              </a:rPr>
              <a:t>wijzer</a:t>
            </a:r>
            <a:endParaRPr kumimoji="0" lang="nl-BE" sz="1600" b="0" i="0" u="none" strike="noStrike" kern="1200" cap="none" spc="0" normalizeH="0" baseline="0" noProof="0" dirty="0">
              <a:ln>
                <a:noFill/>
              </a:ln>
              <a:solidFill>
                <a:prstClr val="white"/>
              </a:solidFill>
              <a:effectLst/>
              <a:uLnTx/>
              <a:uFillTx/>
              <a:latin typeface="Calibri"/>
              <a:ea typeface="+mn-ea"/>
              <a:cs typeface="Arial" panose="020B0604020202020204" pitchFamily="34" charset="0"/>
            </a:endParaRPr>
          </a:p>
        </p:txBody>
      </p:sp>
      <p:pic>
        <p:nvPicPr>
          <p:cNvPr id="10" name="Afbeelding 9">
            <a:extLst>
              <a:ext uri="{FF2B5EF4-FFF2-40B4-BE49-F238E27FC236}">
                <a16:creationId xmlns:a16="http://schemas.microsoft.com/office/drawing/2014/main" id="{770349A5-7DBD-4A99-84E9-7500282376CB}"/>
              </a:ext>
            </a:extLst>
          </p:cNvPr>
          <p:cNvPicPr>
            <a:picLocks noChangeAspect="1"/>
          </p:cNvPicPr>
          <p:nvPr/>
        </p:nvPicPr>
        <p:blipFill>
          <a:blip r:embed="rId17" cstate="hqprint">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265257" y="368208"/>
            <a:ext cx="2418662" cy="1710273"/>
          </a:xfrm>
          <a:prstGeom prst="rect">
            <a:avLst/>
          </a:prstGeom>
        </p:spPr>
      </p:pic>
      <p:pic>
        <p:nvPicPr>
          <p:cNvPr id="11" name="Afbeelding 10">
            <a:extLst>
              <a:ext uri="{FF2B5EF4-FFF2-40B4-BE49-F238E27FC236}">
                <a16:creationId xmlns:a16="http://schemas.microsoft.com/office/drawing/2014/main" id="{9AA29F49-EDB7-499E-A086-EF01AD24B422}"/>
              </a:ext>
            </a:extLst>
          </p:cNvPr>
          <p:cNvPicPr>
            <a:picLocks noChangeAspect="1"/>
          </p:cNvPicPr>
          <p:nvPr/>
        </p:nvPicPr>
        <p:blipFill>
          <a:blip r:embed="rId19"/>
          <a:stretch>
            <a:fillRect/>
          </a:stretch>
        </p:blipFill>
        <p:spPr>
          <a:xfrm>
            <a:off x="10985614" y="2974765"/>
            <a:ext cx="646091" cy="945166"/>
          </a:xfrm>
          <a:prstGeom prst="rect">
            <a:avLst/>
          </a:prstGeom>
        </p:spPr>
      </p:pic>
      <p:sp>
        <p:nvSpPr>
          <p:cNvPr id="45" name="Rechthoek 12">
            <a:extLst>
              <a:ext uri="{FF2B5EF4-FFF2-40B4-BE49-F238E27FC236}">
                <a16:creationId xmlns:a16="http://schemas.microsoft.com/office/drawing/2014/main" id="{E389C9E9-8F1D-46E0-9B18-20FC2E548308}"/>
              </a:ext>
            </a:extLst>
          </p:cNvPr>
          <p:cNvSpPr/>
          <p:nvPr/>
        </p:nvSpPr>
        <p:spPr>
          <a:xfrm>
            <a:off x="10509956" y="4002064"/>
            <a:ext cx="1578329" cy="320071"/>
          </a:xfrm>
          <a:prstGeom prst="rect">
            <a:avLst/>
          </a:prstGeom>
        </p:spPr>
        <p:txBody>
          <a:bodyPr wrap="square" lIns="91424" tIns="45712" rIns="91424" bIns="45712">
            <a:spAutoFit/>
          </a:bodyPr>
          <a:lstStyle/>
          <a:p>
            <a:pPr marL="0" marR="0" lvl="0" indent="0" algn="ctr" defTabSz="914400" rtl="0" eaLnBrk="1" fontAlgn="ctr" latinLnBrk="0" hangingPunct="1">
              <a:lnSpc>
                <a:spcPct val="90000"/>
              </a:lnSpc>
              <a:spcBef>
                <a:spcPts val="0"/>
              </a:spcBef>
              <a:spcAft>
                <a:spcPts val="0"/>
              </a:spcAft>
              <a:buClrTx/>
              <a:buSzTx/>
              <a:buFontTx/>
              <a:buNone/>
              <a:tabLst/>
              <a:defRPr/>
            </a:pPr>
            <a:r>
              <a:rPr kumimoji="0" lang="nl-BE" sz="1600" b="0" i="0" u="none" strike="noStrike" kern="1200" cap="none" spc="0" normalizeH="0" baseline="0" noProof="0" dirty="0">
                <a:ln>
                  <a:noFill/>
                </a:ln>
                <a:solidFill>
                  <a:prstClr val="white"/>
                </a:solidFill>
                <a:effectLst/>
                <a:uLnTx/>
                <a:uFillTx/>
                <a:latin typeface="Calibri"/>
                <a:ea typeface="+mn-ea"/>
                <a:cs typeface="Arial" panose="020B0604020202020204" pitchFamily="34" charset="0"/>
              </a:rPr>
              <a:t>Startgids</a:t>
            </a:r>
          </a:p>
        </p:txBody>
      </p:sp>
      <p:pic>
        <p:nvPicPr>
          <p:cNvPr id="16" name="Afbeelding 15">
            <a:extLst>
              <a:ext uri="{FF2B5EF4-FFF2-40B4-BE49-F238E27FC236}">
                <a16:creationId xmlns:a16="http://schemas.microsoft.com/office/drawing/2014/main" id="{FBB2FF76-1E90-4FA5-BD24-08B787844099}"/>
              </a:ext>
            </a:extLst>
          </p:cNvPr>
          <p:cNvPicPr>
            <a:picLocks noChangeAspect="1"/>
          </p:cNvPicPr>
          <p:nvPr/>
        </p:nvPicPr>
        <p:blipFill>
          <a:blip r:embed="rId20"/>
          <a:stretch>
            <a:fillRect/>
          </a:stretch>
        </p:blipFill>
        <p:spPr>
          <a:xfrm>
            <a:off x="4789154" y="5305108"/>
            <a:ext cx="900572" cy="1283315"/>
          </a:xfrm>
          <a:prstGeom prst="rect">
            <a:avLst/>
          </a:prstGeom>
        </p:spPr>
      </p:pic>
      <p:pic>
        <p:nvPicPr>
          <p:cNvPr id="20" name="Afbeelding 19">
            <a:extLst>
              <a:ext uri="{FF2B5EF4-FFF2-40B4-BE49-F238E27FC236}">
                <a16:creationId xmlns:a16="http://schemas.microsoft.com/office/drawing/2014/main" id="{B5D97FFF-CF5F-49F0-962F-015B45CC6A23}"/>
              </a:ext>
            </a:extLst>
          </p:cNvPr>
          <p:cNvPicPr>
            <a:picLocks noChangeAspect="1"/>
          </p:cNvPicPr>
          <p:nvPr/>
        </p:nvPicPr>
        <p:blipFill>
          <a:blip r:embed="rId21"/>
          <a:stretch>
            <a:fillRect/>
          </a:stretch>
        </p:blipFill>
        <p:spPr>
          <a:xfrm>
            <a:off x="5633584" y="4811580"/>
            <a:ext cx="655627" cy="1125625"/>
          </a:xfrm>
          <a:prstGeom prst="rect">
            <a:avLst/>
          </a:prstGeom>
        </p:spPr>
      </p:pic>
      <p:pic>
        <p:nvPicPr>
          <p:cNvPr id="18" name="Afbeelding 17">
            <a:extLst>
              <a:ext uri="{FF2B5EF4-FFF2-40B4-BE49-F238E27FC236}">
                <a16:creationId xmlns:a16="http://schemas.microsoft.com/office/drawing/2014/main" id="{0B5337BF-B82B-4FAF-945C-9CEEC006E769}"/>
              </a:ext>
            </a:extLst>
          </p:cNvPr>
          <p:cNvPicPr>
            <a:picLocks noChangeAspect="1"/>
          </p:cNvPicPr>
          <p:nvPr/>
        </p:nvPicPr>
        <p:blipFill>
          <a:blip r:embed="rId22"/>
          <a:stretch>
            <a:fillRect/>
          </a:stretch>
        </p:blipFill>
        <p:spPr>
          <a:xfrm>
            <a:off x="6249150" y="5237750"/>
            <a:ext cx="1049042" cy="1350674"/>
          </a:xfrm>
          <a:prstGeom prst="rect">
            <a:avLst/>
          </a:prstGeom>
        </p:spPr>
      </p:pic>
      <p:pic>
        <p:nvPicPr>
          <p:cNvPr id="19" name="Afbeelding 18">
            <a:extLst>
              <a:ext uri="{FF2B5EF4-FFF2-40B4-BE49-F238E27FC236}">
                <a16:creationId xmlns:a16="http://schemas.microsoft.com/office/drawing/2014/main" id="{8F5A2E2F-7C9B-4B8C-A512-D2C71D7406EA}"/>
              </a:ext>
            </a:extLst>
          </p:cNvPr>
          <p:cNvPicPr>
            <a:picLocks noChangeAspect="1"/>
          </p:cNvPicPr>
          <p:nvPr/>
        </p:nvPicPr>
        <p:blipFill>
          <a:blip r:embed="rId23"/>
          <a:stretch>
            <a:fillRect/>
          </a:stretch>
        </p:blipFill>
        <p:spPr>
          <a:xfrm>
            <a:off x="10800493" y="5258644"/>
            <a:ext cx="1040230" cy="1329779"/>
          </a:xfrm>
          <a:prstGeom prst="rect">
            <a:avLst/>
          </a:prstGeom>
        </p:spPr>
      </p:pic>
      <p:pic>
        <p:nvPicPr>
          <p:cNvPr id="41" name="Afbeelding 40">
            <a:extLst>
              <a:ext uri="{FF2B5EF4-FFF2-40B4-BE49-F238E27FC236}">
                <a16:creationId xmlns:a16="http://schemas.microsoft.com/office/drawing/2014/main" id="{DABA156C-4AD3-4B31-9432-654A84E766B0}"/>
              </a:ext>
            </a:extLst>
          </p:cNvPr>
          <p:cNvPicPr>
            <a:picLocks noChangeAspect="1"/>
          </p:cNvPicPr>
          <p:nvPr/>
        </p:nvPicPr>
        <p:blipFill>
          <a:blip r:embed="rId24" cstate="hqprint">
            <a:extLst>
              <a:ext uri="{28A0092B-C50C-407E-A947-70E740481C1C}">
                <a14:useLocalDpi xmlns:a14="http://schemas.microsoft.com/office/drawing/2010/main" val="0"/>
              </a:ext>
            </a:extLst>
          </a:blip>
          <a:stretch>
            <a:fillRect/>
          </a:stretch>
        </p:blipFill>
        <p:spPr>
          <a:xfrm>
            <a:off x="3780593" y="331470"/>
            <a:ext cx="2323452" cy="1642608"/>
          </a:xfrm>
          <a:prstGeom prst="rect">
            <a:avLst/>
          </a:prstGeom>
        </p:spPr>
      </p:pic>
      <p:pic>
        <p:nvPicPr>
          <p:cNvPr id="22" name="Afbeelding 21">
            <a:extLst>
              <a:ext uri="{FF2B5EF4-FFF2-40B4-BE49-F238E27FC236}">
                <a16:creationId xmlns:a16="http://schemas.microsoft.com/office/drawing/2014/main" id="{557D7FFF-1D01-4399-B7F6-E713DBDC86BE}"/>
              </a:ext>
            </a:extLst>
          </p:cNvPr>
          <p:cNvPicPr>
            <a:picLocks noChangeAspect="1"/>
          </p:cNvPicPr>
          <p:nvPr/>
        </p:nvPicPr>
        <p:blipFill>
          <a:blip r:embed="rId25" cstate="hqprint">
            <a:extLst>
              <a:ext uri="{28A0092B-C50C-407E-A947-70E740481C1C}">
                <a14:useLocalDpi xmlns:a14="http://schemas.microsoft.com/office/drawing/2010/main" val="0"/>
              </a:ext>
            </a:extLst>
          </a:blip>
          <a:stretch>
            <a:fillRect/>
          </a:stretch>
        </p:blipFill>
        <p:spPr>
          <a:xfrm flipH="1">
            <a:off x="9376606" y="5330785"/>
            <a:ext cx="883811" cy="1257638"/>
          </a:xfrm>
          <a:prstGeom prst="rect">
            <a:avLst/>
          </a:prstGeom>
        </p:spPr>
      </p:pic>
      <p:pic>
        <p:nvPicPr>
          <p:cNvPr id="2" name="Afbeelding 1">
            <a:extLst>
              <a:ext uri="{FF2B5EF4-FFF2-40B4-BE49-F238E27FC236}">
                <a16:creationId xmlns:a16="http://schemas.microsoft.com/office/drawing/2014/main" id="{6C39F476-F030-4EEA-B6C5-43B051CBB312}"/>
              </a:ext>
            </a:extLst>
          </p:cNvPr>
          <p:cNvPicPr>
            <a:picLocks noChangeAspect="1"/>
          </p:cNvPicPr>
          <p:nvPr/>
        </p:nvPicPr>
        <p:blipFill>
          <a:blip r:embed="rId26"/>
          <a:stretch>
            <a:fillRect/>
          </a:stretch>
        </p:blipFill>
        <p:spPr>
          <a:xfrm>
            <a:off x="10231157" y="5104321"/>
            <a:ext cx="692692" cy="1125625"/>
          </a:xfrm>
          <a:prstGeom prst="rect">
            <a:avLst/>
          </a:prstGeom>
        </p:spPr>
      </p:pic>
      <p:pic>
        <p:nvPicPr>
          <p:cNvPr id="46" name="Afbeelding 45">
            <a:extLst>
              <a:ext uri="{FF2B5EF4-FFF2-40B4-BE49-F238E27FC236}">
                <a16:creationId xmlns:a16="http://schemas.microsoft.com/office/drawing/2014/main" id="{6CA2E341-C46B-41EB-97D0-7446A9DA292B}"/>
              </a:ext>
            </a:extLst>
          </p:cNvPr>
          <p:cNvPicPr>
            <a:picLocks noChangeAspect="1"/>
          </p:cNvPicPr>
          <p:nvPr/>
        </p:nvPicPr>
        <p:blipFill>
          <a:blip r:embed="rId27" cstate="hqprint">
            <a:extLst>
              <a:ext uri="{28A0092B-C50C-407E-A947-70E740481C1C}">
                <a14:useLocalDpi xmlns:a14="http://schemas.microsoft.com/office/drawing/2010/main" val="0"/>
              </a:ext>
            </a:extLst>
          </a:blip>
          <a:stretch>
            <a:fillRect/>
          </a:stretch>
        </p:blipFill>
        <p:spPr>
          <a:xfrm>
            <a:off x="7429976" y="531760"/>
            <a:ext cx="2628703" cy="1331393"/>
          </a:xfrm>
          <a:prstGeom prst="rect">
            <a:avLst/>
          </a:prstGeom>
        </p:spPr>
      </p:pic>
      <p:pic>
        <p:nvPicPr>
          <p:cNvPr id="47" name="Afbeelding 46">
            <a:extLst>
              <a:ext uri="{FF2B5EF4-FFF2-40B4-BE49-F238E27FC236}">
                <a16:creationId xmlns:a16="http://schemas.microsoft.com/office/drawing/2014/main" id="{574F3A04-F370-414F-9E61-61288486843B}"/>
              </a:ext>
            </a:extLst>
          </p:cNvPr>
          <p:cNvPicPr>
            <a:picLocks noChangeAspect="1"/>
          </p:cNvPicPr>
          <p:nvPr/>
        </p:nvPicPr>
        <p:blipFill>
          <a:blip r:embed="rId28" cstate="hqprint">
            <a:extLst>
              <a:ext uri="{BEBA8EAE-BF5A-486C-A8C5-ECC9F3942E4B}">
                <a14:imgProps xmlns:a14="http://schemas.microsoft.com/office/drawing/2010/main">
                  <a14:imgLayer r:embed="rId2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920614" y="228439"/>
            <a:ext cx="2695255" cy="1905857"/>
          </a:xfrm>
          <a:prstGeom prst="rect">
            <a:avLst/>
          </a:prstGeom>
        </p:spPr>
      </p:pic>
      <p:sp>
        <p:nvSpPr>
          <p:cNvPr id="48" name="Rechthoek 12">
            <a:extLst>
              <a:ext uri="{FF2B5EF4-FFF2-40B4-BE49-F238E27FC236}">
                <a16:creationId xmlns:a16="http://schemas.microsoft.com/office/drawing/2014/main" id="{06CF4625-3495-40C6-8A5D-E77EF8A8C7A5}"/>
              </a:ext>
            </a:extLst>
          </p:cNvPr>
          <p:cNvSpPr/>
          <p:nvPr/>
        </p:nvSpPr>
        <p:spPr>
          <a:xfrm>
            <a:off x="5395852" y="2037869"/>
            <a:ext cx="1976226" cy="535515"/>
          </a:xfrm>
          <a:prstGeom prst="rect">
            <a:avLst/>
          </a:prstGeom>
        </p:spPr>
        <p:txBody>
          <a:bodyPr wrap="square" lIns="91424" tIns="45712" rIns="91424" bIns="45712">
            <a:spAutoFit/>
          </a:bodyPr>
          <a:lstStyle/>
          <a:p>
            <a:pPr marL="0" marR="0" lvl="0" indent="0" algn="ctr" defTabSz="914400" rtl="0" eaLnBrk="1" fontAlgn="ctr" latinLnBrk="0" hangingPunct="1">
              <a:lnSpc>
                <a:spcPct val="90000"/>
              </a:lnSpc>
              <a:spcBef>
                <a:spcPts val="0"/>
              </a:spcBef>
              <a:spcAft>
                <a:spcPts val="0"/>
              </a:spcAft>
              <a:buClrTx/>
              <a:buSzTx/>
              <a:buFontTx/>
              <a:buNone/>
              <a:tabLst/>
              <a:defRPr/>
            </a:pPr>
            <a:r>
              <a:rPr kumimoji="0" lang="nl-BE" sz="1600" b="0" i="0" u="none" strike="noStrike" kern="1200" cap="none" spc="0" normalizeH="0" baseline="0" noProof="0" dirty="0">
                <a:ln>
                  <a:noFill/>
                </a:ln>
                <a:solidFill>
                  <a:prstClr val="white"/>
                </a:solidFill>
                <a:effectLst/>
                <a:uLnTx/>
                <a:uFillTx/>
                <a:latin typeface="Calibri"/>
                <a:ea typeface="+mn-ea"/>
                <a:cs typeface="Arial" panose="020B0604020202020204" pitchFamily="34" charset="0"/>
              </a:rPr>
              <a:t>Op taaltocht-</a:t>
            </a:r>
          </a:p>
          <a:p>
            <a:pPr marL="0" marR="0" lvl="0" indent="0" algn="ctr" defTabSz="914400" rtl="0" eaLnBrk="1" fontAlgn="ctr" latinLnBrk="0" hangingPunct="1">
              <a:lnSpc>
                <a:spcPct val="90000"/>
              </a:lnSpc>
              <a:spcBef>
                <a:spcPts val="0"/>
              </a:spcBef>
              <a:spcAft>
                <a:spcPts val="0"/>
              </a:spcAft>
              <a:buClrTx/>
              <a:buSzTx/>
              <a:buFontTx/>
              <a:buNone/>
              <a:tabLst/>
              <a:defRPr/>
            </a:pPr>
            <a:r>
              <a:rPr kumimoji="0" lang="nl-BE" sz="1600" b="0" i="0" u="none" strike="noStrike" kern="1200" cap="none" spc="0" normalizeH="0" baseline="0" noProof="0" dirty="0">
                <a:ln>
                  <a:noFill/>
                </a:ln>
                <a:solidFill>
                  <a:prstClr val="white"/>
                </a:solidFill>
                <a:effectLst/>
                <a:uLnTx/>
                <a:uFillTx/>
                <a:latin typeface="Calibri"/>
                <a:ea typeface="+mn-ea"/>
                <a:cs typeface="Arial" panose="020B0604020202020204" pitchFamily="34" charset="0"/>
              </a:rPr>
              <a:t>kaarten</a:t>
            </a:r>
          </a:p>
        </p:txBody>
      </p:sp>
    </p:spTree>
    <p:extLst>
      <p:ext uri="{BB962C8B-B14F-4D97-AF65-F5344CB8AC3E}">
        <p14:creationId xmlns:p14="http://schemas.microsoft.com/office/powerpoint/2010/main" val="3974676033"/>
      </p:ext>
    </p:extLst>
  </p:cSld>
  <p:clrMapOvr>
    <a:masterClrMapping/>
  </p:clrMapOvr>
  <p:transition spd="slow">
    <p:push/>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2" name="think-cell Slide" r:id="rId5" imgW="353" imgH="353" progId="TCLayout.ActiveDocument.1">
                  <p:embed/>
                </p:oleObj>
              </mc:Choice>
              <mc:Fallback>
                <p:oleObj name="think-cell Slide" r:id="rId5" imgW="353" imgH="353"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9" name="Freeform: Shape 58"/>
          <p:cNvSpPr/>
          <p:nvPr/>
        </p:nvSpPr>
        <p:spPr>
          <a:xfrm flipH="1">
            <a:off x="5729" y="1"/>
            <a:ext cx="11991601" cy="6858000"/>
          </a:xfrm>
          <a:custGeom>
            <a:avLst/>
            <a:gdLst>
              <a:gd name="connsiteX0" fmla="*/ 0 w 9109817"/>
              <a:gd name="connsiteY0" fmla="*/ 94004 h 6999006"/>
              <a:gd name="connsiteX1" fmla="*/ 709301 w 9109817"/>
              <a:gd name="connsiteY1" fmla="*/ 5879507 h 6999006"/>
              <a:gd name="connsiteX2" fmla="*/ 1922804 w 9109817"/>
              <a:gd name="connsiteY2" fmla="*/ 5862415 h 6999006"/>
              <a:gd name="connsiteX3" fmla="*/ 3452501 w 9109817"/>
              <a:gd name="connsiteY3" fmla="*/ 6999006 h 6999006"/>
              <a:gd name="connsiteX4" fmla="*/ 9109817 w 9109817"/>
              <a:gd name="connsiteY4" fmla="*/ 6999006 h 6999006"/>
              <a:gd name="connsiteX5" fmla="*/ 9109817 w 9109817"/>
              <a:gd name="connsiteY5" fmla="*/ 0 h 6999006"/>
              <a:gd name="connsiteX6" fmla="*/ 0 w 9109817"/>
              <a:gd name="connsiteY6" fmla="*/ 94004 h 6999006"/>
              <a:gd name="connsiteX0" fmla="*/ 528426 w 9638243"/>
              <a:gd name="connsiteY0" fmla="*/ 94004 h 6999006"/>
              <a:gd name="connsiteX1" fmla="*/ 1237727 w 9638243"/>
              <a:gd name="connsiteY1" fmla="*/ 5879507 h 6999006"/>
              <a:gd name="connsiteX2" fmla="*/ 2451230 w 9638243"/>
              <a:gd name="connsiteY2" fmla="*/ 5862415 h 6999006"/>
              <a:gd name="connsiteX3" fmla="*/ 3980927 w 9638243"/>
              <a:gd name="connsiteY3" fmla="*/ 6999006 h 6999006"/>
              <a:gd name="connsiteX4" fmla="*/ 9638243 w 9638243"/>
              <a:gd name="connsiteY4" fmla="*/ 6999006 h 6999006"/>
              <a:gd name="connsiteX5" fmla="*/ 9638243 w 9638243"/>
              <a:gd name="connsiteY5" fmla="*/ 0 h 6999006"/>
              <a:gd name="connsiteX6" fmla="*/ 528426 w 9638243"/>
              <a:gd name="connsiteY6" fmla="*/ 94004 h 6999006"/>
              <a:gd name="connsiteX0" fmla="*/ 528426 w 9638243"/>
              <a:gd name="connsiteY0" fmla="*/ 94004 h 6999006"/>
              <a:gd name="connsiteX1" fmla="*/ 1237727 w 9638243"/>
              <a:gd name="connsiteY1" fmla="*/ 5879507 h 6999006"/>
              <a:gd name="connsiteX2" fmla="*/ 2451230 w 9638243"/>
              <a:gd name="connsiteY2" fmla="*/ 5862415 h 6999006"/>
              <a:gd name="connsiteX3" fmla="*/ 3980927 w 9638243"/>
              <a:gd name="connsiteY3" fmla="*/ 6999006 h 6999006"/>
              <a:gd name="connsiteX4" fmla="*/ 9638243 w 9638243"/>
              <a:gd name="connsiteY4" fmla="*/ 6999006 h 6999006"/>
              <a:gd name="connsiteX5" fmla="*/ 9638243 w 9638243"/>
              <a:gd name="connsiteY5" fmla="*/ 0 h 6999006"/>
              <a:gd name="connsiteX6" fmla="*/ 528426 w 9638243"/>
              <a:gd name="connsiteY6" fmla="*/ 94004 h 6999006"/>
              <a:gd name="connsiteX0" fmla="*/ 292742 w 9402559"/>
              <a:gd name="connsiteY0" fmla="*/ 94004 h 6999006"/>
              <a:gd name="connsiteX1" fmla="*/ 1002043 w 9402559"/>
              <a:gd name="connsiteY1" fmla="*/ 5879507 h 6999006"/>
              <a:gd name="connsiteX2" fmla="*/ 2215546 w 9402559"/>
              <a:gd name="connsiteY2" fmla="*/ 5862415 h 6999006"/>
              <a:gd name="connsiteX3" fmla="*/ 3745243 w 9402559"/>
              <a:gd name="connsiteY3" fmla="*/ 6999006 h 6999006"/>
              <a:gd name="connsiteX4" fmla="*/ 9402559 w 9402559"/>
              <a:gd name="connsiteY4" fmla="*/ 6999006 h 6999006"/>
              <a:gd name="connsiteX5" fmla="*/ 9402559 w 9402559"/>
              <a:gd name="connsiteY5" fmla="*/ 0 h 6999006"/>
              <a:gd name="connsiteX6" fmla="*/ 292742 w 9402559"/>
              <a:gd name="connsiteY6" fmla="*/ 94004 h 6999006"/>
              <a:gd name="connsiteX0" fmla="*/ 292742 w 9402559"/>
              <a:gd name="connsiteY0" fmla="*/ 94004 h 6999006"/>
              <a:gd name="connsiteX1" fmla="*/ 1002043 w 9402559"/>
              <a:gd name="connsiteY1" fmla="*/ 5879507 h 6999006"/>
              <a:gd name="connsiteX2" fmla="*/ 3745243 w 9402559"/>
              <a:gd name="connsiteY2" fmla="*/ 6999006 h 6999006"/>
              <a:gd name="connsiteX3" fmla="*/ 9402559 w 9402559"/>
              <a:gd name="connsiteY3" fmla="*/ 6999006 h 6999006"/>
              <a:gd name="connsiteX4" fmla="*/ 9402559 w 9402559"/>
              <a:gd name="connsiteY4" fmla="*/ 0 h 6999006"/>
              <a:gd name="connsiteX5" fmla="*/ 292742 w 9402559"/>
              <a:gd name="connsiteY5" fmla="*/ 94004 h 6999006"/>
              <a:gd name="connsiteX0" fmla="*/ 292742 w 9402559"/>
              <a:gd name="connsiteY0" fmla="*/ 94004 h 6999006"/>
              <a:gd name="connsiteX1" fmla="*/ 1002043 w 9402559"/>
              <a:gd name="connsiteY1" fmla="*/ 5879507 h 6999006"/>
              <a:gd name="connsiteX2" fmla="*/ 3745243 w 9402559"/>
              <a:gd name="connsiteY2" fmla="*/ 6999006 h 6999006"/>
              <a:gd name="connsiteX3" fmla="*/ 9402559 w 9402559"/>
              <a:gd name="connsiteY3" fmla="*/ 6999006 h 6999006"/>
              <a:gd name="connsiteX4" fmla="*/ 9402559 w 9402559"/>
              <a:gd name="connsiteY4" fmla="*/ 0 h 6999006"/>
              <a:gd name="connsiteX5" fmla="*/ 292742 w 9402559"/>
              <a:gd name="connsiteY5" fmla="*/ 94004 h 6999006"/>
              <a:gd name="connsiteX0" fmla="*/ 292742 w 9402559"/>
              <a:gd name="connsiteY0" fmla="*/ 0 h 6905002"/>
              <a:gd name="connsiteX1" fmla="*/ 1002043 w 9402559"/>
              <a:gd name="connsiteY1" fmla="*/ 5785503 h 6905002"/>
              <a:gd name="connsiteX2" fmla="*/ 3745243 w 9402559"/>
              <a:gd name="connsiteY2" fmla="*/ 6905002 h 6905002"/>
              <a:gd name="connsiteX3" fmla="*/ 9402559 w 9402559"/>
              <a:gd name="connsiteY3" fmla="*/ 6905002 h 6905002"/>
              <a:gd name="connsiteX4" fmla="*/ 9325647 w 9402559"/>
              <a:gd name="connsiteY4" fmla="*/ 34183 h 6905002"/>
              <a:gd name="connsiteX5" fmla="*/ 292742 w 9402559"/>
              <a:gd name="connsiteY5" fmla="*/ 0 h 6905002"/>
              <a:gd name="connsiteX0" fmla="*/ 292742 w 9325647"/>
              <a:gd name="connsiteY0" fmla="*/ 0 h 6905002"/>
              <a:gd name="connsiteX1" fmla="*/ 1002043 w 9325647"/>
              <a:gd name="connsiteY1" fmla="*/ 5785503 h 6905002"/>
              <a:gd name="connsiteX2" fmla="*/ 3745243 w 9325647"/>
              <a:gd name="connsiteY2" fmla="*/ 6905002 h 6905002"/>
              <a:gd name="connsiteX3" fmla="*/ 9325647 w 9325647"/>
              <a:gd name="connsiteY3" fmla="*/ 6905002 h 6905002"/>
              <a:gd name="connsiteX4" fmla="*/ 9325647 w 9325647"/>
              <a:gd name="connsiteY4" fmla="*/ 34183 h 6905002"/>
              <a:gd name="connsiteX5" fmla="*/ 292742 w 9325647"/>
              <a:gd name="connsiteY5" fmla="*/ 0 h 6905002"/>
              <a:gd name="connsiteX0" fmla="*/ 292742 w 9325647"/>
              <a:gd name="connsiteY0" fmla="*/ 0 h 6879364"/>
              <a:gd name="connsiteX1" fmla="*/ 1002043 w 9325647"/>
              <a:gd name="connsiteY1" fmla="*/ 5759865 h 6879364"/>
              <a:gd name="connsiteX2" fmla="*/ 3745243 w 9325647"/>
              <a:gd name="connsiteY2" fmla="*/ 6879364 h 6879364"/>
              <a:gd name="connsiteX3" fmla="*/ 9325647 w 9325647"/>
              <a:gd name="connsiteY3" fmla="*/ 6879364 h 6879364"/>
              <a:gd name="connsiteX4" fmla="*/ 9325647 w 9325647"/>
              <a:gd name="connsiteY4" fmla="*/ 8545 h 6879364"/>
              <a:gd name="connsiteX5" fmla="*/ 292742 w 9325647"/>
              <a:gd name="connsiteY5" fmla="*/ 0 h 6879364"/>
              <a:gd name="connsiteX0" fmla="*/ 270611 w 9705168"/>
              <a:gd name="connsiteY0" fmla="*/ 8547 h 6870819"/>
              <a:gd name="connsiteX1" fmla="*/ 1381564 w 9705168"/>
              <a:gd name="connsiteY1" fmla="*/ 5751320 h 6870819"/>
              <a:gd name="connsiteX2" fmla="*/ 4124764 w 9705168"/>
              <a:gd name="connsiteY2" fmla="*/ 6870819 h 6870819"/>
              <a:gd name="connsiteX3" fmla="*/ 9705168 w 9705168"/>
              <a:gd name="connsiteY3" fmla="*/ 6870819 h 6870819"/>
              <a:gd name="connsiteX4" fmla="*/ 9705168 w 9705168"/>
              <a:gd name="connsiteY4" fmla="*/ 0 h 6870819"/>
              <a:gd name="connsiteX5" fmla="*/ 270611 w 9705168"/>
              <a:gd name="connsiteY5" fmla="*/ 8547 h 6870819"/>
              <a:gd name="connsiteX0" fmla="*/ 163110 w 9597667"/>
              <a:gd name="connsiteY0" fmla="*/ 8547 h 6870819"/>
              <a:gd name="connsiteX1" fmla="*/ 1274063 w 9597667"/>
              <a:gd name="connsiteY1" fmla="*/ 5751320 h 6870819"/>
              <a:gd name="connsiteX2" fmla="*/ 4017263 w 9597667"/>
              <a:gd name="connsiteY2" fmla="*/ 6870819 h 6870819"/>
              <a:gd name="connsiteX3" fmla="*/ 9597667 w 9597667"/>
              <a:gd name="connsiteY3" fmla="*/ 6870819 h 6870819"/>
              <a:gd name="connsiteX4" fmla="*/ 9597667 w 9597667"/>
              <a:gd name="connsiteY4" fmla="*/ 0 h 6870819"/>
              <a:gd name="connsiteX5" fmla="*/ 163110 w 9597667"/>
              <a:gd name="connsiteY5" fmla="*/ 8547 h 6870819"/>
              <a:gd name="connsiteX0" fmla="*/ 64601 w 9499158"/>
              <a:gd name="connsiteY0" fmla="*/ 8547 h 6870819"/>
              <a:gd name="connsiteX1" fmla="*/ 1175554 w 9499158"/>
              <a:gd name="connsiteY1" fmla="*/ 5751320 h 6870819"/>
              <a:gd name="connsiteX2" fmla="*/ 3918754 w 9499158"/>
              <a:gd name="connsiteY2" fmla="*/ 6870819 h 6870819"/>
              <a:gd name="connsiteX3" fmla="*/ 9499158 w 9499158"/>
              <a:gd name="connsiteY3" fmla="*/ 6870819 h 6870819"/>
              <a:gd name="connsiteX4" fmla="*/ 9499158 w 9499158"/>
              <a:gd name="connsiteY4" fmla="*/ 0 h 6870819"/>
              <a:gd name="connsiteX5" fmla="*/ 64601 w 9499158"/>
              <a:gd name="connsiteY5" fmla="*/ 8547 h 6870819"/>
              <a:gd name="connsiteX0" fmla="*/ 64601 w 9499158"/>
              <a:gd name="connsiteY0" fmla="*/ 8547 h 6879365"/>
              <a:gd name="connsiteX1" fmla="*/ 1175554 w 9499158"/>
              <a:gd name="connsiteY1" fmla="*/ 5751320 h 6879365"/>
              <a:gd name="connsiteX2" fmla="*/ 3464845 w 9499158"/>
              <a:gd name="connsiteY2" fmla="*/ 6879365 h 6879365"/>
              <a:gd name="connsiteX3" fmla="*/ 9499158 w 9499158"/>
              <a:gd name="connsiteY3" fmla="*/ 6870819 h 6879365"/>
              <a:gd name="connsiteX4" fmla="*/ 9499158 w 9499158"/>
              <a:gd name="connsiteY4" fmla="*/ 0 h 6879365"/>
              <a:gd name="connsiteX5" fmla="*/ 64601 w 9499158"/>
              <a:gd name="connsiteY5" fmla="*/ 8547 h 6879365"/>
              <a:gd name="connsiteX0" fmla="*/ 64601 w 9499158"/>
              <a:gd name="connsiteY0" fmla="*/ 8547 h 6879365"/>
              <a:gd name="connsiteX1" fmla="*/ 1175554 w 9499158"/>
              <a:gd name="connsiteY1" fmla="*/ 5751320 h 6879365"/>
              <a:gd name="connsiteX2" fmla="*/ 3464845 w 9499158"/>
              <a:gd name="connsiteY2" fmla="*/ 6879365 h 6879365"/>
              <a:gd name="connsiteX3" fmla="*/ 9499158 w 9499158"/>
              <a:gd name="connsiteY3" fmla="*/ 6870819 h 6879365"/>
              <a:gd name="connsiteX4" fmla="*/ 9499158 w 9499158"/>
              <a:gd name="connsiteY4" fmla="*/ 0 h 6879365"/>
              <a:gd name="connsiteX5" fmla="*/ 64601 w 9499158"/>
              <a:gd name="connsiteY5" fmla="*/ 8547 h 6879365"/>
              <a:gd name="connsiteX0" fmla="*/ 64601 w 9499158"/>
              <a:gd name="connsiteY0" fmla="*/ 8547 h 6879365"/>
              <a:gd name="connsiteX1" fmla="*/ 1175554 w 9499158"/>
              <a:gd name="connsiteY1" fmla="*/ 5751320 h 6879365"/>
              <a:gd name="connsiteX2" fmla="*/ 3464845 w 9499158"/>
              <a:gd name="connsiteY2" fmla="*/ 6879365 h 6879365"/>
              <a:gd name="connsiteX3" fmla="*/ 9499158 w 9499158"/>
              <a:gd name="connsiteY3" fmla="*/ 6870819 h 6879365"/>
              <a:gd name="connsiteX4" fmla="*/ 9499158 w 9499158"/>
              <a:gd name="connsiteY4" fmla="*/ 0 h 6879365"/>
              <a:gd name="connsiteX5" fmla="*/ 64601 w 9499158"/>
              <a:gd name="connsiteY5" fmla="*/ 8547 h 6879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99158" h="6879365">
                <a:moveTo>
                  <a:pt x="64601" y="8547"/>
                </a:moveTo>
                <a:cubicBezTo>
                  <a:pt x="-532180" y="2731806"/>
                  <a:pt x="3256455" y="4225895"/>
                  <a:pt x="1175554" y="5751320"/>
                </a:cubicBezTo>
                <a:cubicBezTo>
                  <a:pt x="2391905" y="4953713"/>
                  <a:pt x="2544855" y="6692782"/>
                  <a:pt x="3464845" y="6879365"/>
                </a:cubicBezTo>
                <a:lnTo>
                  <a:pt x="9499158" y="6870819"/>
                </a:lnTo>
                <a:lnTo>
                  <a:pt x="9499158" y="0"/>
                </a:lnTo>
                <a:lnTo>
                  <a:pt x="64601" y="8547"/>
                </a:lnTo>
                <a:close/>
              </a:path>
            </a:pathLst>
          </a:custGeom>
          <a:solidFill>
            <a:srgbClr val="83D0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 name="Afbeelding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077568" y="5778000"/>
            <a:ext cx="1595699" cy="1080000"/>
          </a:xfrm>
          <a:prstGeom prst="rect">
            <a:avLst/>
          </a:prstGeom>
        </p:spPr>
      </p:pic>
      <p:pic>
        <p:nvPicPr>
          <p:cNvPr id="8" name="Picture 1" descr="\\harpo\users\jelle.janssen\Desktop\pompom vooraanzicht kleur.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791750" y="5778000"/>
            <a:ext cx="1595391" cy="1080000"/>
          </a:xfrm>
          <a:prstGeom prst="rect">
            <a:avLst/>
          </a:prstGeom>
          <a:noFill/>
          <a:extLst>
            <a:ext uri="{909E8E84-426E-40DD-AFC4-6F175D3DCCD1}">
              <a14:hiddenFill xmlns:a14="http://schemas.microsoft.com/office/drawing/2010/main">
                <a:solidFill>
                  <a:srgbClr val="FFFFFF"/>
                </a:solidFill>
              </a14:hiddenFill>
            </a:ext>
          </a:extLst>
        </p:spPr>
      </p:pic>
      <p:sp>
        <p:nvSpPr>
          <p:cNvPr id="56" name="TextBox 11">
            <a:extLst>
              <a:ext uri="{FF2B5EF4-FFF2-40B4-BE49-F238E27FC236}">
                <a16:creationId xmlns:a16="http://schemas.microsoft.com/office/drawing/2014/main" id="{C6FBD76D-6C6A-417F-83E0-B432C2B9E302}"/>
              </a:ext>
            </a:extLst>
          </p:cNvPr>
          <p:cNvSpPr txBox="1"/>
          <p:nvPr/>
        </p:nvSpPr>
        <p:spPr>
          <a:xfrm>
            <a:off x="-353140" y="3407438"/>
            <a:ext cx="4923993" cy="480131"/>
          </a:xfrm>
          <a:prstGeom prst="rect">
            <a:avLst/>
          </a:prstGeom>
          <a:noFill/>
        </p:spPr>
        <p:txBody>
          <a:bodyPr wrap="square" rtlCol="0" anchor="b"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tab pos="1971675" algn="l"/>
              </a:tabLst>
              <a:defRPr/>
            </a:pPr>
            <a:r>
              <a:rPr kumimoji="0" lang="nl-BE" sz="2800" b="0" i="0" u="none" strike="noStrike" kern="1200" cap="none" spc="0" normalizeH="0" baseline="0" noProof="0" dirty="0">
                <a:ln>
                  <a:noFill/>
                </a:ln>
                <a:solidFill>
                  <a:prstClr val="white"/>
                </a:solidFill>
                <a:effectLst/>
                <a:uLnTx/>
                <a:uFillTx/>
                <a:latin typeface="Amaranth" panose="02000503000000020004" pitchFamily="50" charset="0"/>
                <a:ea typeface="+mn-ea"/>
                <a:cs typeface="Arial" panose="020B0604020202020204" pitchFamily="34" charset="0"/>
              </a:rPr>
              <a:t>Aanvullend materiaal</a:t>
            </a:r>
          </a:p>
        </p:txBody>
      </p:sp>
      <p:sp>
        <p:nvSpPr>
          <p:cNvPr id="45" name="Rechthoek 12">
            <a:extLst>
              <a:ext uri="{FF2B5EF4-FFF2-40B4-BE49-F238E27FC236}">
                <a16:creationId xmlns:a16="http://schemas.microsoft.com/office/drawing/2014/main" id="{1C07560E-87A2-4FF5-B633-2BC290C545BD}"/>
              </a:ext>
            </a:extLst>
          </p:cNvPr>
          <p:cNvSpPr/>
          <p:nvPr/>
        </p:nvSpPr>
        <p:spPr>
          <a:xfrm>
            <a:off x="368717" y="2795037"/>
            <a:ext cx="1350530" cy="320071"/>
          </a:xfrm>
          <a:prstGeom prst="rect">
            <a:avLst/>
          </a:prstGeom>
        </p:spPr>
        <p:txBody>
          <a:bodyPr wrap="square" lIns="91424" tIns="45712" rIns="91424" bIns="45712">
            <a:spAutoFit/>
          </a:bodyPr>
          <a:lstStyle/>
          <a:p>
            <a:pPr marL="0" marR="0" lvl="0" indent="0" algn="ctr" defTabSz="914400" rtl="0" eaLnBrk="1" fontAlgn="ctr" latinLnBrk="0" hangingPunct="1">
              <a:lnSpc>
                <a:spcPct val="90000"/>
              </a:lnSpc>
              <a:spcBef>
                <a:spcPts val="0"/>
              </a:spcBef>
              <a:spcAft>
                <a:spcPts val="0"/>
              </a:spcAft>
              <a:buClrTx/>
              <a:buSzTx/>
              <a:buFontTx/>
              <a:buNone/>
              <a:tabLst/>
              <a:defRPr/>
            </a:pPr>
            <a:r>
              <a:rPr kumimoji="0" lang="nl-BE" sz="1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Digiregie</a:t>
            </a:r>
          </a:p>
        </p:txBody>
      </p:sp>
      <p:pic>
        <p:nvPicPr>
          <p:cNvPr id="46" name="Picture 4" descr="\\harpo\users\jelle.janssen\Desktop\dagloeloe-digiregie-laptop.png">
            <a:extLst>
              <a:ext uri="{FF2B5EF4-FFF2-40B4-BE49-F238E27FC236}">
                <a16:creationId xmlns:a16="http://schemas.microsoft.com/office/drawing/2014/main" id="{96FCE7B0-40AD-488C-85F4-622D16495882}"/>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tretch>
            <a:fillRect/>
          </a:stretch>
        </p:blipFill>
        <p:spPr bwMode="auto">
          <a:xfrm>
            <a:off x="228214" y="1852466"/>
            <a:ext cx="1631537" cy="872872"/>
          </a:xfrm>
          <a:prstGeom prst="rect">
            <a:avLst/>
          </a:prstGeom>
          <a:extLst>
            <a:ext uri="{909E8E84-426E-40DD-AFC4-6F175D3DCCD1}">
              <a14:hiddenFill xmlns:a14="http://schemas.microsoft.com/office/drawing/2010/main">
                <a:solidFill>
                  <a:srgbClr val="FFFFFF"/>
                </a:solidFill>
              </a14:hiddenFill>
            </a:ext>
          </a:extLst>
        </p:spPr>
      </p:pic>
      <p:sp>
        <p:nvSpPr>
          <p:cNvPr id="47" name="TextBox 11">
            <a:extLst>
              <a:ext uri="{FF2B5EF4-FFF2-40B4-BE49-F238E27FC236}">
                <a16:creationId xmlns:a16="http://schemas.microsoft.com/office/drawing/2014/main" id="{8DC93AEF-8E62-4CB3-BB09-892C949044BB}"/>
              </a:ext>
            </a:extLst>
          </p:cNvPr>
          <p:cNvSpPr txBox="1"/>
          <p:nvPr/>
        </p:nvSpPr>
        <p:spPr>
          <a:xfrm>
            <a:off x="806682" y="368788"/>
            <a:ext cx="2238081" cy="480131"/>
          </a:xfrm>
          <a:prstGeom prst="rect">
            <a:avLst/>
          </a:prstGeom>
          <a:noFill/>
        </p:spPr>
        <p:txBody>
          <a:bodyPr wrap="square" rtlCol="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tab pos="1971675" algn="l"/>
              </a:tabLst>
              <a:defRPr/>
            </a:pPr>
            <a:r>
              <a:rPr kumimoji="0" lang="nl-BE" sz="2800" b="0" i="0" u="none" strike="noStrike" kern="1200" cap="none" spc="0" normalizeH="0" baseline="0" noProof="0" dirty="0">
                <a:ln>
                  <a:noFill/>
                </a:ln>
                <a:solidFill>
                  <a:prstClr val="white"/>
                </a:solidFill>
                <a:effectLst/>
                <a:uLnTx/>
                <a:uFillTx/>
                <a:latin typeface="Amaranth" panose="02000503000000020004" pitchFamily="50" charset="0"/>
                <a:ea typeface="+mn-ea"/>
                <a:cs typeface="Arial" panose="020B0604020202020204" pitchFamily="34" charset="0"/>
              </a:rPr>
              <a:t>Software</a:t>
            </a:r>
          </a:p>
        </p:txBody>
      </p:sp>
      <p:sp>
        <p:nvSpPr>
          <p:cNvPr id="53" name="Rechthoek 12">
            <a:extLst>
              <a:ext uri="{FF2B5EF4-FFF2-40B4-BE49-F238E27FC236}">
                <a16:creationId xmlns:a16="http://schemas.microsoft.com/office/drawing/2014/main" id="{835676CF-C20A-4675-AE7A-746254818DA1}"/>
              </a:ext>
            </a:extLst>
          </p:cNvPr>
          <p:cNvSpPr/>
          <p:nvPr/>
        </p:nvSpPr>
        <p:spPr>
          <a:xfrm>
            <a:off x="1913146" y="2846263"/>
            <a:ext cx="2044985" cy="320071"/>
          </a:xfrm>
          <a:prstGeom prst="rect">
            <a:avLst/>
          </a:prstGeom>
        </p:spPr>
        <p:txBody>
          <a:bodyPr wrap="square" lIns="91424" tIns="45712" rIns="91424" bIns="45712">
            <a:spAutoFit/>
          </a:bodyPr>
          <a:lstStyle/>
          <a:p>
            <a:pPr marL="0" marR="0" lvl="0" indent="0" algn="ctr" defTabSz="914400" rtl="0" eaLnBrk="1" fontAlgn="ctr" latinLnBrk="0" hangingPunct="1">
              <a:lnSpc>
                <a:spcPct val="90000"/>
              </a:lnSpc>
              <a:spcBef>
                <a:spcPts val="0"/>
              </a:spcBef>
              <a:spcAft>
                <a:spcPts val="0"/>
              </a:spcAft>
              <a:buClrTx/>
              <a:buSzTx/>
              <a:buFontTx/>
              <a:buNone/>
              <a:tabLst/>
              <a:defRPr/>
            </a:pPr>
            <a:r>
              <a:rPr kumimoji="0" lang="nl-BE" sz="1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Leerkrachtassistent</a:t>
            </a:r>
          </a:p>
        </p:txBody>
      </p:sp>
      <p:sp>
        <p:nvSpPr>
          <p:cNvPr id="60" name="Rechthoek 12">
            <a:extLst>
              <a:ext uri="{FF2B5EF4-FFF2-40B4-BE49-F238E27FC236}">
                <a16:creationId xmlns:a16="http://schemas.microsoft.com/office/drawing/2014/main" id="{8055587E-9830-4078-B314-35482EFBE1D9}"/>
              </a:ext>
            </a:extLst>
          </p:cNvPr>
          <p:cNvSpPr/>
          <p:nvPr/>
        </p:nvSpPr>
        <p:spPr>
          <a:xfrm>
            <a:off x="3220323" y="6051100"/>
            <a:ext cx="1350530" cy="541671"/>
          </a:xfrm>
          <a:prstGeom prst="rect">
            <a:avLst/>
          </a:prstGeom>
        </p:spPr>
        <p:txBody>
          <a:bodyPr wrap="square" lIns="91424" tIns="45712" rIns="91424" bIns="45712">
            <a:spAutoFit/>
          </a:bodyPr>
          <a:lstStyle/>
          <a:p>
            <a:pPr marL="0" marR="0" lvl="0" indent="0" algn="ctr" defTabSz="914400" rtl="0" eaLnBrk="1" fontAlgn="ctr" latinLnBrk="0" hangingPunct="1">
              <a:lnSpc>
                <a:spcPct val="90000"/>
              </a:lnSpc>
              <a:spcBef>
                <a:spcPts val="0"/>
              </a:spcBef>
              <a:spcAft>
                <a:spcPts val="0"/>
              </a:spcAft>
              <a:buClrTx/>
              <a:buSzTx/>
              <a:buFontTx/>
              <a:buNone/>
              <a:tabLst/>
              <a:defRPr/>
            </a:pPr>
            <a:r>
              <a:rPr kumimoji="0" lang="nl-BE" sz="1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Handpop </a:t>
            </a:r>
            <a:r>
              <a:rPr kumimoji="0" lang="nl-BE" sz="1600" b="0" i="0" u="none" strike="noStrike" kern="1200" cap="none" spc="0" normalizeH="0" baseline="0" noProof="0" dirty="0" err="1">
                <a:ln>
                  <a:noFill/>
                </a:ln>
                <a:solidFill>
                  <a:prstClr val="white"/>
                </a:solidFill>
                <a:effectLst/>
                <a:uLnTx/>
                <a:uFillTx/>
                <a:latin typeface="Calibri" panose="020F0502020204030204"/>
                <a:ea typeface="+mn-ea"/>
                <a:cs typeface="Arial" panose="020B0604020202020204" pitchFamily="34" charset="0"/>
              </a:rPr>
              <a:t>Loeloe</a:t>
            </a:r>
            <a:endParaRPr kumimoji="0" lang="nl-BE" sz="1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pic>
        <p:nvPicPr>
          <p:cNvPr id="61" name="Picture 2" descr="\\harpo\users\jelle.janssen\Desktop\f50c152c7848dac24210d3ad3ad22154_XL.jpg">
            <a:extLst>
              <a:ext uri="{FF2B5EF4-FFF2-40B4-BE49-F238E27FC236}">
                <a16:creationId xmlns:a16="http://schemas.microsoft.com/office/drawing/2014/main" id="{B3C4F831-8716-4233-98C6-7622E042C458}"/>
              </a:ext>
            </a:extLst>
          </p:cNvPr>
          <p:cNvPicPr>
            <a:picLocks noChangeAspect="1" noChangeArrowheads="1"/>
          </p:cNvPicPr>
          <p:nvPr/>
        </p:nvPicPr>
        <p:blipFill>
          <a:blip r:embed="rId10" cstate="hqprint">
            <a:extLst>
              <a:ext uri="{28A0092B-C50C-407E-A947-70E740481C1C}">
                <a14:useLocalDpi xmlns:a14="http://schemas.microsoft.com/office/drawing/2010/main" val="0"/>
              </a:ext>
            </a:extLst>
          </a:blip>
          <a:srcRect/>
          <a:stretch>
            <a:fillRect/>
          </a:stretch>
        </p:blipFill>
        <p:spPr bwMode="auto">
          <a:xfrm>
            <a:off x="1731902" y="4027600"/>
            <a:ext cx="1576349" cy="1845043"/>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70" name="Rechthoek 12">
            <a:extLst>
              <a:ext uri="{FF2B5EF4-FFF2-40B4-BE49-F238E27FC236}">
                <a16:creationId xmlns:a16="http://schemas.microsoft.com/office/drawing/2014/main" id="{C6193E20-99EB-4F4D-98FA-12B61769A435}"/>
              </a:ext>
            </a:extLst>
          </p:cNvPr>
          <p:cNvSpPr/>
          <p:nvPr/>
        </p:nvSpPr>
        <p:spPr>
          <a:xfrm>
            <a:off x="1781010" y="6070068"/>
            <a:ext cx="1350530" cy="320071"/>
          </a:xfrm>
          <a:prstGeom prst="rect">
            <a:avLst/>
          </a:prstGeom>
        </p:spPr>
        <p:txBody>
          <a:bodyPr wrap="square" lIns="91424" tIns="45712" rIns="91424" bIns="45712">
            <a:spAutoFit/>
          </a:bodyPr>
          <a:lstStyle/>
          <a:p>
            <a:pPr marL="0" marR="0" lvl="0" indent="0" algn="ctr" defTabSz="914400" rtl="0" eaLnBrk="1" fontAlgn="ctr" latinLnBrk="0" hangingPunct="1">
              <a:lnSpc>
                <a:spcPct val="90000"/>
              </a:lnSpc>
              <a:spcBef>
                <a:spcPts val="0"/>
              </a:spcBef>
              <a:spcAft>
                <a:spcPts val="0"/>
              </a:spcAft>
              <a:buClrTx/>
              <a:buSzTx/>
              <a:buFontTx/>
              <a:buNone/>
              <a:tabLst/>
              <a:defRPr/>
            </a:pPr>
            <a:r>
              <a:rPr kumimoji="0" lang="nl-BE" sz="1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Bijenhotel</a:t>
            </a:r>
          </a:p>
        </p:txBody>
      </p:sp>
      <p:pic>
        <p:nvPicPr>
          <p:cNvPr id="2" name="Afbeelding 1">
            <a:extLst>
              <a:ext uri="{FF2B5EF4-FFF2-40B4-BE49-F238E27FC236}">
                <a16:creationId xmlns:a16="http://schemas.microsoft.com/office/drawing/2014/main" id="{F017CDC5-A3AE-498F-8B67-FD3054095F36}"/>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0" b="98246" l="0" r="98288">
                        <a14:foregroundMark x1="5479" y1="91228" x2="4110" y2="13596"/>
                        <a14:foregroundMark x1="4110" y1="13596" x2="25000" y2="4825"/>
                        <a14:foregroundMark x1="25000" y1="4825" x2="88356" y2="20614"/>
                        <a14:foregroundMark x1="88356" y1="20614" x2="93151" y2="69737"/>
                        <a14:foregroundMark x1="93151" y1="69737" x2="80822" y2="88158"/>
                        <a14:foregroundMark x1="80822" y1="88158" x2="60274" y2="95614"/>
                        <a14:foregroundMark x1="60274" y1="95614" x2="7534" y2="89912"/>
                        <a14:foregroundMark x1="11301" y1="87719" x2="30479" y2="83333"/>
                        <a14:foregroundMark x1="30479" y1="83333" x2="70890" y2="86842"/>
                        <a14:foregroundMark x1="70890" y1="86842" x2="90068" y2="86842"/>
                        <a14:foregroundMark x1="90068" y1="86842" x2="95548" y2="81140"/>
                        <a14:foregroundMark x1="94178" y1="76316" x2="94863" y2="23684"/>
                        <a14:foregroundMark x1="94863" y1="23684" x2="97945" y2="55263"/>
                        <a14:foregroundMark x1="97603" y1="56579" x2="97603" y2="86842"/>
                        <a14:foregroundMark x1="98288" y1="94737" x2="97945" y2="9211"/>
                        <a14:foregroundMark x1="97945" y1="9211" x2="54795" y2="877"/>
                        <a14:foregroundMark x1="54795" y1="877" x2="71575" y2="9649"/>
                        <a14:foregroundMark x1="71575" y1="9649" x2="72603" y2="9649"/>
                        <a14:foregroundMark x1="98288" y1="11404" x2="98288" y2="1316"/>
                        <a14:foregroundMark x1="97603" y1="3070" x2="84247" y2="21930"/>
                        <a14:foregroundMark x1="84247" y1="21930" x2="84247" y2="23246"/>
                        <a14:foregroundMark x1="72603" y1="95175" x2="33219" y2="96053"/>
                        <a14:foregroundMark x1="33219" y1="96053" x2="29795" y2="94737"/>
                        <a14:foregroundMark x1="75000" y1="95614" x2="76370" y2="96491"/>
                        <a14:foregroundMark x1="96918" y1="93860" x2="79452" y2="92982"/>
                        <a14:foregroundMark x1="32192" y1="97368" x2="23288" y2="95175"/>
                        <a14:foregroundMark x1="26027" y1="96053" x2="22260" y2="96491"/>
                        <a14:foregroundMark x1="35274" y1="97807" x2="35274" y2="97807"/>
                        <a14:foregroundMark x1="42123" y1="98684" x2="42123" y2="98684"/>
                        <a14:foregroundMark x1="49658" y1="97807" x2="49658" y2="97807"/>
                        <a14:foregroundMark x1="54110" y1="97807" x2="54110" y2="97807"/>
                        <a14:foregroundMark x1="58219" y1="97368" x2="58219" y2="97368"/>
                        <a14:foregroundMark x1="63356" y1="97807" x2="63356" y2="97807"/>
                        <a14:foregroundMark x1="66438" y1="97807" x2="66438" y2="97807"/>
                        <a14:foregroundMark x1="69863" y1="97807" x2="69863" y2="97807"/>
                        <a14:foregroundMark x1="72945" y1="97807" x2="72945" y2="97807"/>
                        <a14:foregroundMark x1="76370" y1="97807" x2="76370" y2="97807"/>
                        <a14:foregroundMark x1="1712" y1="82895" x2="3767" y2="91228"/>
                        <a14:foregroundMark x1="11986" y1="95175" x2="9247" y2="92544"/>
                        <a14:foregroundMark x1="19521" y1="93860" x2="1370" y2="92544"/>
                        <a14:foregroundMark x1="1370" y1="92544" x2="1027" y2="93421"/>
                        <a14:foregroundMark x1="342" y1="76316" x2="1712" y2="67544"/>
                        <a14:foregroundMark x1="342" y1="64474" x2="342" y2="12719"/>
                        <a14:foregroundMark x1="342" y1="12719" x2="20890" y2="2193"/>
                        <a14:foregroundMark x1="42123" y1="5263" x2="0" y2="2193"/>
                        <a14:foregroundMark x1="64041" y1="7018" x2="19178" y2="4386"/>
                        <a14:foregroundMark x1="50685" y1="5263" x2="31849" y2="877"/>
                        <a14:foregroundMark x1="31849" y1="877" x2="28082" y2="2193"/>
                        <a14:foregroundMark x1="39384" y1="1316" x2="78425" y2="3509"/>
                        <a14:foregroundMark x1="78425" y1="3509" x2="76712" y2="1754"/>
                        <a14:foregroundMark x1="92466" y1="10088" x2="86986" y2="0"/>
                        <a14:foregroundMark x1="94521" y1="2193" x2="82192" y2="1316"/>
                        <a14:foregroundMark x1="31849" y1="1316" x2="18836" y2="2193"/>
                        <a14:foregroundMark x1="63356" y1="5263" x2="50685" y2="4825"/>
                        <a14:foregroundMark x1="58562" y1="60526" x2="47603" y2="50000"/>
                        <a14:foregroundMark x1="43836" y1="50439" x2="33562" y2="42544"/>
                        <a14:foregroundMark x1="41096" y1="45175" x2="40068" y2="42105"/>
                        <a14:foregroundMark x1="43151" y1="42544" x2="33904" y2="40789"/>
                      </a14:backgroundRemoval>
                    </a14:imgEffect>
                  </a14:imgLayer>
                </a14:imgProps>
              </a:ext>
            </a:extLst>
          </a:blip>
          <a:stretch>
            <a:fillRect/>
          </a:stretch>
        </p:blipFill>
        <p:spPr>
          <a:xfrm>
            <a:off x="1999361" y="1227507"/>
            <a:ext cx="2044986" cy="1596770"/>
          </a:xfrm>
          <a:prstGeom prst="rect">
            <a:avLst/>
          </a:prstGeom>
        </p:spPr>
      </p:pic>
      <p:pic>
        <p:nvPicPr>
          <p:cNvPr id="4" name="Afbeelding 3">
            <a:extLst>
              <a:ext uri="{FF2B5EF4-FFF2-40B4-BE49-F238E27FC236}">
                <a16:creationId xmlns:a16="http://schemas.microsoft.com/office/drawing/2014/main" id="{7FBED73C-A530-4D48-82E0-68BB5FC865F5}"/>
              </a:ext>
            </a:extLst>
          </p:cNvPr>
          <p:cNvPicPr>
            <a:picLocks noChangeAspect="1"/>
          </p:cNvPicPr>
          <p:nvPr/>
        </p:nvPicPr>
        <p:blipFill>
          <a:blip r:embed="rId13"/>
          <a:stretch>
            <a:fillRect/>
          </a:stretch>
        </p:blipFill>
        <p:spPr>
          <a:xfrm>
            <a:off x="647976" y="5006105"/>
            <a:ext cx="630595" cy="895446"/>
          </a:xfrm>
          <a:prstGeom prst="rect">
            <a:avLst/>
          </a:prstGeom>
        </p:spPr>
      </p:pic>
      <p:sp>
        <p:nvSpPr>
          <p:cNvPr id="71" name="Rechthoek 12">
            <a:extLst>
              <a:ext uri="{FF2B5EF4-FFF2-40B4-BE49-F238E27FC236}">
                <a16:creationId xmlns:a16="http://schemas.microsoft.com/office/drawing/2014/main" id="{BD796DB1-C690-48E4-8EF6-B896F6C49342}"/>
              </a:ext>
            </a:extLst>
          </p:cNvPr>
          <p:cNvSpPr/>
          <p:nvPr/>
        </p:nvSpPr>
        <p:spPr>
          <a:xfrm>
            <a:off x="181220" y="6059704"/>
            <a:ext cx="1564445" cy="320071"/>
          </a:xfrm>
          <a:prstGeom prst="rect">
            <a:avLst/>
          </a:prstGeom>
        </p:spPr>
        <p:txBody>
          <a:bodyPr wrap="square" lIns="91424" tIns="45712" rIns="91424" bIns="45712">
            <a:spAutoFit/>
          </a:bodyPr>
          <a:lstStyle/>
          <a:p>
            <a:pPr marL="0" marR="0" lvl="0" indent="0" algn="ctr" defTabSz="914400" rtl="0" eaLnBrk="1" fontAlgn="ctr" latinLnBrk="0" hangingPunct="1">
              <a:lnSpc>
                <a:spcPct val="90000"/>
              </a:lnSpc>
              <a:spcBef>
                <a:spcPts val="0"/>
              </a:spcBef>
              <a:spcAft>
                <a:spcPts val="0"/>
              </a:spcAft>
              <a:buClrTx/>
              <a:buSzTx/>
              <a:buFontTx/>
              <a:buNone/>
              <a:tabLst/>
              <a:defRPr/>
            </a:pPr>
            <a:r>
              <a:rPr kumimoji="0" lang="nl-BE" sz="1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Vriendenboek</a:t>
            </a:r>
          </a:p>
        </p:txBody>
      </p:sp>
      <p:pic>
        <p:nvPicPr>
          <p:cNvPr id="10" name="Afbeelding 9">
            <a:extLst>
              <a:ext uri="{FF2B5EF4-FFF2-40B4-BE49-F238E27FC236}">
                <a16:creationId xmlns:a16="http://schemas.microsoft.com/office/drawing/2014/main" id="{BF4A6180-DD83-469D-A239-FB3F5A215B3B}"/>
              </a:ext>
            </a:extLst>
          </p:cNvPr>
          <p:cNvPicPr>
            <a:picLocks noChangeAspect="1"/>
          </p:cNvPicPr>
          <p:nvPr/>
        </p:nvPicPr>
        <p:blipFill>
          <a:blip r:embed="rId14"/>
          <a:stretch>
            <a:fillRect/>
          </a:stretch>
        </p:blipFill>
        <p:spPr>
          <a:xfrm>
            <a:off x="7175805" y="857616"/>
            <a:ext cx="1155432" cy="1137236"/>
          </a:xfrm>
          <a:prstGeom prst="rect">
            <a:avLst/>
          </a:prstGeom>
        </p:spPr>
      </p:pic>
      <p:sp>
        <p:nvSpPr>
          <p:cNvPr id="74" name="Rechthoek 12">
            <a:extLst>
              <a:ext uri="{FF2B5EF4-FFF2-40B4-BE49-F238E27FC236}">
                <a16:creationId xmlns:a16="http://schemas.microsoft.com/office/drawing/2014/main" id="{33484AEC-EECC-43B0-BFC5-AEF81AE74EA4}"/>
              </a:ext>
            </a:extLst>
          </p:cNvPr>
          <p:cNvSpPr/>
          <p:nvPr/>
        </p:nvSpPr>
        <p:spPr>
          <a:xfrm>
            <a:off x="6680026" y="2856712"/>
            <a:ext cx="3452984" cy="541671"/>
          </a:xfrm>
          <a:prstGeom prst="rect">
            <a:avLst/>
          </a:prstGeom>
        </p:spPr>
        <p:txBody>
          <a:bodyPr wrap="square" lIns="91424" tIns="45712" rIns="91424" bIns="45712">
            <a:spAutoFit/>
          </a:bodyPr>
          <a:lstStyle/>
          <a:p>
            <a:pPr marL="0" marR="0" lvl="0" indent="0" algn="ctr" defTabSz="914400" rtl="0" eaLnBrk="1" fontAlgn="ctr" latinLnBrk="0" hangingPunct="1">
              <a:lnSpc>
                <a:spcPct val="90000"/>
              </a:lnSpc>
              <a:spcBef>
                <a:spcPts val="0"/>
              </a:spcBef>
              <a:spcAft>
                <a:spcPts val="0"/>
              </a:spcAft>
              <a:buClrTx/>
              <a:buSzTx/>
              <a:buFontTx/>
              <a:buNone/>
              <a:tabLst/>
              <a:defRPr/>
            </a:pPr>
            <a:r>
              <a:rPr kumimoji="0" lang="nl-BE" sz="1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Kleuters </a:t>
            </a:r>
            <a:r>
              <a:rPr kumimoji="0" lang="nl-BE" sz="1600" b="0" i="0" u="none" strike="noStrike" kern="1200" cap="none" spc="0" normalizeH="0" baseline="0" noProof="0" dirty="0" err="1">
                <a:ln>
                  <a:noFill/>
                </a:ln>
                <a:solidFill>
                  <a:prstClr val="white"/>
                </a:solidFill>
                <a:effectLst/>
                <a:uLnTx/>
                <a:uFillTx/>
                <a:latin typeface="Calibri" panose="020F0502020204030204"/>
                <a:ea typeface="+mn-ea"/>
                <a:cs typeface="Arial" panose="020B0604020202020204" pitchFamily="34" charset="0"/>
              </a:rPr>
              <a:t>samenleesboeken</a:t>
            </a:r>
            <a:r>
              <a:rPr kumimoji="0" lang="nl-BE" sz="1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 informatie</a:t>
            </a:r>
          </a:p>
          <a:p>
            <a:pPr marL="0" marR="0" lvl="0" indent="0" algn="ctr" defTabSz="914400" rtl="0" eaLnBrk="1" fontAlgn="ctr" latinLnBrk="0" hangingPunct="1">
              <a:lnSpc>
                <a:spcPct val="90000"/>
              </a:lnSpc>
              <a:spcBef>
                <a:spcPts val="0"/>
              </a:spcBef>
              <a:spcAft>
                <a:spcPts val="0"/>
              </a:spcAft>
              <a:buClrTx/>
              <a:buSzTx/>
              <a:buFontTx/>
              <a:buNone/>
              <a:tabLst/>
              <a:defRPr/>
            </a:pPr>
            <a:endParaRPr kumimoji="0" lang="nl-BE"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5" name="TextBox 11">
            <a:extLst>
              <a:ext uri="{FF2B5EF4-FFF2-40B4-BE49-F238E27FC236}">
                <a16:creationId xmlns:a16="http://schemas.microsoft.com/office/drawing/2014/main" id="{3BCAB4B0-998C-4CA5-A117-229734BAA38E}"/>
              </a:ext>
            </a:extLst>
          </p:cNvPr>
          <p:cNvSpPr txBox="1"/>
          <p:nvPr/>
        </p:nvSpPr>
        <p:spPr>
          <a:xfrm>
            <a:off x="6293648" y="293649"/>
            <a:ext cx="4937518" cy="480131"/>
          </a:xfrm>
          <a:prstGeom prst="rect">
            <a:avLst/>
          </a:prstGeom>
          <a:noFill/>
        </p:spPr>
        <p:txBody>
          <a:bodyPr wrap="square" rtlCol="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tab pos="1971675" algn="l"/>
              </a:tabLst>
              <a:defRPr/>
            </a:pPr>
            <a:r>
              <a:rPr kumimoji="0" lang="nl-BE" sz="2800" b="0" i="0" u="none" strike="noStrike" kern="1200" cap="none" spc="0" normalizeH="0" baseline="0" noProof="0" dirty="0">
                <a:ln>
                  <a:noFill/>
                </a:ln>
                <a:solidFill>
                  <a:prstClr val="white"/>
                </a:solidFill>
                <a:effectLst/>
                <a:uLnTx/>
                <a:uFillTx/>
                <a:latin typeface="Amaranth" panose="02000503000000020004" pitchFamily="50" charset="0"/>
                <a:ea typeface="+mn-ea"/>
                <a:cs typeface="Arial" panose="020B0604020202020204" pitchFamily="34" charset="0"/>
              </a:rPr>
              <a:t>Aanvullende leesseries</a:t>
            </a:r>
          </a:p>
        </p:txBody>
      </p:sp>
      <p:sp>
        <p:nvSpPr>
          <p:cNvPr id="76" name="Rechthoek 12">
            <a:extLst>
              <a:ext uri="{FF2B5EF4-FFF2-40B4-BE49-F238E27FC236}">
                <a16:creationId xmlns:a16="http://schemas.microsoft.com/office/drawing/2014/main" id="{137B2FA4-F415-4EC6-A704-C14FC69D3A9E}"/>
              </a:ext>
            </a:extLst>
          </p:cNvPr>
          <p:cNvSpPr/>
          <p:nvPr/>
        </p:nvSpPr>
        <p:spPr>
          <a:xfrm>
            <a:off x="10645402" y="2968566"/>
            <a:ext cx="1489487" cy="541671"/>
          </a:xfrm>
          <a:prstGeom prst="rect">
            <a:avLst/>
          </a:prstGeom>
        </p:spPr>
        <p:txBody>
          <a:bodyPr wrap="square" lIns="91424" tIns="45712" rIns="91424" bIns="45712">
            <a:spAutoFit/>
          </a:bodyPr>
          <a:lstStyle/>
          <a:p>
            <a:pPr marL="0" marR="0" lvl="0" indent="0" algn="ctr" defTabSz="914400" rtl="0" eaLnBrk="1" fontAlgn="ctr" latinLnBrk="0" hangingPunct="1">
              <a:lnSpc>
                <a:spcPct val="90000"/>
              </a:lnSpc>
              <a:spcBef>
                <a:spcPts val="0"/>
              </a:spcBef>
              <a:spcAft>
                <a:spcPts val="0"/>
              </a:spcAft>
              <a:buClrTx/>
              <a:buSzTx/>
              <a:buFontTx/>
              <a:buNone/>
              <a:tabLst/>
              <a:defRPr/>
            </a:pPr>
            <a:r>
              <a:rPr kumimoji="0" lang="nl-BE" sz="1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hee, ik lees</a:t>
            </a:r>
          </a:p>
          <a:p>
            <a:pPr marL="0" marR="0" lvl="0" indent="0" algn="ctr" defTabSz="914400" rtl="0" eaLnBrk="1" fontAlgn="ctr" latinLnBrk="0" hangingPunct="1">
              <a:lnSpc>
                <a:spcPct val="90000"/>
              </a:lnSpc>
              <a:spcBef>
                <a:spcPts val="0"/>
              </a:spcBef>
              <a:spcAft>
                <a:spcPts val="0"/>
              </a:spcAft>
              <a:buClrTx/>
              <a:buSzTx/>
              <a:buFontTx/>
              <a:buNone/>
              <a:tabLst/>
              <a:defRPr/>
            </a:pPr>
            <a:endParaRPr kumimoji="0" lang="nl-BE"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cxnSp>
        <p:nvCxnSpPr>
          <p:cNvPr id="78" name="Rechte verbindingslijn 77">
            <a:extLst>
              <a:ext uri="{FF2B5EF4-FFF2-40B4-BE49-F238E27FC236}">
                <a16:creationId xmlns:a16="http://schemas.microsoft.com/office/drawing/2014/main" id="{55E4FCEE-54EA-4901-BE9D-D15AA234F2D5}"/>
              </a:ext>
            </a:extLst>
          </p:cNvPr>
          <p:cNvCxnSpPr>
            <a:cxnSpLocks/>
          </p:cNvCxnSpPr>
          <p:nvPr/>
        </p:nvCxnSpPr>
        <p:spPr>
          <a:xfrm>
            <a:off x="0" y="3296864"/>
            <a:ext cx="1037578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Afbeelding 15">
            <a:extLst>
              <a:ext uri="{FF2B5EF4-FFF2-40B4-BE49-F238E27FC236}">
                <a16:creationId xmlns:a16="http://schemas.microsoft.com/office/drawing/2014/main" id="{6B1944C4-873F-4324-9073-A8EC5879B466}"/>
              </a:ext>
            </a:extLst>
          </p:cNvPr>
          <p:cNvPicPr>
            <a:picLocks noChangeAspect="1"/>
          </p:cNvPicPr>
          <p:nvPr/>
        </p:nvPicPr>
        <p:blipFill>
          <a:blip r:embed="rId15"/>
          <a:stretch>
            <a:fillRect/>
          </a:stretch>
        </p:blipFill>
        <p:spPr>
          <a:xfrm>
            <a:off x="6562790" y="4041572"/>
            <a:ext cx="1430852" cy="1929214"/>
          </a:xfrm>
          <a:prstGeom prst="rect">
            <a:avLst/>
          </a:prstGeom>
        </p:spPr>
      </p:pic>
      <p:sp>
        <p:nvSpPr>
          <p:cNvPr id="79" name="Rechthoek 12">
            <a:extLst>
              <a:ext uri="{FF2B5EF4-FFF2-40B4-BE49-F238E27FC236}">
                <a16:creationId xmlns:a16="http://schemas.microsoft.com/office/drawing/2014/main" id="{5CC94EF6-1D68-4472-A61A-0CAEBE1D38B5}"/>
              </a:ext>
            </a:extLst>
          </p:cNvPr>
          <p:cNvSpPr/>
          <p:nvPr/>
        </p:nvSpPr>
        <p:spPr>
          <a:xfrm>
            <a:off x="6528399" y="6081484"/>
            <a:ext cx="1564445" cy="320071"/>
          </a:xfrm>
          <a:prstGeom prst="rect">
            <a:avLst/>
          </a:prstGeom>
        </p:spPr>
        <p:txBody>
          <a:bodyPr wrap="square" lIns="91424" tIns="45712" rIns="91424" bIns="45712">
            <a:spAutoFit/>
          </a:bodyPr>
          <a:lstStyle/>
          <a:p>
            <a:pPr marL="0" marR="0" lvl="0" indent="0" algn="ctr" defTabSz="914400" rtl="0" eaLnBrk="1" fontAlgn="ctr" latinLnBrk="0" hangingPunct="1">
              <a:lnSpc>
                <a:spcPct val="90000"/>
              </a:lnSpc>
              <a:spcBef>
                <a:spcPts val="0"/>
              </a:spcBef>
              <a:spcAft>
                <a:spcPts val="0"/>
              </a:spcAft>
              <a:buClrTx/>
              <a:buSzTx/>
              <a:buFontTx/>
              <a:buNone/>
              <a:tabLst/>
              <a:defRPr/>
            </a:pPr>
            <a:r>
              <a:rPr kumimoji="0" lang="nl-BE" sz="1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Jaarkalender</a:t>
            </a:r>
          </a:p>
        </p:txBody>
      </p:sp>
      <p:sp>
        <p:nvSpPr>
          <p:cNvPr id="30" name="Rechthoek 12">
            <a:extLst>
              <a:ext uri="{FF2B5EF4-FFF2-40B4-BE49-F238E27FC236}">
                <a16:creationId xmlns:a16="http://schemas.microsoft.com/office/drawing/2014/main" id="{21D9A5B8-1B4A-41A5-9080-47C671A67007}"/>
              </a:ext>
            </a:extLst>
          </p:cNvPr>
          <p:cNvSpPr/>
          <p:nvPr/>
        </p:nvSpPr>
        <p:spPr>
          <a:xfrm>
            <a:off x="4519491" y="6066292"/>
            <a:ext cx="1564445" cy="541671"/>
          </a:xfrm>
          <a:prstGeom prst="rect">
            <a:avLst/>
          </a:prstGeom>
        </p:spPr>
        <p:txBody>
          <a:bodyPr wrap="square" lIns="91424" tIns="45712" rIns="91424" bIns="45712">
            <a:spAutoFit/>
          </a:bodyPr>
          <a:lstStyle/>
          <a:p>
            <a:pPr marL="0" marR="0" lvl="0" indent="0" algn="ctr" defTabSz="914400" rtl="0" eaLnBrk="1" fontAlgn="ctr" latinLnBrk="0" hangingPunct="1">
              <a:lnSpc>
                <a:spcPct val="90000"/>
              </a:lnSpc>
              <a:spcBef>
                <a:spcPts val="0"/>
              </a:spcBef>
              <a:spcAft>
                <a:spcPts val="0"/>
              </a:spcAft>
              <a:buClrTx/>
              <a:buSzTx/>
              <a:buFontTx/>
              <a:buNone/>
              <a:tabLst/>
              <a:defRPr/>
            </a:pPr>
            <a:r>
              <a:rPr kumimoji="0" lang="nl-BE" sz="1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Getallenwand 13-20</a:t>
            </a:r>
          </a:p>
        </p:txBody>
      </p:sp>
      <p:pic>
        <p:nvPicPr>
          <p:cNvPr id="19" name="Afbeelding 18">
            <a:extLst>
              <a:ext uri="{FF2B5EF4-FFF2-40B4-BE49-F238E27FC236}">
                <a16:creationId xmlns:a16="http://schemas.microsoft.com/office/drawing/2014/main" id="{491F09E1-9006-4FA2-9131-FF416EF9C256}"/>
              </a:ext>
            </a:extLst>
          </p:cNvPr>
          <p:cNvPicPr>
            <a:picLocks noChangeAspect="1"/>
          </p:cNvPicPr>
          <p:nvPr/>
        </p:nvPicPr>
        <p:blipFill>
          <a:blip r:embed="rId16"/>
          <a:stretch>
            <a:fillRect/>
          </a:stretch>
        </p:blipFill>
        <p:spPr>
          <a:xfrm>
            <a:off x="8443599" y="1180891"/>
            <a:ext cx="1201949" cy="1201949"/>
          </a:xfrm>
          <a:prstGeom prst="rect">
            <a:avLst/>
          </a:prstGeom>
        </p:spPr>
      </p:pic>
      <p:pic>
        <p:nvPicPr>
          <p:cNvPr id="20" name="Afbeelding 19">
            <a:extLst>
              <a:ext uri="{FF2B5EF4-FFF2-40B4-BE49-F238E27FC236}">
                <a16:creationId xmlns:a16="http://schemas.microsoft.com/office/drawing/2014/main" id="{DBEA1D52-0E69-4425-8E41-E888CFE2622A}"/>
              </a:ext>
            </a:extLst>
          </p:cNvPr>
          <p:cNvPicPr>
            <a:picLocks noChangeAspect="1"/>
          </p:cNvPicPr>
          <p:nvPr/>
        </p:nvPicPr>
        <p:blipFill>
          <a:blip r:embed="rId17"/>
          <a:stretch>
            <a:fillRect/>
          </a:stretch>
        </p:blipFill>
        <p:spPr>
          <a:xfrm>
            <a:off x="7640994" y="1612002"/>
            <a:ext cx="1163472" cy="1165328"/>
          </a:xfrm>
          <a:prstGeom prst="rect">
            <a:avLst/>
          </a:prstGeom>
        </p:spPr>
      </p:pic>
      <p:pic>
        <p:nvPicPr>
          <p:cNvPr id="21" name="Afbeelding 20">
            <a:extLst>
              <a:ext uri="{FF2B5EF4-FFF2-40B4-BE49-F238E27FC236}">
                <a16:creationId xmlns:a16="http://schemas.microsoft.com/office/drawing/2014/main" id="{50DBA627-8A6E-45F6-A45B-3CF3A0F1FB94}"/>
              </a:ext>
            </a:extLst>
          </p:cNvPr>
          <p:cNvPicPr>
            <a:picLocks noChangeAspect="1"/>
          </p:cNvPicPr>
          <p:nvPr/>
        </p:nvPicPr>
        <p:blipFill>
          <a:blip r:embed="rId18"/>
          <a:stretch>
            <a:fillRect/>
          </a:stretch>
        </p:blipFill>
        <p:spPr>
          <a:xfrm>
            <a:off x="9893887" y="350773"/>
            <a:ext cx="777809" cy="1068788"/>
          </a:xfrm>
          <a:prstGeom prst="rect">
            <a:avLst/>
          </a:prstGeom>
        </p:spPr>
      </p:pic>
      <p:pic>
        <p:nvPicPr>
          <p:cNvPr id="22" name="Afbeelding 21">
            <a:extLst>
              <a:ext uri="{FF2B5EF4-FFF2-40B4-BE49-F238E27FC236}">
                <a16:creationId xmlns:a16="http://schemas.microsoft.com/office/drawing/2014/main" id="{93FBB94A-56AA-4555-8EC1-DA5A6CA58C1B}"/>
              </a:ext>
            </a:extLst>
          </p:cNvPr>
          <p:cNvPicPr>
            <a:picLocks noChangeAspect="1"/>
          </p:cNvPicPr>
          <p:nvPr/>
        </p:nvPicPr>
        <p:blipFill>
          <a:blip r:embed="rId19"/>
          <a:stretch>
            <a:fillRect/>
          </a:stretch>
        </p:blipFill>
        <p:spPr>
          <a:xfrm>
            <a:off x="10335626" y="847359"/>
            <a:ext cx="812391" cy="1125912"/>
          </a:xfrm>
          <a:prstGeom prst="rect">
            <a:avLst/>
          </a:prstGeom>
        </p:spPr>
      </p:pic>
      <p:pic>
        <p:nvPicPr>
          <p:cNvPr id="34" name="Afbeelding 33">
            <a:extLst>
              <a:ext uri="{FF2B5EF4-FFF2-40B4-BE49-F238E27FC236}">
                <a16:creationId xmlns:a16="http://schemas.microsoft.com/office/drawing/2014/main" id="{923BC712-F8CE-45F5-A1B2-7CA952D603CB}"/>
              </a:ext>
            </a:extLst>
          </p:cNvPr>
          <p:cNvPicPr>
            <a:picLocks noChangeAspect="1"/>
          </p:cNvPicPr>
          <p:nvPr/>
        </p:nvPicPr>
        <p:blipFill>
          <a:blip r:embed="rId20" cstate="hqprint">
            <a:extLst>
              <a:ext uri="{28A0092B-C50C-407E-A947-70E740481C1C}">
                <a14:useLocalDpi xmlns:a14="http://schemas.microsoft.com/office/drawing/2010/main" val="0"/>
              </a:ext>
            </a:extLst>
          </a:blip>
          <a:stretch>
            <a:fillRect/>
          </a:stretch>
        </p:blipFill>
        <p:spPr>
          <a:xfrm>
            <a:off x="4091558" y="4035552"/>
            <a:ext cx="2253226" cy="1658588"/>
          </a:xfrm>
          <a:prstGeom prst="rect">
            <a:avLst/>
          </a:prstGeom>
        </p:spPr>
      </p:pic>
      <p:pic>
        <p:nvPicPr>
          <p:cNvPr id="57" name="Picture 1">
            <a:extLst>
              <a:ext uri="{FF2B5EF4-FFF2-40B4-BE49-F238E27FC236}">
                <a16:creationId xmlns:a16="http://schemas.microsoft.com/office/drawing/2014/main" id="{CB61BCCE-D287-4AAB-814C-8158A185B0C2}"/>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3283280" y="4643781"/>
            <a:ext cx="1200004" cy="1488863"/>
          </a:xfrm>
          <a:prstGeom prst="rect">
            <a:avLst/>
          </a:prstGeom>
        </p:spPr>
      </p:pic>
      <p:sp>
        <p:nvSpPr>
          <p:cNvPr id="41" name="Rechthoek 12">
            <a:extLst>
              <a:ext uri="{FF2B5EF4-FFF2-40B4-BE49-F238E27FC236}">
                <a16:creationId xmlns:a16="http://schemas.microsoft.com/office/drawing/2014/main" id="{3412B543-F5C8-43A3-8A73-2CC564CBDB34}"/>
              </a:ext>
            </a:extLst>
          </p:cNvPr>
          <p:cNvSpPr/>
          <p:nvPr/>
        </p:nvSpPr>
        <p:spPr>
          <a:xfrm>
            <a:off x="9800960" y="1995746"/>
            <a:ext cx="1170523" cy="541671"/>
          </a:xfrm>
          <a:prstGeom prst="rect">
            <a:avLst/>
          </a:prstGeom>
        </p:spPr>
        <p:txBody>
          <a:bodyPr wrap="square" lIns="91424" tIns="45712" rIns="91424" bIns="45712">
            <a:spAutoFit/>
          </a:bodyPr>
          <a:lstStyle/>
          <a:p>
            <a:pPr marL="0" marR="0" lvl="0" indent="0" algn="ctr" defTabSz="914400" rtl="0" eaLnBrk="1" fontAlgn="ctr" latinLnBrk="0" hangingPunct="1">
              <a:lnSpc>
                <a:spcPct val="90000"/>
              </a:lnSpc>
              <a:spcBef>
                <a:spcPts val="0"/>
              </a:spcBef>
              <a:spcAft>
                <a:spcPts val="0"/>
              </a:spcAft>
              <a:buClrTx/>
              <a:buSzTx/>
              <a:buFontTx/>
              <a:buNone/>
              <a:tabLst/>
              <a:defRPr/>
            </a:pPr>
            <a:r>
              <a:rPr kumimoji="0" lang="nl-BE" sz="1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Hee, ik lees</a:t>
            </a:r>
          </a:p>
          <a:p>
            <a:pPr marL="0" marR="0" lvl="0" indent="0" algn="ctr" defTabSz="914400" rtl="0" eaLnBrk="1" fontAlgn="ctr" latinLnBrk="0" hangingPunct="1">
              <a:lnSpc>
                <a:spcPct val="90000"/>
              </a:lnSpc>
              <a:spcBef>
                <a:spcPts val="0"/>
              </a:spcBef>
              <a:spcAft>
                <a:spcPts val="0"/>
              </a:spcAft>
              <a:buClrTx/>
              <a:buSzTx/>
              <a:buFontTx/>
              <a:buNone/>
              <a:tabLst/>
              <a:defRPr/>
            </a:pPr>
            <a:endParaRPr kumimoji="0" lang="nl-BE"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32" name="Afbeelding 31">
            <a:extLst>
              <a:ext uri="{FF2B5EF4-FFF2-40B4-BE49-F238E27FC236}">
                <a16:creationId xmlns:a16="http://schemas.microsoft.com/office/drawing/2014/main" id="{30FCFDA5-008A-4FDD-BE7A-E05B3B95CA86}"/>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0" b="98246" l="0" r="98288">
                        <a14:foregroundMark x1="5479" y1="91228" x2="4110" y2="13596"/>
                        <a14:foregroundMark x1="4110" y1="13596" x2="25000" y2="4825"/>
                        <a14:foregroundMark x1="25000" y1="4825" x2="88356" y2="20614"/>
                        <a14:foregroundMark x1="88356" y1="20614" x2="93151" y2="69737"/>
                        <a14:foregroundMark x1="93151" y1="69737" x2="80822" y2="88158"/>
                        <a14:foregroundMark x1="80822" y1="88158" x2="60274" y2="95614"/>
                        <a14:foregroundMark x1="60274" y1="95614" x2="7534" y2="89912"/>
                        <a14:foregroundMark x1="11301" y1="87719" x2="30479" y2="83333"/>
                        <a14:foregroundMark x1="30479" y1="83333" x2="70890" y2="86842"/>
                        <a14:foregroundMark x1="70890" y1="86842" x2="90068" y2="86842"/>
                        <a14:foregroundMark x1="90068" y1="86842" x2="95548" y2="81140"/>
                        <a14:foregroundMark x1="94178" y1="76316" x2="94863" y2="23684"/>
                        <a14:foregroundMark x1="94863" y1="23684" x2="97945" y2="55263"/>
                        <a14:foregroundMark x1="97603" y1="56579" x2="97603" y2="86842"/>
                        <a14:foregroundMark x1="98288" y1="94737" x2="97945" y2="9211"/>
                        <a14:foregroundMark x1="97945" y1="9211" x2="54795" y2="877"/>
                        <a14:foregroundMark x1="54795" y1="877" x2="71575" y2="9649"/>
                        <a14:foregroundMark x1="71575" y1="9649" x2="72603" y2="9649"/>
                        <a14:foregroundMark x1="98288" y1="11404" x2="98288" y2="1316"/>
                        <a14:foregroundMark x1="97603" y1="3070" x2="84247" y2="21930"/>
                        <a14:foregroundMark x1="84247" y1="21930" x2="84247" y2="23246"/>
                        <a14:foregroundMark x1="72603" y1="95175" x2="33219" y2="96053"/>
                        <a14:foregroundMark x1="33219" y1="96053" x2="29795" y2="94737"/>
                        <a14:foregroundMark x1="75000" y1="95614" x2="76370" y2="96491"/>
                        <a14:foregroundMark x1="96918" y1="93860" x2="79452" y2="92982"/>
                        <a14:foregroundMark x1="32192" y1="97368" x2="23288" y2="95175"/>
                        <a14:foregroundMark x1="26027" y1="96053" x2="22260" y2="96491"/>
                        <a14:foregroundMark x1="35274" y1="97807" x2="35274" y2="97807"/>
                        <a14:foregroundMark x1="42123" y1="98684" x2="42123" y2="98684"/>
                        <a14:foregroundMark x1="49658" y1="97807" x2="49658" y2="97807"/>
                        <a14:foregroundMark x1="54110" y1="97807" x2="54110" y2="97807"/>
                        <a14:foregroundMark x1="58219" y1="97368" x2="58219" y2="97368"/>
                        <a14:foregroundMark x1="63356" y1="97807" x2="63356" y2="97807"/>
                        <a14:foregroundMark x1="66438" y1="97807" x2="66438" y2="97807"/>
                        <a14:foregroundMark x1="69863" y1="97807" x2="69863" y2="97807"/>
                        <a14:foregroundMark x1="72945" y1="97807" x2="72945" y2="97807"/>
                        <a14:foregroundMark x1="76370" y1="97807" x2="76370" y2="97807"/>
                        <a14:foregroundMark x1="1712" y1="82895" x2="3767" y2="91228"/>
                        <a14:foregroundMark x1="11986" y1="95175" x2="9247" y2="92544"/>
                        <a14:foregroundMark x1="19521" y1="93860" x2="1370" y2="92544"/>
                        <a14:foregroundMark x1="1370" y1="92544" x2="1027" y2="93421"/>
                        <a14:foregroundMark x1="342" y1="76316" x2="1712" y2="67544"/>
                        <a14:foregroundMark x1="342" y1="64474" x2="342" y2="12719"/>
                        <a14:foregroundMark x1="342" y1="12719" x2="20890" y2="2193"/>
                        <a14:foregroundMark x1="42123" y1="5263" x2="0" y2="2193"/>
                        <a14:foregroundMark x1="64041" y1="7018" x2="19178" y2="4386"/>
                        <a14:foregroundMark x1="50685" y1="5263" x2="31849" y2="877"/>
                        <a14:foregroundMark x1="31849" y1="877" x2="28082" y2="2193"/>
                        <a14:foregroundMark x1="39384" y1="1316" x2="78425" y2="3509"/>
                        <a14:foregroundMark x1="78425" y1="3509" x2="76712" y2="1754"/>
                        <a14:foregroundMark x1="92466" y1="10088" x2="86986" y2="0"/>
                        <a14:foregroundMark x1="94521" y1="2193" x2="82192" y2="1316"/>
                        <a14:foregroundMark x1="31849" y1="1316" x2="18836" y2="2193"/>
                        <a14:foregroundMark x1="63356" y1="5263" x2="50685" y2="4825"/>
                        <a14:foregroundMark x1="58562" y1="60526" x2="47603" y2="50000"/>
                        <a14:foregroundMark x1="43836" y1="50439" x2="33562" y2="42544"/>
                        <a14:foregroundMark x1="41096" y1="45175" x2="40068" y2="42105"/>
                        <a14:foregroundMark x1="43151" y1="42544" x2="33904" y2="40789"/>
                      </a14:backgroundRemoval>
                    </a14:imgEffect>
                  </a14:imgLayer>
                </a14:imgProps>
              </a:ext>
            </a:extLst>
          </a:blip>
          <a:stretch>
            <a:fillRect/>
          </a:stretch>
        </p:blipFill>
        <p:spPr>
          <a:xfrm>
            <a:off x="4300493" y="1227507"/>
            <a:ext cx="2044986" cy="1596770"/>
          </a:xfrm>
          <a:prstGeom prst="rect">
            <a:avLst/>
          </a:prstGeom>
        </p:spPr>
      </p:pic>
      <p:sp>
        <p:nvSpPr>
          <p:cNvPr id="33" name="Rechthoek 12">
            <a:extLst>
              <a:ext uri="{FF2B5EF4-FFF2-40B4-BE49-F238E27FC236}">
                <a16:creationId xmlns:a16="http://schemas.microsoft.com/office/drawing/2014/main" id="{3C85F0C8-1549-4778-9035-1985BB982C70}"/>
              </a:ext>
            </a:extLst>
          </p:cNvPr>
          <p:cNvSpPr/>
          <p:nvPr/>
        </p:nvSpPr>
        <p:spPr>
          <a:xfrm>
            <a:off x="4249884" y="2846263"/>
            <a:ext cx="2044985" cy="320071"/>
          </a:xfrm>
          <a:prstGeom prst="rect">
            <a:avLst/>
          </a:prstGeom>
        </p:spPr>
        <p:txBody>
          <a:bodyPr wrap="square" lIns="91424" tIns="45712" rIns="91424" bIns="45712">
            <a:spAutoFit/>
          </a:bodyPr>
          <a:lstStyle/>
          <a:p>
            <a:pPr marL="0" marR="0" lvl="0" indent="0" algn="ctr" defTabSz="914400" rtl="0" eaLnBrk="1" fontAlgn="ctr" latinLnBrk="0" hangingPunct="1">
              <a:lnSpc>
                <a:spcPct val="90000"/>
              </a:lnSpc>
              <a:spcBef>
                <a:spcPts val="0"/>
              </a:spcBef>
              <a:spcAft>
                <a:spcPts val="0"/>
              </a:spcAft>
              <a:buClrTx/>
              <a:buSzTx/>
              <a:buFontTx/>
              <a:buNone/>
              <a:tabLst/>
              <a:defRPr/>
            </a:pPr>
            <a:r>
              <a:rPr kumimoji="0" lang="nl-BE" sz="1600" b="0" i="0" u="none" strike="noStrike" kern="1200" cap="none" spc="0" normalizeH="0" baseline="0" noProof="0" dirty="0" err="1">
                <a:ln>
                  <a:noFill/>
                </a:ln>
                <a:solidFill>
                  <a:prstClr val="white"/>
                </a:solidFill>
                <a:effectLst/>
                <a:uLnTx/>
                <a:uFillTx/>
                <a:latin typeface="Calibri" panose="020F0502020204030204"/>
                <a:ea typeface="+mn-ea"/>
                <a:cs typeface="Arial" panose="020B0604020202020204" pitchFamily="34" charset="0"/>
              </a:rPr>
              <a:t>Leerlingsoftware</a:t>
            </a:r>
            <a:endParaRPr kumimoji="0" lang="nl-BE" sz="1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pic>
        <p:nvPicPr>
          <p:cNvPr id="6" name="Afbeelding 5">
            <a:extLst>
              <a:ext uri="{FF2B5EF4-FFF2-40B4-BE49-F238E27FC236}">
                <a16:creationId xmlns:a16="http://schemas.microsoft.com/office/drawing/2014/main" id="{B0A18AD5-CA13-4E08-AD10-0C1E48B35E59}"/>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4392227" y="1320823"/>
            <a:ext cx="1898310" cy="1360926"/>
          </a:xfrm>
          <a:prstGeom prst="rect">
            <a:avLst/>
          </a:prstGeom>
        </p:spPr>
      </p:pic>
    </p:spTree>
    <p:extLst>
      <p:ext uri="{BB962C8B-B14F-4D97-AF65-F5344CB8AC3E}">
        <p14:creationId xmlns:p14="http://schemas.microsoft.com/office/powerpoint/2010/main" val="1314638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ep 5"/>
          <p:cNvGrpSpPr/>
          <p:nvPr/>
        </p:nvGrpSpPr>
        <p:grpSpPr>
          <a:xfrm>
            <a:off x="3036487" y="1026791"/>
            <a:ext cx="6119028" cy="4804420"/>
            <a:chOff x="2123683" y="912651"/>
            <a:chExt cx="4589271" cy="3603315"/>
          </a:xfrm>
        </p:grpSpPr>
        <p:pic>
          <p:nvPicPr>
            <p:cNvPr id="3" name="Afbeelding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23773" y="912651"/>
              <a:ext cx="4589181" cy="3059697"/>
            </a:xfrm>
            <a:prstGeom prst="roundRect">
              <a:avLst>
                <a:gd name="adj" fmla="val 4167"/>
              </a:avLst>
            </a:prstGeom>
            <a:solidFill>
              <a:srgbClr val="FFFFFF"/>
            </a:solidFill>
            <a:ln w="76200" cap="sq">
              <a:noFill/>
              <a:miter lim="800000"/>
            </a:ln>
            <a:effectLst/>
          </p:spPr>
        </p:pic>
        <p:pic>
          <p:nvPicPr>
            <p:cNvPr id="4" name="Afbeelding 3"/>
            <p:cNvPicPr>
              <a:picLocks noChangeAspect="1"/>
            </p:cNvPicPr>
            <p:nvPr/>
          </p:nvPicPr>
          <p:blipFill rotWithShape="1">
            <a:blip r:embed="rId4" cstate="print">
              <a:extLst>
                <a:ext uri="{28A0092B-C50C-407E-A947-70E740481C1C}">
                  <a14:useLocalDpi xmlns:a14="http://schemas.microsoft.com/office/drawing/2010/main" val="0"/>
                </a:ext>
              </a:extLst>
            </a:blip>
            <a:srcRect t="12602" r="26962" b="74801"/>
            <a:stretch/>
          </p:blipFill>
          <p:spPr>
            <a:xfrm>
              <a:off x="2123683" y="3795886"/>
              <a:ext cx="4589271" cy="720080"/>
            </a:xfrm>
            <a:prstGeom prst="rect">
              <a:avLst/>
            </a:prstGeom>
          </p:spPr>
        </p:pic>
      </p:grpSp>
      <p:sp>
        <p:nvSpPr>
          <p:cNvPr id="16" name="Tekstvak 15"/>
          <p:cNvSpPr txBox="1"/>
          <p:nvPr/>
        </p:nvSpPr>
        <p:spPr>
          <a:xfrm>
            <a:off x="3036487" y="4871104"/>
            <a:ext cx="6119028" cy="666786"/>
          </a:xfrm>
          <a:prstGeom prst="rect">
            <a:avLst/>
          </a:prstGeom>
          <a:noFill/>
        </p:spPr>
        <p:txBody>
          <a:bodyPr wrap="square" rtlCol="0">
            <a:spAutoFit/>
          </a:bodyPr>
          <a:lstStyle/>
          <a:p>
            <a:pPr algn="ctr"/>
            <a:r>
              <a:rPr lang="nl-NL" sz="3733" dirty="0">
                <a:solidFill>
                  <a:schemeClr val="bg1"/>
                </a:solidFill>
                <a:latin typeface="Amaranth" panose="02000503050000020004" pitchFamily="2" charset="0"/>
              </a:rPr>
              <a:t>Opbouw &amp; differentiatie</a:t>
            </a:r>
          </a:p>
        </p:txBody>
      </p:sp>
      <p:pic>
        <p:nvPicPr>
          <p:cNvPr id="7" name="Afbeelding 6">
            <a:extLst>
              <a:ext uri="{FF2B5EF4-FFF2-40B4-BE49-F238E27FC236}">
                <a16:creationId xmlns:a16="http://schemas.microsoft.com/office/drawing/2014/main" id="{FF66F5F4-F8F5-427B-A00E-D6FA63A66794}"/>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11241707" y="6052930"/>
            <a:ext cx="661508" cy="556592"/>
          </a:xfrm>
          <a:prstGeom prst="rect">
            <a:avLst/>
          </a:prstGeom>
        </p:spPr>
      </p:pic>
    </p:spTree>
    <p:extLst>
      <p:ext uri="{BB962C8B-B14F-4D97-AF65-F5344CB8AC3E}">
        <p14:creationId xmlns:p14="http://schemas.microsoft.com/office/powerpoint/2010/main" val="128316502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Afbeelding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0800" y="1077013"/>
            <a:ext cx="6110400" cy="4084800"/>
          </a:xfrm>
          <a:prstGeom prst="roundRect">
            <a:avLst>
              <a:gd name="adj" fmla="val 4167"/>
            </a:avLst>
          </a:prstGeom>
          <a:solidFill>
            <a:srgbClr val="FFFFFF"/>
          </a:solidFill>
          <a:ln w="76200" cap="sq">
            <a:noFill/>
            <a:miter lim="800000"/>
          </a:ln>
          <a:effectLst/>
        </p:spPr>
      </p:pic>
      <p:pic>
        <p:nvPicPr>
          <p:cNvPr id="7" name="Afbeelding 6"/>
          <p:cNvPicPr>
            <a:picLocks noChangeAspect="1"/>
          </p:cNvPicPr>
          <p:nvPr/>
        </p:nvPicPr>
        <p:blipFill rotWithShape="1">
          <a:blip r:embed="rId3" cstate="print">
            <a:extLst>
              <a:ext uri="{28A0092B-C50C-407E-A947-70E740481C1C}">
                <a14:useLocalDpi xmlns:a14="http://schemas.microsoft.com/office/drawing/2010/main" val="0"/>
              </a:ext>
            </a:extLst>
          </a:blip>
          <a:srcRect t="65400" r="27239" b="23400"/>
          <a:stretch/>
        </p:blipFill>
        <p:spPr>
          <a:xfrm>
            <a:off x="3040800" y="4934651"/>
            <a:ext cx="6110400" cy="912277"/>
          </a:xfrm>
          <a:prstGeom prst="rect">
            <a:avLst/>
          </a:prstGeom>
        </p:spPr>
      </p:pic>
      <p:sp>
        <p:nvSpPr>
          <p:cNvPr id="13" name="Tekstvak 12"/>
          <p:cNvSpPr txBox="1"/>
          <p:nvPr/>
        </p:nvSpPr>
        <p:spPr>
          <a:xfrm>
            <a:off x="3048000" y="4965261"/>
            <a:ext cx="6120000" cy="666786"/>
          </a:xfrm>
          <a:prstGeom prst="rect">
            <a:avLst/>
          </a:prstGeom>
          <a:noFill/>
        </p:spPr>
        <p:txBody>
          <a:bodyPr wrap="square" rtlCol="0">
            <a:spAutoFit/>
          </a:bodyPr>
          <a:lstStyle/>
          <a:p>
            <a:pPr algn="ctr"/>
            <a:r>
              <a:rPr lang="nl-NL" sz="3733" dirty="0">
                <a:solidFill>
                  <a:schemeClr val="bg1"/>
                </a:solidFill>
                <a:latin typeface="Amaranth" panose="02000503050000020004" pitchFamily="2" charset="0"/>
              </a:rPr>
              <a:t>Doorgaande leerlijn</a:t>
            </a:r>
          </a:p>
        </p:txBody>
      </p:sp>
      <p:pic>
        <p:nvPicPr>
          <p:cNvPr id="9" name="Afbeelding 8">
            <a:extLst>
              <a:ext uri="{FF2B5EF4-FFF2-40B4-BE49-F238E27FC236}">
                <a16:creationId xmlns:a16="http://schemas.microsoft.com/office/drawing/2014/main" id="{D1FA5D4D-91CC-4E5D-8489-07739B1E2F1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1241707" y="6052930"/>
            <a:ext cx="661508" cy="556592"/>
          </a:xfrm>
          <a:prstGeom prst="rect">
            <a:avLst/>
          </a:prstGeom>
        </p:spPr>
      </p:pic>
    </p:spTree>
    <p:extLst>
      <p:ext uri="{BB962C8B-B14F-4D97-AF65-F5344CB8AC3E}">
        <p14:creationId xmlns:p14="http://schemas.microsoft.com/office/powerpoint/2010/main" val="159010233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15" name="think-cell Slide" r:id="rId5" imgW="353" imgH="353" progId="TCLayout.ActiveDocument.1">
                  <p:embed/>
                </p:oleObj>
              </mc:Choice>
              <mc:Fallback>
                <p:oleObj name="think-cell Slide" r:id="rId5" imgW="353" imgH="353"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9" name="Straight Connector 8"/>
          <p:cNvCxnSpPr>
            <a:cxnSpLocks/>
          </p:cNvCxnSpPr>
          <p:nvPr/>
        </p:nvCxnSpPr>
        <p:spPr>
          <a:xfrm flipV="1">
            <a:off x="-234475" y="4141948"/>
            <a:ext cx="7646529" cy="38968"/>
          </a:xfrm>
          <a:prstGeom prst="line">
            <a:avLst/>
          </a:prstGeom>
          <a:ln w="19050"/>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1506559" y="1058709"/>
            <a:ext cx="9185560" cy="1294577"/>
            <a:chOff x="959269" y="1528470"/>
            <a:chExt cx="9317862" cy="1294577"/>
          </a:xfrm>
        </p:grpSpPr>
        <p:sp>
          <p:nvSpPr>
            <p:cNvPr id="19" name="TextBox 18"/>
            <p:cNvSpPr txBox="1"/>
            <p:nvPr/>
          </p:nvSpPr>
          <p:spPr>
            <a:xfrm>
              <a:off x="959269" y="1528470"/>
              <a:ext cx="8491776" cy="861774"/>
            </a:xfrm>
            <a:prstGeom prst="rect">
              <a:avLst/>
            </a:prstGeom>
            <a:noFill/>
          </p:spPr>
          <p:txBody>
            <a:bodyPr wrap="none" rtlCol="0">
              <a:spAutoFit/>
            </a:bodyPr>
            <a:lstStyle/>
            <a:p>
              <a:r>
                <a:rPr lang="nl-BE" sz="5000" b="1" dirty="0">
                  <a:solidFill>
                    <a:srgbClr val="E6007E"/>
                  </a:solidFill>
                  <a:latin typeface="Amaranth" panose="02000503000000020004" pitchFamily="50" charset="0"/>
                  <a:cs typeface="Arial" panose="020B0604020202020204" pitchFamily="34" charset="0"/>
                </a:rPr>
                <a:t>Duidelijke en doorgaande lijn</a:t>
              </a:r>
            </a:p>
          </p:txBody>
        </p:sp>
        <p:sp>
          <p:nvSpPr>
            <p:cNvPr id="55" name="TextBox 54"/>
            <p:cNvSpPr txBox="1"/>
            <p:nvPr/>
          </p:nvSpPr>
          <p:spPr>
            <a:xfrm>
              <a:off x="4814505" y="2269049"/>
              <a:ext cx="5462626" cy="553998"/>
            </a:xfrm>
            <a:prstGeom prst="rect">
              <a:avLst/>
            </a:prstGeom>
            <a:noFill/>
          </p:spPr>
          <p:txBody>
            <a:bodyPr wrap="none" rtlCol="0">
              <a:spAutoFit/>
            </a:bodyPr>
            <a:lstStyle/>
            <a:p>
              <a:r>
                <a:rPr lang="nl-BE" sz="3000" b="1" dirty="0">
                  <a:solidFill>
                    <a:srgbClr val="E6007E"/>
                  </a:solidFill>
                  <a:cs typeface="Arial" panose="020B0604020202020204" pitchFamily="34" charset="0"/>
                </a:rPr>
                <a:t>Aansluitend bij Schatkist editie 3</a:t>
              </a:r>
            </a:p>
          </p:txBody>
        </p:sp>
      </p:grpSp>
      <p:grpSp>
        <p:nvGrpSpPr>
          <p:cNvPr id="46" name="Group 45"/>
          <p:cNvGrpSpPr/>
          <p:nvPr/>
        </p:nvGrpSpPr>
        <p:grpSpPr>
          <a:xfrm>
            <a:off x="1506559" y="4006829"/>
            <a:ext cx="338667" cy="338667"/>
            <a:chOff x="5700889" y="3623733"/>
            <a:chExt cx="496711" cy="496711"/>
          </a:xfrm>
        </p:grpSpPr>
        <p:sp>
          <p:nvSpPr>
            <p:cNvPr id="47" name="Oval 46"/>
            <p:cNvSpPr/>
            <p:nvPr/>
          </p:nvSpPr>
          <p:spPr>
            <a:xfrm>
              <a:off x="5700889" y="3623733"/>
              <a:ext cx="496711" cy="496711"/>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48" name="Oval 47"/>
            <p:cNvSpPr/>
            <p:nvPr/>
          </p:nvSpPr>
          <p:spPr>
            <a:xfrm>
              <a:off x="5782733" y="3705577"/>
              <a:ext cx="333022" cy="3330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grpSp>
      <p:pic>
        <p:nvPicPr>
          <p:cNvPr id="69" name="Afbeelding 68">
            <a:hlinkClick r:id="rId7"/>
            <a:extLst>
              <a:ext uri="{FF2B5EF4-FFF2-40B4-BE49-F238E27FC236}">
                <a16:creationId xmlns:a16="http://schemas.microsoft.com/office/drawing/2014/main" id="{EF1E6F5F-0407-4303-A39A-DFFB3AC4FE5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526292" y="3119460"/>
            <a:ext cx="2671720" cy="2083943"/>
          </a:xfrm>
          <a:prstGeom prst="rect">
            <a:avLst/>
          </a:prstGeom>
        </p:spPr>
      </p:pic>
      <p:sp>
        <p:nvSpPr>
          <p:cNvPr id="70" name="Tekstvak 69">
            <a:hlinkClick r:id="rId7"/>
            <a:extLst>
              <a:ext uri="{FF2B5EF4-FFF2-40B4-BE49-F238E27FC236}">
                <a16:creationId xmlns:a16="http://schemas.microsoft.com/office/drawing/2014/main" id="{A050F030-4117-4443-9052-6A79BF25E9DD}"/>
              </a:ext>
            </a:extLst>
          </p:cNvPr>
          <p:cNvSpPr txBox="1"/>
          <p:nvPr/>
        </p:nvSpPr>
        <p:spPr>
          <a:xfrm>
            <a:off x="7999587" y="5424594"/>
            <a:ext cx="1597039" cy="5693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dirty="0">
                <a:ln>
                  <a:noFill/>
                </a:ln>
                <a:solidFill>
                  <a:prstClr val="black"/>
                </a:solidFill>
                <a:effectLst/>
                <a:uLnTx/>
                <a:uFillTx/>
                <a:ea typeface="+mn-ea"/>
                <a:cs typeface="+mn-cs"/>
              </a:rPr>
              <a:t>Kleuteraanbo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300" b="0" i="0" u="none" strike="noStrike" kern="1200" cap="none" spc="0" normalizeH="0" baseline="0" noProof="0" dirty="0">
                <a:ln>
                  <a:noFill/>
                </a:ln>
                <a:solidFill>
                  <a:prstClr val="black"/>
                </a:solidFill>
                <a:effectLst/>
                <a:uLnTx/>
                <a:uFillTx/>
                <a:ea typeface="+mn-ea"/>
                <a:cs typeface="+mn-cs"/>
              </a:rPr>
              <a:t>voor groep 1 en 2</a:t>
            </a:r>
          </a:p>
        </p:txBody>
      </p:sp>
      <p:pic>
        <p:nvPicPr>
          <p:cNvPr id="71" name="Afbeelding 70">
            <a:hlinkClick r:id="rId9"/>
            <a:extLst>
              <a:ext uri="{FF2B5EF4-FFF2-40B4-BE49-F238E27FC236}">
                <a16:creationId xmlns:a16="http://schemas.microsoft.com/office/drawing/2014/main" id="{9733E763-B659-4212-A00F-005B0EFB5A5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388958" y="3083524"/>
            <a:ext cx="2394599" cy="1793638"/>
          </a:xfrm>
          <a:prstGeom prst="rect">
            <a:avLst/>
          </a:prstGeom>
        </p:spPr>
      </p:pic>
      <p:sp>
        <p:nvSpPr>
          <p:cNvPr id="72" name="Tekstvak 71">
            <a:hlinkClick r:id="rId9"/>
            <a:extLst>
              <a:ext uri="{FF2B5EF4-FFF2-40B4-BE49-F238E27FC236}">
                <a16:creationId xmlns:a16="http://schemas.microsoft.com/office/drawing/2014/main" id="{84D87FB5-C1E0-4142-8946-8F54C232B670}"/>
              </a:ext>
            </a:extLst>
          </p:cNvPr>
          <p:cNvSpPr txBox="1"/>
          <p:nvPr/>
        </p:nvSpPr>
        <p:spPr>
          <a:xfrm>
            <a:off x="2647346" y="5422453"/>
            <a:ext cx="1877822" cy="5693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b="1" dirty="0">
                <a:solidFill>
                  <a:prstClr val="black"/>
                </a:solidFill>
              </a:rPr>
              <a:t>T</a:t>
            </a:r>
            <a:r>
              <a:rPr kumimoji="0" lang="nl-NL" sz="1800" b="1" i="0" u="none" strike="noStrike" kern="1200" cap="none" spc="0" normalizeH="0" baseline="0" noProof="0" dirty="0" err="1">
                <a:ln>
                  <a:noFill/>
                </a:ln>
                <a:solidFill>
                  <a:prstClr val="black"/>
                </a:solidFill>
                <a:effectLst/>
                <a:uLnTx/>
                <a:uFillTx/>
                <a:ea typeface="+mn-ea"/>
                <a:cs typeface="+mn-cs"/>
              </a:rPr>
              <a:t>otaalprogramma</a:t>
            </a:r>
            <a:endParaRPr kumimoji="0" lang="nl-NL" sz="1800" b="1" i="0" u="none" strike="noStrike" kern="1200" cap="none" spc="0" normalizeH="0" baseline="0" noProof="0" dirty="0">
              <a:ln>
                <a:noFill/>
              </a:ln>
              <a:solidFill>
                <a:prstClr val="black"/>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300" b="0" i="0" u="none" strike="noStrike" kern="1200" cap="none" spc="0" normalizeH="0" baseline="0" noProof="0" dirty="0">
                <a:ln>
                  <a:noFill/>
                </a:ln>
                <a:solidFill>
                  <a:prstClr val="black"/>
                </a:solidFill>
                <a:effectLst/>
                <a:uLnTx/>
                <a:uFillTx/>
                <a:ea typeface="+mn-ea"/>
                <a:cs typeface="+mn-cs"/>
              </a:rPr>
              <a:t>voor 0- tot 4-jarigen</a:t>
            </a:r>
          </a:p>
        </p:txBody>
      </p:sp>
      <p:grpSp>
        <p:nvGrpSpPr>
          <p:cNvPr id="17" name="Group 6">
            <a:extLst>
              <a:ext uri="{FF2B5EF4-FFF2-40B4-BE49-F238E27FC236}">
                <a16:creationId xmlns:a16="http://schemas.microsoft.com/office/drawing/2014/main" id="{AA791921-0BA8-4E7B-9D19-B038D5262AB2}"/>
              </a:ext>
            </a:extLst>
          </p:cNvPr>
          <p:cNvGrpSpPr/>
          <p:nvPr/>
        </p:nvGrpSpPr>
        <p:grpSpPr>
          <a:xfrm>
            <a:off x="6634064" y="4006830"/>
            <a:ext cx="338667" cy="338667"/>
            <a:chOff x="5700889" y="3623733"/>
            <a:chExt cx="496711" cy="496711"/>
          </a:xfrm>
        </p:grpSpPr>
        <p:sp>
          <p:nvSpPr>
            <p:cNvPr id="18" name="Oval 5">
              <a:extLst>
                <a:ext uri="{FF2B5EF4-FFF2-40B4-BE49-F238E27FC236}">
                  <a16:creationId xmlns:a16="http://schemas.microsoft.com/office/drawing/2014/main" id="{4EC75106-E6F0-4909-BA19-A1651C590E77}"/>
                </a:ext>
              </a:extLst>
            </p:cNvPr>
            <p:cNvSpPr/>
            <p:nvPr/>
          </p:nvSpPr>
          <p:spPr>
            <a:xfrm>
              <a:off x="5700889" y="3623733"/>
              <a:ext cx="496711" cy="496711"/>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20" name="Oval 44">
              <a:extLst>
                <a:ext uri="{FF2B5EF4-FFF2-40B4-BE49-F238E27FC236}">
                  <a16:creationId xmlns:a16="http://schemas.microsoft.com/office/drawing/2014/main" id="{4448543B-6EB0-4A33-9637-42B02570E198}"/>
                </a:ext>
              </a:extLst>
            </p:cNvPr>
            <p:cNvSpPr/>
            <p:nvPr/>
          </p:nvSpPr>
          <p:spPr>
            <a:xfrm>
              <a:off x="5782733" y="3705577"/>
              <a:ext cx="333022" cy="3330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grpSp>
      <p:pic>
        <p:nvPicPr>
          <p:cNvPr id="23" name="Afbeelding 1">
            <a:extLst>
              <a:ext uri="{FF2B5EF4-FFF2-40B4-BE49-F238E27FC236}">
                <a16:creationId xmlns:a16="http://schemas.microsoft.com/office/drawing/2014/main" id="{57738D4B-D987-4DB2-B827-1C57BC321561}"/>
              </a:ext>
            </a:extLst>
          </p:cNvPr>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7638140" y="6368166"/>
            <a:ext cx="722894" cy="489268"/>
          </a:xfrm>
          <a:prstGeom prst="rect">
            <a:avLst/>
          </a:prstGeom>
        </p:spPr>
      </p:pic>
      <p:pic>
        <p:nvPicPr>
          <p:cNvPr id="24" name="Picture 1" descr="\\harpo\users\jelle.janssen\Desktop\pompom vooraanzicht kleur.png">
            <a:extLst>
              <a:ext uri="{FF2B5EF4-FFF2-40B4-BE49-F238E27FC236}">
                <a16:creationId xmlns:a16="http://schemas.microsoft.com/office/drawing/2014/main" id="{1F85231B-2885-4B9D-965C-5C27B2516948}"/>
              </a:ext>
            </a:extLst>
          </p:cNvPr>
          <p:cNvPicPr>
            <a:picLocks noChangeAspect="1" noChangeArrowheads="1"/>
          </p:cNvPicPr>
          <p:nvPr/>
        </p:nvPicPr>
        <p:blipFill>
          <a:blip r:embed="rId12" cstate="hqprint">
            <a:extLst>
              <a:ext uri="{28A0092B-C50C-407E-A947-70E740481C1C}">
                <a14:useLocalDpi xmlns:a14="http://schemas.microsoft.com/office/drawing/2010/main" val="0"/>
              </a:ext>
            </a:extLst>
          </a:blip>
          <a:srcRect/>
          <a:stretch>
            <a:fillRect/>
          </a:stretch>
        </p:blipFill>
        <p:spPr bwMode="auto">
          <a:xfrm>
            <a:off x="7011685" y="6368166"/>
            <a:ext cx="722754" cy="489268"/>
          </a:xfrm>
          <a:prstGeom prst="rect">
            <a:avLst/>
          </a:prstGeom>
          <a:noFill/>
          <a:extLst>
            <a:ext uri="{909E8E84-426E-40DD-AFC4-6F175D3DCCD1}">
              <a14:hiddenFill xmlns:a14="http://schemas.microsoft.com/office/drawing/2010/main">
                <a:solidFill>
                  <a:srgbClr val="FFFFFF"/>
                </a:solidFill>
              </a14:hiddenFill>
            </a:ext>
          </a:extLst>
        </p:spPr>
      </p:pic>
      <p:cxnSp>
        <p:nvCxnSpPr>
          <p:cNvPr id="3" name="Rechte verbindingslijn 2">
            <a:extLst>
              <a:ext uri="{FF2B5EF4-FFF2-40B4-BE49-F238E27FC236}">
                <a16:creationId xmlns:a16="http://schemas.microsoft.com/office/drawing/2014/main" id="{86F0946E-13ED-4B66-8E78-156B4CC97888}"/>
              </a:ext>
            </a:extLst>
          </p:cNvPr>
          <p:cNvCxnSpPr>
            <a:cxnSpLocks/>
          </p:cNvCxnSpPr>
          <p:nvPr/>
        </p:nvCxnSpPr>
        <p:spPr>
          <a:xfrm>
            <a:off x="10434579" y="4180916"/>
            <a:ext cx="2184572"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23313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Afbeelding 27">
            <a:hlinkClick r:id="rId5"/>
            <a:extLst>
              <a:ext uri="{FF2B5EF4-FFF2-40B4-BE49-F238E27FC236}">
                <a16:creationId xmlns:a16="http://schemas.microsoft.com/office/drawing/2014/main" id="{DDF6ACF0-C6AE-4C4D-9831-D75A0038DBB1}"/>
              </a:ext>
            </a:extLst>
          </p:cNvPr>
          <p:cNvPicPr>
            <a:picLocks noChangeAspect="1"/>
          </p:cNvPicPr>
          <p:nvPr/>
        </p:nvPicPr>
        <p:blipFill rotWithShape="1">
          <a:blip r:embed="rId6" cstate="hqprint">
            <a:extLst>
              <a:ext uri="{28A0092B-C50C-407E-A947-70E740481C1C}">
                <a14:useLocalDpi xmlns:a14="http://schemas.microsoft.com/office/drawing/2010/main" val="0"/>
              </a:ext>
            </a:extLst>
          </a:blip>
          <a:srcRect l="23491" t="35119" r="29442" b="34809"/>
          <a:stretch/>
        </p:blipFill>
        <p:spPr>
          <a:xfrm>
            <a:off x="4754880" y="2274569"/>
            <a:ext cx="2880360" cy="1301057"/>
          </a:xfrm>
          <a:prstGeom prst="rect">
            <a:avLst/>
          </a:prstGeom>
        </p:spPr>
      </p:pic>
      <p:sp>
        <p:nvSpPr>
          <p:cNvPr id="29" name="Tekstvak 28">
            <a:hlinkClick r:id="rId5"/>
            <a:extLst>
              <a:ext uri="{FF2B5EF4-FFF2-40B4-BE49-F238E27FC236}">
                <a16:creationId xmlns:a16="http://schemas.microsoft.com/office/drawing/2014/main" id="{37282C8A-3032-41CF-8504-49FECEFA1CAA}"/>
              </a:ext>
            </a:extLst>
          </p:cNvPr>
          <p:cNvSpPr txBox="1"/>
          <p:nvPr/>
        </p:nvSpPr>
        <p:spPr>
          <a:xfrm>
            <a:off x="5220989" y="3575626"/>
            <a:ext cx="1878912" cy="61555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dirty="0">
                <a:ln>
                  <a:noFill/>
                </a:ln>
                <a:solidFill>
                  <a:prstClr val="black"/>
                </a:solidFill>
                <a:effectLst/>
                <a:uLnTx/>
                <a:uFillTx/>
                <a:ea typeface="+mn-ea"/>
                <a:cs typeface="+mn-cs"/>
              </a:rPr>
              <a:t>Schrijfmethode</a:t>
            </a:r>
            <a:r>
              <a:rPr kumimoji="0" lang="nl-NL" sz="2000" b="0" i="0" u="none" strike="noStrike" kern="1200" cap="none" spc="0" normalizeH="0" baseline="0" noProof="0" dirty="0">
                <a:ln>
                  <a:noFill/>
                </a:ln>
                <a:solidFill>
                  <a:prstClr val="black"/>
                </a:solidFill>
                <a:effectLst/>
                <a:uLnTx/>
                <a:uFillTx/>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dirty="0">
                <a:ln>
                  <a:noFill/>
                </a:ln>
                <a:solidFill>
                  <a:prstClr val="black"/>
                </a:solidFill>
                <a:effectLst/>
                <a:uLnTx/>
                <a:uFillTx/>
                <a:ea typeface="+mn-ea"/>
                <a:cs typeface="+mn-cs"/>
              </a:rPr>
              <a:t>voor groep 3</a:t>
            </a:r>
          </a:p>
        </p:txBody>
      </p:sp>
      <p:graphicFrame>
        <p:nvGraphicFramePr>
          <p:cNvPr id="10" name="Object 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39" name="think-cell Slide" r:id="rId7" imgW="353" imgH="353" progId="TCLayout.ActiveDocument.1">
                  <p:embed/>
                </p:oleObj>
              </mc:Choice>
              <mc:Fallback>
                <p:oleObj name="think-cell Slide" r:id="rId7" imgW="353" imgH="353" progId="TCLayout.ActiveDocument.1">
                  <p:embed/>
                  <p:pic>
                    <p:nvPicPr>
                      <p:cNvPr id="10" name="Object 9"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9" name="TextBox 18"/>
          <p:cNvSpPr txBox="1"/>
          <p:nvPr/>
        </p:nvSpPr>
        <p:spPr>
          <a:xfrm>
            <a:off x="1506559" y="1058709"/>
            <a:ext cx="8371201" cy="861774"/>
          </a:xfrm>
          <a:prstGeom prst="rect">
            <a:avLst/>
          </a:prstGeom>
          <a:noFill/>
        </p:spPr>
        <p:txBody>
          <a:bodyPr wrap="none" rtlCol="0">
            <a:spAutoFit/>
          </a:bodyPr>
          <a:lstStyle/>
          <a:p>
            <a:r>
              <a:rPr lang="nl-BE" sz="5000" b="1" dirty="0">
                <a:solidFill>
                  <a:srgbClr val="E6007E"/>
                </a:solidFill>
                <a:latin typeface="Amaranth" panose="02000503000000020004" pitchFamily="50" charset="0"/>
                <a:cs typeface="Arial" panose="020B0604020202020204" pitchFamily="34" charset="0"/>
              </a:rPr>
              <a:t>Duidelijke en doorgaande lijn</a:t>
            </a:r>
          </a:p>
        </p:txBody>
      </p:sp>
      <p:sp>
        <p:nvSpPr>
          <p:cNvPr id="25" name="Left Brace 7">
            <a:extLst>
              <a:ext uri="{FF2B5EF4-FFF2-40B4-BE49-F238E27FC236}">
                <a16:creationId xmlns:a16="http://schemas.microsoft.com/office/drawing/2014/main" id="{BC58DEB4-1EA8-4388-BE2A-F69F0A554FE0}"/>
              </a:ext>
            </a:extLst>
          </p:cNvPr>
          <p:cNvSpPr/>
          <p:nvPr/>
        </p:nvSpPr>
        <p:spPr>
          <a:xfrm>
            <a:off x="0" y="2876729"/>
            <a:ext cx="1965960" cy="2628900"/>
          </a:xfrm>
          <a:prstGeom prst="leftBrace">
            <a:avLst>
              <a:gd name="adj1" fmla="val 25000"/>
              <a:gd name="adj2" fmla="val 50000"/>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nl-BE"/>
          </a:p>
        </p:txBody>
      </p:sp>
      <p:sp>
        <p:nvSpPr>
          <p:cNvPr id="26" name="Tekstvak 25">
            <a:hlinkClick r:id="rId9"/>
            <a:extLst>
              <a:ext uri="{FF2B5EF4-FFF2-40B4-BE49-F238E27FC236}">
                <a16:creationId xmlns:a16="http://schemas.microsoft.com/office/drawing/2014/main" id="{B799ED78-3104-4097-B1C1-39109FCD38AD}"/>
              </a:ext>
            </a:extLst>
          </p:cNvPr>
          <p:cNvSpPr txBox="1"/>
          <p:nvPr/>
        </p:nvSpPr>
        <p:spPr>
          <a:xfrm>
            <a:off x="4288148" y="5619342"/>
            <a:ext cx="3744594"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b="1" i="0" u="none" strike="noStrike" kern="1200" cap="none" spc="0" normalizeH="0" baseline="0" noProof="0" dirty="0">
                <a:ln>
                  <a:noFill/>
                </a:ln>
                <a:solidFill>
                  <a:prstClr val="black"/>
                </a:solidFill>
                <a:effectLst/>
                <a:uLnTx/>
                <a:uFillTx/>
                <a:ea typeface="+mn-ea"/>
                <a:cs typeface="+mn-cs"/>
              </a:rPr>
              <a:t>Taal- en leesmethod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dirty="0">
                <a:ln>
                  <a:noFill/>
                </a:ln>
                <a:solidFill>
                  <a:prstClr val="black"/>
                </a:solidFill>
                <a:effectLst/>
                <a:uLnTx/>
                <a:uFillTx/>
                <a:ea typeface="+mn-ea"/>
                <a:cs typeface="+mn-cs"/>
              </a:rPr>
              <a:t>voor groep 3</a:t>
            </a:r>
          </a:p>
        </p:txBody>
      </p:sp>
      <p:pic>
        <p:nvPicPr>
          <p:cNvPr id="27" name="Picture 3" descr="\\harpo\users\jelle.janssen\Desktop\vll-logo.png">
            <a:hlinkClick r:id="rId9"/>
            <a:extLst>
              <a:ext uri="{FF2B5EF4-FFF2-40B4-BE49-F238E27FC236}">
                <a16:creationId xmlns:a16="http://schemas.microsoft.com/office/drawing/2014/main" id="{C1C53923-612A-4437-B6AE-F752536862DB}"/>
              </a:ext>
            </a:extLst>
          </p:cNvPr>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3746799" y="4792177"/>
            <a:ext cx="5260696" cy="769509"/>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cxnSp>
        <p:nvCxnSpPr>
          <p:cNvPr id="3" name="Rechte verbindingslijn 2">
            <a:extLst>
              <a:ext uri="{FF2B5EF4-FFF2-40B4-BE49-F238E27FC236}">
                <a16:creationId xmlns:a16="http://schemas.microsoft.com/office/drawing/2014/main" id="{3AC28D39-3312-4C0C-925E-35789CA88FDA}"/>
              </a:ext>
            </a:extLst>
          </p:cNvPr>
          <p:cNvCxnSpPr/>
          <p:nvPr/>
        </p:nvCxnSpPr>
        <p:spPr>
          <a:xfrm>
            <a:off x="1965960" y="2876729"/>
            <a:ext cx="1834479"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Rechte verbindingslijn 30">
            <a:extLst>
              <a:ext uri="{FF2B5EF4-FFF2-40B4-BE49-F238E27FC236}">
                <a16:creationId xmlns:a16="http://schemas.microsoft.com/office/drawing/2014/main" id="{0D5D85F4-9771-4EA4-914E-94284CCA38C0}"/>
              </a:ext>
            </a:extLst>
          </p:cNvPr>
          <p:cNvCxnSpPr>
            <a:cxnSpLocks/>
          </p:cNvCxnSpPr>
          <p:nvPr/>
        </p:nvCxnSpPr>
        <p:spPr>
          <a:xfrm>
            <a:off x="1965960" y="5505629"/>
            <a:ext cx="1545580" cy="18136"/>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Box 54">
            <a:extLst>
              <a:ext uri="{FF2B5EF4-FFF2-40B4-BE49-F238E27FC236}">
                <a16:creationId xmlns:a16="http://schemas.microsoft.com/office/drawing/2014/main" id="{EECB153D-C192-4143-BA18-6EB93A0F9E28}"/>
              </a:ext>
            </a:extLst>
          </p:cNvPr>
          <p:cNvSpPr txBox="1"/>
          <p:nvPr/>
        </p:nvSpPr>
        <p:spPr>
          <a:xfrm>
            <a:off x="5307055" y="1799288"/>
            <a:ext cx="5385064" cy="553998"/>
          </a:xfrm>
          <a:prstGeom prst="rect">
            <a:avLst/>
          </a:prstGeom>
          <a:noFill/>
        </p:spPr>
        <p:txBody>
          <a:bodyPr wrap="none" rtlCol="0">
            <a:spAutoFit/>
          </a:bodyPr>
          <a:lstStyle/>
          <a:p>
            <a:r>
              <a:rPr lang="nl-BE" sz="3000" b="1" dirty="0">
                <a:solidFill>
                  <a:srgbClr val="E6007E"/>
                </a:solidFill>
                <a:cs typeface="Arial" panose="020B0604020202020204" pitchFamily="34" charset="0"/>
              </a:rPr>
              <a:t>Aansluitend bij Schatkist editie 3</a:t>
            </a:r>
          </a:p>
        </p:txBody>
      </p:sp>
    </p:spTree>
    <p:extLst>
      <p:ext uri="{BB962C8B-B14F-4D97-AF65-F5344CB8AC3E}">
        <p14:creationId xmlns:p14="http://schemas.microsoft.com/office/powerpoint/2010/main" val="594485656"/>
      </p:ext>
    </p:extLst>
  </p:cSld>
  <p:clrMapOvr>
    <a:masterClrMapping/>
  </p:clrMapOvr>
  <p:transition spd="slow">
    <p:push/>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hoek 6">
            <a:extLst>
              <a:ext uri="{FF2B5EF4-FFF2-40B4-BE49-F238E27FC236}">
                <a16:creationId xmlns:a16="http://schemas.microsoft.com/office/drawing/2014/main" id="{1CF125CA-09AA-4BFB-BC81-798C28006F8A}"/>
              </a:ext>
            </a:extLst>
          </p:cNvPr>
          <p:cNvSpPr/>
          <p:nvPr/>
        </p:nvSpPr>
        <p:spPr>
          <a:xfrm>
            <a:off x="0" y="1598971"/>
            <a:ext cx="12192000" cy="4453959"/>
          </a:xfrm>
          <a:prstGeom prst="rect">
            <a:avLst/>
          </a:prstGeom>
          <a:solidFill>
            <a:srgbClr val="E6007E"/>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el 1">
            <a:extLst>
              <a:ext uri="{FF2B5EF4-FFF2-40B4-BE49-F238E27FC236}">
                <a16:creationId xmlns:a16="http://schemas.microsoft.com/office/drawing/2014/main" id="{4687AEF8-2811-4C3E-AB5F-CA88F3593F05}"/>
              </a:ext>
            </a:extLst>
          </p:cNvPr>
          <p:cNvSpPr>
            <a:spLocks noGrp="1"/>
          </p:cNvSpPr>
          <p:nvPr>
            <p:ph type="title"/>
          </p:nvPr>
        </p:nvSpPr>
        <p:spPr>
          <a:xfrm>
            <a:off x="660762" y="167947"/>
            <a:ext cx="5130438" cy="1325563"/>
          </a:xfrm>
        </p:spPr>
        <p:txBody>
          <a:bodyPr>
            <a:normAutofit/>
          </a:bodyPr>
          <a:lstStyle/>
          <a:p>
            <a:r>
              <a:rPr lang="nl-NL" sz="4000" dirty="0">
                <a:solidFill>
                  <a:srgbClr val="E6007E"/>
                </a:solidFill>
                <a:latin typeface="Amaranth" panose="02000503000000020004" pitchFamily="50" charset="0"/>
              </a:rPr>
              <a:t>Aansluiting Uk &amp; Puk </a:t>
            </a:r>
          </a:p>
        </p:txBody>
      </p:sp>
      <p:sp>
        <p:nvSpPr>
          <p:cNvPr id="17" name="Freeform 41">
            <a:extLst>
              <a:ext uri="{FF2B5EF4-FFF2-40B4-BE49-F238E27FC236}">
                <a16:creationId xmlns:a16="http://schemas.microsoft.com/office/drawing/2014/main" id="{C0B685D8-BD97-4B3F-9CD9-50CE3E651828}"/>
              </a:ext>
            </a:extLst>
          </p:cNvPr>
          <p:cNvSpPr/>
          <p:nvPr/>
        </p:nvSpPr>
        <p:spPr>
          <a:xfrm rot="845560">
            <a:off x="9735292" y="341045"/>
            <a:ext cx="2496921" cy="979369"/>
          </a:xfrm>
          <a:custGeom>
            <a:avLst/>
            <a:gdLst>
              <a:gd name="connsiteX0" fmla="*/ 45720 w 1267097"/>
              <a:gd name="connsiteY0" fmla="*/ 378823 h 378823"/>
              <a:gd name="connsiteX1" fmla="*/ 1267097 w 1267097"/>
              <a:gd name="connsiteY1" fmla="*/ 182880 h 378823"/>
              <a:gd name="connsiteX2" fmla="*/ 1267097 w 1267097"/>
              <a:gd name="connsiteY2" fmla="*/ 0 h 378823"/>
              <a:gd name="connsiteX3" fmla="*/ 0 w 1267097"/>
              <a:gd name="connsiteY3" fmla="*/ 189412 h 378823"/>
              <a:gd name="connsiteX4" fmla="*/ 45720 w 1267097"/>
              <a:gd name="connsiteY4" fmla="*/ 378823 h 378823"/>
              <a:gd name="connsiteX0" fmla="*/ 71845 w 1293222"/>
              <a:gd name="connsiteY0" fmla="*/ 378823 h 378823"/>
              <a:gd name="connsiteX1" fmla="*/ 1293222 w 1293222"/>
              <a:gd name="connsiteY1" fmla="*/ 182880 h 378823"/>
              <a:gd name="connsiteX2" fmla="*/ 1293222 w 1293222"/>
              <a:gd name="connsiteY2" fmla="*/ 0 h 378823"/>
              <a:gd name="connsiteX3" fmla="*/ 0 w 1293222"/>
              <a:gd name="connsiteY3" fmla="*/ 130629 h 378823"/>
              <a:gd name="connsiteX4" fmla="*/ 71845 w 1293222"/>
              <a:gd name="connsiteY4" fmla="*/ 378823 h 378823"/>
              <a:gd name="connsiteX0" fmla="*/ 65313 w 1293222"/>
              <a:gd name="connsiteY0" fmla="*/ 398417 h 398417"/>
              <a:gd name="connsiteX1" fmla="*/ 1293222 w 1293222"/>
              <a:gd name="connsiteY1" fmla="*/ 182880 h 398417"/>
              <a:gd name="connsiteX2" fmla="*/ 1293222 w 1293222"/>
              <a:gd name="connsiteY2" fmla="*/ 0 h 398417"/>
              <a:gd name="connsiteX3" fmla="*/ 0 w 1293222"/>
              <a:gd name="connsiteY3" fmla="*/ 130629 h 398417"/>
              <a:gd name="connsiteX4" fmla="*/ 65313 w 1293222"/>
              <a:gd name="connsiteY4" fmla="*/ 398417 h 398417"/>
              <a:gd name="connsiteX0" fmla="*/ 104663 w 1332572"/>
              <a:gd name="connsiteY0" fmla="*/ 488407 h 488407"/>
              <a:gd name="connsiteX1" fmla="*/ 1332572 w 1332572"/>
              <a:gd name="connsiteY1" fmla="*/ 272870 h 488407"/>
              <a:gd name="connsiteX2" fmla="*/ 1332572 w 1332572"/>
              <a:gd name="connsiteY2" fmla="*/ 89990 h 488407"/>
              <a:gd name="connsiteX3" fmla="*/ 0 w 1332572"/>
              <a:gd name="connsiteY3" fmla="*/ 0 h 488407"/>
              <a:gd name="connsiteX4" fmla="*/ 104663 w 1332572"/>
              <a:gd name="connsiteY4" fmla="*/ 488407 h 488407"/>
              <a:gd name="connsiteX0" fmla="*/ 58754 w 1286663"/>
              <a:gd name="connsiteY0" fmla="*/ 488407 h 488407"/>
              <a:gd name="connsiteX1" fmla="*/ 1286663 w 1286663"/>
              <a:gd name="connsiteY1" fmla="*/ 272870 h 488407"/>
              <a:gd name="connsiteX2" fmla="*/ 1286663 w 1286663"/>
              <a:gd name="connsiteY2" fmla="*/ 89990 h 488407"/>
              <a:gd name="connsiteX3" fmla="*/ 0 w 1286663"/>
              <a:gd name="connsiteY3" fmla="*/ 0 h 488407"/>
              <a:gd name="connsiteX4" fmla="*/ 58754 w 1286663"/>
              <a:gd name="connsiteY4" fmla="*/ 488407 h 488407"/>
              <a:gd name="connsiteX0" fmla="*/ 58754 w 1293221"/>
              <a:gd name="connsiteY0" fmla="*/ 574912 h 574912"/>
              <a:gd name="connsiteX1" fmla="*/ 1286663 w 1293221"/>
              <a:gd name="connsiteY1" fmla="*/ 359375 h 574912"/>
              <a:gd name="connsiteX2" fmla="*/ 1293221 w 1293221"/>
              <a:gd name="connsiteY2" fmla="*/ 0 h 574912"/>
              <a:gd name="connsiteX3" fmla="*/ 0 w 1293221"/>
              <a:gd name="connsiteY3" fmla="*/ 86505 h 574912"/>
              <a:gd name="connsiteX4" fmla="*/ 58754 w 1293221"/>
              <a:gd name="connsiteY4" fmla="*/ 574912 h 574912"/>
              <a:gd name="connsiteX0" fmla="*/ 58754 w 1470298"/>
              <a:gd name="connsiteY0" fmla="*/ 574912 h 574912"/>
              <a:gd name="connsiteX1" fmla="*/ 1470298 w 1470298"/>
              <a:gd name="connsiteY1" fmla="*/ 561083 h 574912"/>
              <a:gd name="connsiteX2" fmla="*/ 1293221 w 1470298"/>
              <a:gd name="connsiteY2" fmla="*/ 0 h 574912"/>
              <a:gd name="connsiteX3" fmla="*/ 0 w 1470298"/>
              <a:gd name="connsiteY3" fmla="*/ 86505 h 574912"/>
              <a:gd name="connsiteX4" fmla="*/ 58754 w 1470298"/>
              <a:gd name="connsiteY4" fmla="*/ 574912 h 574912"/>
              <a:gd name="connsiteX0" fmla="*/ 65313 w 1470298"/>
              <a:gd name="connsiteY0" fmla="*/ 795531 h 795531"/>
              <a:gd name="connsiteX1" fmla="*/ 1470298 w 1470298"/>
              <a:gd name="connsiteY1" fmla="*/ 561083 h 795531"/>
              <a:gd name="connsiteX2" fmla="*/ 1293221 w 1470298"/>
              <a:gd name="connsiteY2" fmla="*/ 0 h 795531"/>
              <a:gd name="connsiteX3" fmla="*/ 0 w 1470298"/>
              <a:gd name="connsiteY3" fmla="*/ 86505 h 795531"/>
              <a:gd name="connsiteX4" fmla="*/ 65313 w 1470298"/>
              <a:gd name="connsiteY4" fmla="*/ 795531 h 795531"/>
              <a:gd name="connsiteX0" fmla="*/ 65313 w 1844126"/>
              <a:gd name="connsiteY0" fmla="*/ 795531 h 795531"/>
              <a:gd name="connsiteX1" fmla="*/ 1844126 w 1844126"/>
              <a:gd name="connsiteY1" fmla="*/ 504352 h 795531"/>
              <a:gd name="connsiteX2" fmla="*/ 1293221 w 1844126"/>
              <a:gd name="connsiteY2" fmla="*/ 0 h 795531"/>
              <a:gd name="connsiteX3" fmla="*/ 0 w 1844126"/>
              <a:gd name="connsiteY3" fmla="*/ 86505 h 795531"/>
              <a:gd name="connsiteX4" fmla="*/ 65313 w 1844126"/>
              <a:gd name="connsiteY4" fmla="*/ 795531 h 795531"/>
              <a:gd name="connsiteX0" fmla="*/ 65313 w 1844126"/>
              <a:gd name="connsiteY0" fmla="*/ 845958 h 845958"/>
              <a:gd name="connsiteX1" fmla="*/ 1844126 w 1844126"/>
              <a:gd name="connsiteY1" fmla="*/ 554779 h 845958"/>
              <a:gd name="connsiteX2" fmla="*/ 1621141 w 1844126"/>
              <a:gd name="connsiteY2" fmla="*/ 0 h 845958"/>
              <a:gd name="connsiteX3" fmla="*/ 0 w 1844126"/>
              <a:gd name="connsiteY3" fmla="*/ 136932 h 845958"/>
              <a:gd name="connsiteX4" fmla="*/ 65313 w 1844126"/>
              <a:gd name="connsiteY4" fmla="*/ 845958 h 845958"/>
              <a:gd name="connsiteX0" fmla="*/ 65313 w 1844126"/>
              <a:gd name="connsiteY0" fmla="*/ 864868 h 864868"/>
              <a:gd name="connsiteX1" fmla="*/ 1844126 w 1844126"/>
              <a:gd name="connsiteY1" fmla="*/ 573689 h 864868"/>
              <a:gd name="connsiteX2" fmla="*/ 1621141 w 1844126"/>
              <a:gd name="connsiteY2" fmla="*/ 0 h 864868"/>
              <a:gd name="connsiteX3" fmla="*/ 0 w 1844126"/>
              <a:gd name="connsiteY3" fmla="*/ 155842 h 864868"/>
              <a:gd name="connsiteX4" fmla="*/ 65313 w 1844126"/>
              <a:gd name="connsiteY4" fmla="*/ 864868 h 864868"/>
              <a:gd name="connsiteX0" fmla="*/ 65313 w 1686724"/>
              <a:gd name="connsiteY0" fmla="*/ 864868 h 864868"/>
              <a:gd name="connsiteX1" fmla="*/ 1686724 w 1686724"/>
              <a:gd name="connsiteY1" fmla="*/ 561082 h 864868"/>
              <a:gd name="connsiteX2" fmla="*/ 1621141 w 1686724"/>
              <a:gd name="connsiteY2" fmla="*/ 0 h 864868"/>
              <a:gd name="connsiteX3" fmla="*/ 0 w 1686724"/>
              <a:gd name="connsiteY3" fmla="*/ 155842 h 864868"/>
              <a:gd name="connsiteX4" fmla="*/ 65313 w 1686724"/>
              <a:gd name="connsiteY4" fmla="*/ 864868 h 864868"/>
              <a:gd name="connsiteX0" fmla="*/ 39079 w 1660490"/>
              <a:gd name="connsiteY0" fmla="*/ 864868 h 864868"/>
              <a:gd name="connsiteX1" fmla="*/ 1660490 w 1660490"/>
              <a:gd name="connsiteY1" fmla="*/ 561082 h 864868"/>
              <a:gd name="connsiteX2" fmla="*/ 1594907 w 1660490"/>
              <a:gd name="connsiteY2" fmla="*/ 0 h 864868"/>
              <a:gd name="connsiteX3" fmla="*/ 0 w 1660490"/>
              <a:gd name="connsiteY3" fmla="*/ 351248 h 864868"/>
              <a:gd name="connsiteX4" fmla="*/ 39079 w 1660490"/>
              <a:gd name="connsiteY4" fmla="*/ 864868 h 864868"/>
              <a:gd name="connsiteX0" fmla="*/ 39079 w 1857243"/>
              <a:gd name="connsiteY0" fmla="*/ 719889 h 719889"/>
              <a:gd name="connsiteX1" fmla="*/ 1660490 w 1857243"/>
              <a:gd name="connsiteY1" fmla="*/ 416103 h 719889"/>
              <a:gd name="connsiteX2" fmla="*/ 1857243 w 1857243"/>
              <a:gd name="connsiteY2" fmla="*/ 0 h 719889"/>
              <a:gd name="connsiteX3" fmla="*/ 0 w 1857243"/>
              <a:gd name="connsiteY3" fmla="*/ 206269 h 719889"/>
              <a:gd name="connsiteX4" fmla="*/ 39079 w 1857243"/>
              <a:gd name="connsiteY4" fmla="*/ 719889 h 719889"/>
              <a:gd name="connsiteX0" fmla="*/ 39079 w 1909709"/>
              <a:gd name="connsiteY0" fmla="*/ 719889 h 719889"/>
              <a:gd name="connsiteX1" fmla="*/ 1909709 w 1909709"/>
              <a:gd name="connsiteY1" fmla="*/ 208090 h 719889"/>
              <a:gd name="connsiteX2" fmla="*/ 1857243 w 1909709"/>
              <a:gd name="connsiteY2" fmla="*/ 0 h 719889"/>
              <a:gd name="connsiteX3" fmla="*/ 0 w 1909709"/>
              <a:gd name="connsiteY3" fmla="*/ 206269 h 719889"/>
              <a:gd name="connsiteX4" fmla="*/ 39079 w 1909709"/>
              <a:gd name="connsiteY4" fmla="*/ 719889 h 719889"/>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206269 h 511876"/>
              <a:gd name="connsiteX4" fmla="*/ 39079 w 1909709"/>
              <a:gd name="connsiteY4" fmla="*/ 511876 h 511876"/>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121173 h 511876"/>
              <a:gd name="connsiteX4" fmla="*/ 39079 w 1909709"/>
              <a:gd name="connsiteY4" fmla="*/ 511876 h 511876"/>
              <a:gd name="connsiteX0" fmla="*/ 39079 w 1857243"/>
              <a:gd name="connsiteY0" fmla="*/ 511876 h 511876"/>
              <a:gd name="connsiteX1" fmla="*/ 1748372 w 1857243"/>
              <a:gd name="connsiteY1" fmla="*/ 309201 h 511876"/>
              <a:gd name="connsiteX2" fmla="*/ 1857243 w 1857243"/>
              <a:gd name="connsiteY2" fmla="*/ 0 h 511876"/>
              <a:gd name="connsiteX3" fmla="*/ 0 w 1857243"/>
              <a:gd name="connsiteY3" fmla="*/ 121173 h 511876"/>
              <a:gd name="connsiteX4" fmla="*/ 39079 w 1857243"/>
              <a:gd name="connsiteY4" fmla="*/ 511876 h 511876"/>
              <a:gd name="connsiteX0" fmla="*/ 39079 w 1748372"/>
              <a:gd name="connsiteY0" fmla="*/ 499237 h 499237"/>
              <a:gd name="connsiteX1" fmla="*/ 1748372 w 1748372"/>
              <a:gd name="connsiteY1" fmla="*/ 296562 h 499237"/>
              <a:gd name="connsiteX2" fmla="*/ 1723965 w 1748372"/>
              <a:gd name="connsiteY2" fmla="*/ 0 h 499237"/>
              <a:gd name="connsiteX3" fmla="*/ 0 w 1748372"/>
              <a:gd name="connsiteY3" fmla="*/ 108534 h 499237"/>
              <a:gd name="connsiteX4" fmla="*/ 39079 w 1748372"/>
              <a:gd name="connsiteY4" fmla="*/ 499237 h 499237"/>
              <a:gd name="connsiteX0" fmla="*/ 95196 w 1748372"/>
              <a:gd name="connsiteY0" fmla="*/ 451841 h 451841"/>
              <a:gd name="connsiteX1" fmla="*/ 1748372 w 1748372"/>
              <a:gd name="connsiteY1" fmla="*/ 296562 h 451841"/>
              <a:gd name="connsiteX2" fmla="*/ 1723965 w 1748372"/>
              <a:gd name="connsiteY2" fmla="*/ 0 h 451841"/>
              <a:gd name="connsiteX3" fmla="*/ 0 w 1748372"/>
              <a:gd name="connsiteY3" fmla="*/ 108534 h 451841"/>
              <a:gd name="connsiteX4" fmla="*/ 95196 w 1748372"/>
              <a:gd name="connsiteY4" fmla="*/ 451841 h 451841"/>
              <a:gd name="connsiteX0" fmla="*/ 95196 w 1723965"/>
              <a:gd name="connsiteY0" fmla="*/ 451841 h 451841"/>
              <a:gd name="connsiteX1" fmla="*/ 1713299 w 1723965"/>
              <a:gd name="connsiteY1" fmla="*/ 315520 h 451841"/>
              <a:gd name="connsiteX2" fmla="*/ 1723965 w 1723965"/>
              <a:gd name="connsiteY2" fmla="*/ 0 h 451841"/>
              <a:gd name="connsiteX3" fmla="*/ 0 w 1723965"/>
              <a:gd name="connsiteY3" fmla="*/ 108534 h 451841"/>
              <a:gd name="connsiteX4" fmla="*/ 95196 w 1723965"/>
              <a:gd name="connsiteY4" fmla="*/ 451841 h 451841"/>
              <a:gd name="connsiteX0" fmla="*/ 95196 w 1713299"/>
              <a:gd name="connsiteY0" fmla="*/ 455001 h 455001"/>
              <a:gd name="connsiteX1" fmla="*/ 1713299 w 1713299"/>
              <a:gd name="connsiteY1" fmla="*/ 318680 h 455001"/>
              <a:gd name="connsiteX2" fmla="*/ 1667848 w 1713299"/>
              <a:gd name="connsiteY2" fmla="*/ 0 h 455001"/>
              <a:gd name="connsiteX3" fmla="*/ 0 w 1713299"/>
              <a:gd name="connsiteY3" fmla="*/ 111694 h 455001"/>
              <a:gd name="connsiteX4" fmla="*/ 95196 w 1713299"/>
              <a:gd name="connsiteY4" fmla="*/ 455001 h 455001"/>
              <a:gd name="connsiteX0" fmla="*/ 67137 w 1685240"/>
              <a:gd name="connsiteY0" fmla="*/ 455001 h 455001"/>
              <a:gd name="connsiteX1" fmla="*/ 1685240 w 1685240"/>
              <a:gd name="connsiteY1" fmla="*/ 318680 h 455001"/>
              <a:gd name="connsiteX2" fmla="*/ 1639789 w 1685240"/>
              <a:gd name="connsiteY2" fmla="*/ 0 h 455001"/>
              <a:gd name="connsiteX3" fmla="*/ 0 w 1685240"/>
              <a:gd name="connsiteY3" fmla="*/ 130652 h 455001"/>
              <a:gd name="connsiteX4" fmla="*/ 67137 w 1685240"/>
              <a:gd name="connsiteY4" fmla="*/ 455001 h 455001"/>
              <a:gd name="connsiteX0" fmla="*/ 67137 w 1667473"/>
              <a:gd name="connsiteY0" fmla="*/ 455001 h 455001"/>
              <a:gd name="connsiteX1" fmla="*/ 1667473 w 1667473"/>
              <a:gd name="connsiteY1" fmla="*/ 242054 h 455001"/>
              <a:gd name="connsiteX2" fmla="*/ 1639789 w 1667473"/>
              <a:gd name="connsiteY2" fmla="*/ 0 h 455001"/>
              <a:gd name="connsiteX3" fmla="*/ 0 w 1667473"/>
              <a:gd name="connsiteY3" fmla="*/ 130652 h 455001"/>
              <a:gd name="connsiteX4" fmla="*/ 67137 w 1667473"/>
              <a:gd name="connsiteY4" fmla="*/ 455001 h 455001"/>
              <a:gd name="connsiteX0" fmla="*/ 100217 w 1700553"/>
              <a:gd name="connsiteY0" fmla="*/ 455001 h 455001"/>
              <a:gd name="connsiteX1" fmla="*/ 1700553 w 1700553"/>
              <a:gd name="connsiteY1" fmla="*/ 242054 h 455001"/>
              <a:gd name="connsiteX2" fmla="*/ 1672869 w 1700553"/>
              <a:gd name="connsiteY2" fmla="*/ 0 h 455001"/>
              <a:gd name="connsiteX3" fmla="*/ 0 w 1700553"/>
              <a:gd name="connsiteY3" fmla="*/ 205540 h 455001"/>
              <a:gd name="connsiteX4" fmla="*/ 100217 w 1700553"/>
              <a:gd name="connsiteY4" fmla="*/ 455001 h 455001"/>
              <a:gd name="connsiteX0" fmla="*/ 100217 w 1700553"/>
              <a:gd name="connsiteY0" fmla="*/ 366878 h 366878"/>
              <a:gd name="connsiteX1" fmla="*/ 1700553 w 1700553"/>
              <a:gd name="connsiteY1" fmla="*/ 153931 h 366878"/>
              <a:gd name="connsiteX2" fmla="*/ 1588975 w 1700553"/>
              <a:gd name="connsiteY2" fmla="*/ 0 h 366878"/>
              <a:gd name="connsiteX3" fmla="*/ 0 w 1700553"/>
              <a:gd name="connsiteY3" fmla="*/ 117417 h 366878"/>
              <a:gd name="connsiteX4" fmla="*/ 100217 w 1700553"/>
              <a:gd name="connsiteY4" fmla="*/ 366878 h 366878"/>
              <a:gd name="connsiteX0" fmla="*/ 115726 w 1700553"/>
              <a:gd name="connsiteY0" fmla="*/ 305211 h 305211"/>
              <a:gd name="connsiteX1" fmla="*/ 1700553 w 1700553"/>
              <a:gd name="connsiteY1" fmla="*/ 153931 h 305211"/>
              <a:gd name="connsiteX2" fmla="*/ 1588975 w 1700553"/>
              <a:gd name="connsiteY2" fmla="*/ 0 h 305211"/>
              <a:gd name="connsiteX3" fmla="*/ 0 w 1700553"/>
              <a:gd name="connsiteY3" fmla="*/ 117417 h 305211"/>
              <a:gd name="connsiteX4" fmla="*/ 115726 w 1700553"/>
              <a:gd name="connsiteY4" fmla="*/ 305211 h 305211"/>
              <a:gd name="connsiteX0" fmla="*/ 115726 w 1700553"/>
              <a:gd name="connsiteY0" fmla="*/ 321895 h 321895"/>
              <a:gd name="connsiteX1" fmla="*/ 1700553 w 1700553"/>
              <a:gd name="connsiteY1" fmla="*/ 170615 h 321895"/>
              <a:gd name="connsiteX2" fmla="*/ 1471607 w 1700553"/>
              <a:gd name="connsiteY2" fmla="*/ 0 h 321895"/>
              <a:gd name="connsiteX3" fmla="*/ 0 w 1700553"/>
              <a:gd name="connsiteY3" fmla="*/ 134101 h 321895"/>
              <a:gd name="connsiteX4" fmla="*/ 115726 w 1700553"/>
              <a:gd name="connsiteY4" fmla="*/ 321895 h 321895"/>
              <a:gd name="connsiteX0" fmla="*/ 115726 w 1581352"/>
              <a:gd name="connsiteY0" fmla="*/ 321895 h 321895"/>
              <a:gd name="connsiteX1" fmla="*/ 1581352 w 1581352"/>
              <a:gd name="connsiteY1" fmla="*/ 210307 h 321895"/>
              <a:gd name="connsiteX2" fmla="*/ 1471607 w 1581352"/>
              <a:gd name="connsiteY2" fmla="*/ 0 h 321895"/>
              <a:gd name="connsiteX3" fmla="*/ 0 w 1581352"/>
              <a:gd name="connsiteY3" fmla="*/ 134101 h 321895"/>
              <a:gd name="connsiteX4" fmla="*/ 115726 w 1581352"/>
              <a:gd name="connsiteY4" fmla="*/ 321895 h 321895"/>
              <a:gd name="connsiteX0" fmla="*/ 92298 w 1557924"/>
              <a:gd name="connsiteY0" fmla="*/ 321895 h 321895"/>
              <a:gd name="connsiteX1" fmla="*/ 1557924 w 1557924"/>
              <a:gd name="connsiteY1" fmla="*/ 210307 h 321895"/>
              <a:gd name="connsiteX2" fmla="*/ 1448179 w 1557924"/>
              <a:gd name="connsiteY2" fmla="*/ 0 h 321895"/>
              <a:gd name="connsiteX3" fmla="*/ 0 w 1557924"/>
              <a:gd name="connsiteY3" fmla="*/ 116473 h 321895"/>
              <a:gd name="connsiteX4" fmla="*/ 92298 w 1557924"/>
              <a:gd name="connsiteY4" fmla="*/ 321895 h 321895"/>
              <a:gd name="connsiteX0" fmla="*/ 152961 w 1557924"/>
              <a:gd name="connsiteY0" fmla="*/ 341247 h 341247"/>
              <a:gd name="connsiteX1" fmla="*/ 1557924 w 1557924"/>
              <a:gd name="connsiteY1" fmla="*/ 210307 h 341247"/>
              <a:gd name="connsiteX2" fmla="*/ 1448179 w 1557924"/>
              <a:gd name="connsiteY2" fmla="*/ 0 h 341247"/>
              <a:gd name="connsiteX3" fmla="*/ 0 w 1557924"/>
              <a:gd name="connsiteY3" fmla="*/ 116473 h 341247"/>
              <a:gd name="connsiteX4" fmla="*/ 152961 w 1557924"/>
              <a:gd name="connsiteY4" fmla="*/ 341247 h 341247"/>
              <a:gd name="connsiteX0" fmla="*/ 135357 w 1557924"/>
              <a:gd name="connsiteY0" fmla="*/ 339493 h 339493"/>
              <a:gd name="connsiteX1" fmla="*/ 1557924 w 1557924"/>
              <a:gd name="connsiteY1" fmla="*/ 210307 h 339493"/>
              <a:gd name="connsiteX2" fmla="*/ 1448179 w 1557924"/>
              <a:gd name="connsiteY2" fmla="*/ 0 h 339493"/>
              <a:gd name="connsiteX3" fmla="*/ 0 w 1557924"/>
              <a:gd name="connsiteY3" fmla="*/ 116473 h 339493"/>
              <a:gd name="connsiteX4" fmla="*/ 135357 w 1557924"/>
              <a:gd name="connsiteY4" fmla="*/ 339493 h 339493"/>
              <a:gd name="connsiteX0" fmla="*/ 109934 w 1532501"/>
              <a:gd name="connsiteY0" fmla="*/ 339493 h 339493"/>
              <a:gd name="connsiteX1" fmla="*/ 1532501 w 1532501"/>
              <a:gd name="connsiteY1" fmla="*/ 210307 h 339493"/>
              <a:gd name="connsiteX2" fmla="*/ 1422756 w 1532501"/>
              <a:gd name="connsiteY2" fmla="*/ 0 h 339493"/>
              <a:gd name="connsiteX3" fmla="*/ 0 w 1532501"/>
              <a:gd name="connsiteY3" fmla="*/ 117343 h 339493"/>
              <a:gd name="connsiteX4" fmla="*/ 109934 w 1532501"/>
              <a:gd name="connsiteY4" fmla="*/ 339493 h 339493"/>
              <a:gd name="connsiteX0" fmla="*/ 133525 w 1556092"/>
              <a:gd name="connsiteY0" fmla="*/ 339493 h 339493"/>
              <a:gd name="connsiteX1" fmla="*/ 1556092 w 1556092"/>
              <a:gd name="connsiteY1" fmla="*/ 210307 h 339493"/>
              <a:gd name="connsiteX2" fmla="*/ 1446347 w 1556092"/>
              <a:gd name="connsiteY2" fmla="*/ 0 h 339493"/>
              <a:gd name="connsiteX3" fmla="*/ 0 w 1556092"/>
              <a:gd name="connsiteY3" fmla="*/ 60098 h 339493"/>
              <a:gd name="connsiteX4" fmla="*/ 133525 w 1556092"/>
              <a:gd name="connsiteY4" fmla="*/ 339493 h 339493"/>
              <a:gd name="connsiteX0" fmla="*/ 133525 w 2343667"/>
              <a:gd name="connsiteY0" fmla="*/ 459688 h 459688"/>
              <a:gd name="connsiteX1" fmla="*/ 1556092 w 2343667"/>
              <a:gd name="connsiteY1" fmla="*/ 330502 h 459688"/>
              <a:gd name="connsiteX2" fmla="*/ 2343667 w 2343667"/>
              <a:gd name="connsiteY2" fmla="*/ 0 h 459688"/>
              <a:gd name="connsiteX3" fmla="*/ 0 w 2343667"/>
              <a:gd name="connsiteY3" fmla="*/ 180293 h 459688"/>
              <a:gd name="connsiteX4" fmla="*/ 133525 w 2343667"/>
              <a:gd name="connsiteY4" fmla="*/ 459688 h 459688"/>
              <a:gd name="connsiteX0" fmla="*/ 133525 w 2391079"/>
              <a:gd name="connsiteY0" fmla="*/ 459688 h 459688"/>
              <a:gd name="connsiteX1" fmla="*/ 2391079 w 2391079"/>
              <a:gd name="connsiteY1" fmla="*/ 322204 h 459688"/>
              <a:gd name="connsiteX2" fmla="*/ 2343667 w 2391079"/>
              <a:gd name="connsiteY2" fmla="*/ 0 h 459688"/>
              <a:gd name="connsiteX3" fmla="*/ 0 w 2391079"/>
              <a:gd name="connsiteY3" fmla="*/ 180293 h 459688"/>
              <a:gd name="connsiteX4" fmla="*/ 133525 w 2391079"/>
              <a:gd name="connsiteY4" fmla="*/ 459688 h 459688"/>
              <a:gd name="connsiteX0" fmla="*/ 159047 w 2391079"/>
              <a:gd name="connsiteY0" fmla="*/ 505482 h 505482"/>
              <a:gd name="connsiteX1" fmla="*/ 2391079 w 2391079"/>
              <a:gd name="connsiteY1" fmla="*/ 322204 h 505482"/>
              <a:gd name="connsiteX2" fmla="*/ 2343667 w 2391079"/>
              <a:gd name="connsiteY2" fmla="*/ 0 h 505482"/>
              <a:gd name="connsiteX3" fmla="*/ 0 w 2391079"/>
              <a:gd name="connsiteY3" fmla="*/ 180293 h 505482"/>
              <a:gd name="connsiteX4" fmla="*/ 159047 w 2391079"/>
              <a:gd name="connsiteY4" fmla="*/ 505482 h 505482"/>
              <a:gd name="connsiteX0" fmla="*/ 159047 w 2391079"/>
              <a:gd name="connsiteY0" fmla="*/ 518659 h 518659"/>
              <a:gd name="connsiteX1" fmla="*/ 2391079 w 2391079"/>
              <a:gd name="connsiteY1" fmla="*/ 335381 h 518659"/>
              <a:gd name="connsiteX2" fmla="*/ 2261507 w 2391079"/>
              <a:gd name="connsiteY2" fmla="*/ 0 h 518659"/>
              <a:gd name="connsiteX3" fmla="*/ 0 w 2391079"/>
              <a:gd name="connsiteY3" fmla="*/ 193470 h 518659"/>
              <a:gd name="connsiteX4" fmla="*/ 159047 w 2391079"/>
              <a:gd name="connsiteY4" fmla="*/ 518659 h 518659"/>
              <a:gd name="connsiteX0" fmla="*/ 159047 w 2513813"/>
              <a:gd name="connsiteY0" fmla="*/ 498511 h 498511"/>
              <a:gd name="connsiteX1" fmla="*/ 2391079 w 2513813"/>
              <a:gd name="connsiteY1" fmla="*/ 315233 h 498511"/>
              <a:gd name="connsiteX2" fmla="*/ 2513813 w 2513813"/>
              <a:gd name="connsiteY2" fmla="*/ 0 h 498511"/>
              <a:gd name="connsiteX3" fmla="*/ 0 w 2513813"/>
              <a:gd name="connsiteY3" fmla="*/ 173322 h 498511"/>
              <a:gd name="connsiteX4" fmla="*/ 159047 w 2513813"/>
              <a:gd name="connsiteY4" fmla="*/ 498511 h 498511"/>
              <a:gd name="connsiteX0" fmla="*/ 159047 w 2547383"/>
              <a:gd name="connsiteY0" fmla="*/ 498511 h 498511"/>
              <a:gd name="connsiteX1" fmla="*/ 2547383 w 2547383"/>
              <a:gd name="connsiteY1" fmla="*/ 252623 h 498511"/>
              <a:gd name="connsiteX2" fmla="*/ 2513813 w 2547383"/>
              <a:gd name="connsiteY2" fmla="*/ 0 h 498511"/>
              <a:gd name="connsiteX3" fmla="*/ 0 w 2547383"/>
              <a:gd name="connsiteY3" fmla="*/ 173322 h 498511"/>
              <a:gd name="connsiteX4" fmla="*/ 159047 w 2547383"/>
              <a:gd name="connsiteY4" fmla="*/ 498511 h 498511"/>
              <a:gd name="connsiteX0" fmla="*/ 164772 w 2553108"/>
              <a:gd name="connsiteY0" fmla="*/ 498511 h 498511"/>
              <a:gd name="connsiteX1" fmla="*/ 2553108 w 2553108"/>
              <a:gd name="connsiteY1" fmla="*/ 252623 h 498511"/>
              <a:gd name="connsiteX2" fmla="*/ 2519538 w 2553108"/>
              <a:gd name="connsiteY2" fmla="*/ 0 h 498511"/>
              <a:gd name="connsiteX3" fmla="*/ 0 w 2553108"/>
              <a:gd name="connsiteY3" fmla="*/ 237627 h 498511"/>
              <a:gd name="connsiteX4" fmla="*/ 164772 w 2553108"/>
              <a:gd name="connsiteY4" fmla="*/ 498511 h 498511"/>
              <a:gd name="connsiteX0" fmla="*/ 102113 w 2553108"/>
              <a:gd name="connsiteY0" fmla="*/ 460662 h 460662"/>
              <a:gd name="connsiteX1" fmla="*/ 2553108 w 2553108"/>
              <a:gd name="connsiteY1" fmla="*/ 252623 h 460662"/>
              <a:gd name="connsiteX2" fmla="*/ 2519538 w 2553108"/>
              <a:gd name="connsiteY2" fmla="*/ 0 h 460662"/>
              <a:gd name="connsiteX3" fmla="*/ 0 w 2553108"/>
              <a:gd name="connsiteY3" fmla="*/ 237627 h 460662"/>
              <a:gd name="connsiteX4" fmla="*/ 102113 w 2553108"/>
              <a:gd name="connsiteY4" fmla="*/ 460662 h 460662"/>
              <a:gd name="connsiteX0" fmla="*/ 102113 w 2553108"/>
              <a:gd name="connsiteY0" fmla="*/ 424537 h 424537"/>
              <a:gd name="connsiteX1" fmla="*/ 2553108 w 2553108"/>
              <a:gd name="connsiteY1" fmla="*/ 216498 h 424537"/>
              <a:gd name="connsiteX2" fmla="*/ 2498106 w 2553108"/>
              <a:gd name="connsiteY2" fmla="*/ 0 h 424537"/>
              <a:gd name="connsiteX3" fmla="*/ 0 w 2553108"/>
              <a:gd name="connsiteY3" fmla="*/ 201502 h 424537"/>
              <a:gd name="connsiteX4" fmla="*/ 102113 w 2553108"/>
              <a:gd name="connsiteY4" fmla="*/ 424537 h 424537"/>
              <a:gd name="connsiteX0" fmla="*/ 90333 w 2553108"/>
              <a:gd name="connsiteY0" fmla="*/ 403402 h 403402"/>
              <a:gd name="connsiteX1" fmla="*/ 2553108 w 2553108"/>
              <a:gd name="connsiteY1" fmla="*/ 216498 h 403402"/>
              <a:gd name="connsiteX2" fmla="*/ 2498106 w 2553108"/>
              <a:gd name="connsiteY2" fmla="*/ 0 h 403402"/>
              <a:gd name="connsiteX3" fmla="*/ 0 w 2553108"/>
              <a:gd name="connsiteY3" fmla="*/ 201502 h 403402"/>
              <a:gd name="connsiteX4" fmla="*/ 90333 w 2553108"/>
              <a:gd name="connsiteY4" fmla="*/ 403402 h 403402"/>
              <a:gd name="connsiteX0" fmla="*/ 60951 w 2523726"/>
              <a:gd name="connsiteY0" fmla="*/ 403402 h 403402"/>
              <a:gd name="connsiteX1" fmla="*/ 2523726 w 2523726"/>
              <a:gd name="connsiteY1" fmla="*/ 216498 h 403402"/>
              <a:gd name="connsiteX2" fmla="*/ 2468724 w 2523726"/>
              <a:gd name="connsiteY2" fmla="*/ 0 h 403402"/>
              <a:gd name="connsiteX3" fmla="*/ 0 w 2523726"/>
              <a:gd name="connsiteY3" fmla="*/ 224392 h 403402"/>
              <a:gd name="connsiteX4" fmla="*/ 60951 w 2523726"/>
              <a:gd name="connsiteY4" fmla="*/ 403402 h 40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3726" h="403402">
                <a:moveTo>
                  <a:pt x="60951" y="403402"/>
                </a:moveTo>
                <a:lnTo>
                  <a:pt x="2523726" y="216498"/>
                </a:lnTo>
                <a:lnTo>
                  <a:pt x="2468724" y="0"/>
                </a:lnTo>
                <a:lnTo>
                  <a:pt x="0" y="224392"/>
                </a:lnTo>
                <a:lnTo>
                  <a:pt x="60951" y="403402"/>
                </a:lnTo>
                <a:close/>
              </a:path>
            </a:pathLst>
          </a:custGeom>
          <a:solidFill>
            <a:srgbClr val="E6007E"/>
          </a:solidFill>
          <a:ln>
            <a:noFill/>
          </a:ln>
          <a:effectLst>
            <a:outerShdw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FFC000"/>
              </a:solidFill>
              <a:effectLst/>
              <a:uLnTx/>
              <a:uFillTx/>
              <a:latin typeface="Calibri" panose="020F0502020204030204"/>
              <a:ea typeface="+mn-ea"/>
              <a:cs typeface="+mn-cs"/>
            </a:endParaRPr>
          </a:p>
        </p:txBody>
      </p:sp>
      <p:sp>
        <p:nvSpPr>
          <p:cNvPr id="21" name="TextBox 9">
            <a:extLst>
              <a:ext uri="{FF2B5EF4-FFF2-40B4-BE49-F238E27FC236}">
                <a16:creationId xmlns:a16="http://schemas.microsoft.com/office/drawing/2014/main" id="{39C4E18D-4661-4CC0-8EE8-8470E1205768}"/>
              </a:ext>
            </a:extLst>
          </p:cNvPr>
          <p:cNvSpPr txBox="1">
            <a:spLocks noChangeArrowheads="1"/>
          </p:cNvSpPr>
          <p:nvPr/>
        </p:nvSpPr>
        <p:spPr bwMode="auto">
          <a:xfrm>
            <a:off x="9910322" y="646064"/>
            <a:ext cx="2403551" cy="369332"/>
          </a:xfrm>
          <a:prstGeom prst="rect">
            <a:avLst/>
          </a:prstGeom>
          <a:noFill/>
          <a:ln w="9525">
            <a:noFill/>
            <a:miter lim="800000"/>
            <a:headEnd/>
            <a:tailEnd/>
          </a:ln>
        </p:spPr>
        <p:txBody>
          <a:bodyPr wrap="square" lIns="0">
            <a:spAutoFit/>
          </a:bodyPr>
          <a:lstStyle/>
          <a:p>
            <a:pPr marL="3174" marR="0" lvl="0" indent="0" algn="l" defTabSz="914400" rtl="0" eaLnBrk="1" fontAlgn="auto" latinLnBrk="0" hangingPunct="1">
              <a:lnSpc>
                <a:spcPct val="90000"/>
              </a:lnSpc>
              <a:spcBef>
                <a:spcPts val="1200"/>
              </a:spcBef>
              <a:spcAft>
                <a:spcPts val="0"/>
              </a:spcAft>
              <a:buClr>
                <a:srgbClr val="5C5C5C"/>
              </a:buClr>
              <a:buSzPct val="80000"/>
              <a:buFontTx/>
              <a:buNone/>
              <a:tabLst/>
              <a:defRPr/>
            </a:pPr>
            <a:r>
              <a:rPr kumimoji="0" lang="nl-BE" sz="2000" b="1" i="0" u="none" strike="noStrike" kern="1200" cap="none" spc="0" normalizeH="0" baseline="0" noProof="0" dirty="0">
                <a:ln>
                  <a:noFill/>
                </a:ln>
                <a:solidFill>
                  <a:prstClr val="white"/>
                </a:solidFill>
                <a:effectLst/>
                <a:uLnTx/>
                <a:uFillTx/>
                <a:latin typeface="Amaranth" panose="02000503000000020004" pitchFamily="50" charset="0"/>
                <a:ea typeface="+mn-ea"/>
                <a:cs typeface="Arial" panose="020B0604020202020204" pitchFamily="34" charset="0"/>
              </a:rPr>
              <a:t>Doorgaande leerlijn</a:t>
            </a:r>
          </a:p>
        </p:txBody>
      </p:sp>
      <p:sp>
        <p:nvSpPr>
          <p:cNvPr id="9" name="Rechthoek 12">
            <a:extLst>
              <a:ext uri="{FF2B5EF4-FFF2-40B4-BE49-F238E27FC236}">
                <a16:creationId xmlns:a16="http://schemas.microsoft.com/office/drawing/2014/main" id="{60F7A838-26A5-4CC0-8303-C7D6681AB544}"/>
              </a:ext>
            </a:extLst>
          </p:cNvPr>
          <p:cNvSpPr/>
          <p:nvPr/>
        </p:nvSpPr>
        <p:spPr>
          <a:xfrm>
            <a:off x="264160" y="1960933"/>
            <a:ext cx="11927840" cy="3924151"/>
          </a:xfrm>
          <a:prstGeom prst="rect">
            <a:avLst/>
          </a:prstGeom>
        </p:spPr>
        <p:txBody>
          <a:bodyPr wrap="square" lIns="0" tIns="0" rIns="0" bIns="0">
            <a:spAutoFit/>
          </a:bodyPr>
          <a:lstStyle/>
          <a:p>
            <a:pPr marL="342900" marR="0" lvl="0" indent="-342900" algn="l" defTabSz="914400" rtl="0" eaLnBrk="1" fontAlgn="auto" latinLnBrk="0" hangingPunct="1">
              <a:lnSpc>
                <a:spcPts val="2000"/>
              </a:lnSpc>
              <a:spcBef>
                <a:spcPts val="0"/>
              </a:spcBef>
              <a:spcAft>
                <a:spcPts val="600"/>
              </a:spcAft>
              <a:buClrTx/>
              <a:buSzTx/>
              <a:buFont typeface="Arial" panose="020B0604020202020204" pitchFamily="34" charset="0"/>
              <a:buChar char="•"/>
              <a:tabLst/>
              <a:defRPr/>
            </a:pPr>
            <a:r>
              <a:rPr kumimoji="0" lang="nl-BE" sz="28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Doorlopende leerlijn voor taal, rekenen, motoriek én sociale emotionele </a:t>
            </a:r>
          </a:p>
          <a:p>
            <a:pPr marR="0" lvl="0" algn="l" defTabSz="914400" rtl="0" eaLnBrk="1" fontAlgn="auto" latinLnBrk="0" hangingPunct="1">
              <a:lnSpc>
                <a:spcPts val="2000"/>
              </a:lnSpc>
              <a:spcBef>
                <a:spcPts val="0"/>
              </a:spcBef>
              <a:spcAft>
                <a:spcPts val="600"/>
              </a:spcAft>
              <a:buClrTx/>
              <a:buSzTx/>
              <a:tabLst/>
              <a:defRPr/>
            </a:pPr>
            <a:r>
              <a:rPr kumimoji="0" lang="nl-BE" sz="28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    ontwikkeling</a:t>
            </a:r>
          </a:p>
          <a:p>
            <a:pPr marL="342900" marR="0" lvl="0" indent="-342900" algn="l" defTabSz="914400" rtl="0" eaLnBrk="1" fontAlgn="auto" latinLnBrk="0" hangingPunct="1">
              <a:lnSpc>
                <a:spcPts val="2000"/>
              </a:lnSpc>
              <a:spcBef>
                <a:spcPts val="0"/>
              </a:spcBef>
              <a:spcAft>
                <a:spcPts val="600"/>
              </a:spcAft>
              <a:buClrTx/>
              <a:buSzTx/>
              <a:buFont typeface="Arial" panose="020B0604020202020204" pitchFamily="34" charset="0"/>
              <a:buChar char="•"/>
              <a:tabLst/>
              <a:defRPr/>
            </a:pPr>
            <a:endParaRPr kumimoji="0" lang="nl-BE" sz="28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a:p>
            <a:pPr marL="342900" marR="0" lvl="0" indent="-342900" algn="l" defTabSz="914400" rtl="0" eaLnBrk="1" fontAlgn="auto" latinLnBrk="0" hangingPunct="1">
              <a:lnSpc>
                <a:spcPts val="2000"/>
              </a:lnSpc>
              <a:spcBef>
                <a:spcPts val="0"/>
              </a:spcBef>
              <a:spcAft>
                <a:spcPts val="600"/>
              </a:spcAft>
              <a:buClrTx/>
              <a:buSzTx/>
              <a:buFont typeface="Arial" panose="020B0604020202020204" pitchFamily="34" charset="0"/>
              <a:buChar char="•"/>
              <a:tabLst/>
              <a:defRPr/>
            </a:pPr>
            <a:r>
              <a:rPr lang="nl-BE" sz="2800" dirty="0">
                <a:solidFill>
                  <a:prstClr val="white"/>
                </a:solidFill>
                <a:latin typeface="Calibri" panose="020F0502020204030204"/>
                <a:cs typeface="Arial" panose="020B0604020202020204" pitchFamily="34" charset="0"/>
              </a:rPr>
              <a:t>Aansluitende doelen </a:t>
            </a:r>
          </a:p>
          <a:p>
            <a:pPr marL="342900" marR="0" lvl="0" indent="-342900" algn="l" defTabSz="914400" rtl="0" eaLnBrk="1" fontAlgn="auto" latinLnBrk="0" hangingPunct="1">
              <a:lnSpc>
                <a:spcPts val="2000"/>
              </a:lnSpc>
              <a:spcBef>
                <a:spcPts val="0"/>
              </a:spcBef>
              <a:spcAft>
                <a:spcPts val="600"/>
              </a:spcAft>
              <a:buClrTx/>
              <a:buSzTx/>
              <a:buFont typeface="Arial" panose="020B0604020202020204" pitchFamily="34" charset="0"/>
              <a:buChar char="•"/>
              <a:tabLst/>
              <a:defRPr/>
            </a:pPr>
            <a:endParaRPr kumimoji="0" lang="nl-BE" sz="28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a:p>
            <a:pPr marL="342900" marR="0" lvl="0" indent="-342900" algn="l" defTabSz="914400" rtl="0" eaLnBrk="1" fontAlgn="auto" latinLnBrk="0" hangingPunct="1">
              <a:lnSpc>
                <a:spcPts val="2000"/>
              </a:lnSpc>
              <a:spcBef>
                <a:spcPts val="0"/>
              </a:spcBef>
              <a:spcAft>
                <a:spcPts val="600"/>
              </a:spcAft>
              <a:buClrTx/>
              <a:buSzTx/>
              <a:buFont typeface="Arial" panose="020B0604020202020204" pitchFamily="34" charset="0"/>
              <a:buChar char="•"/>
              <a:tabLst/>
              <a:defRPr/>
            </a:pPr>
            <a:r>
              <a:rPr kumimoji="0" lang="nl-BE" sz="28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Aansluitende thema’s en ankers</a:t>
            </a:r>
            <a:r>
              <a:rPr lang="nl-BE" sz="2800" dirty="0">
                <a:solidFill>
                  <a:prstClr val="white"/>
                </a:solidFill>
                <a:latin typeface="Calibri" panose="020F0502020204030204"/>
                <a:cs typeface="Arial" panose="020B0604020202020204" pitchFamily="34" charset="0"/>
              </a:rPr>
              <a:t>, zowel inhoudelijk als in opbouw </a:t>
            </a:r>
          </a:p>
          <a:p>
            <a:pPr marL="342900" marR="0" lvl="0" indent="-342900" algn="l" defTabSz="914400" rtl="0" eaLnBrk="1" fontAlgn="auto" latinLnBrk="0" hangingPunct="1">
              <a:lnSpc>
                <a:spcPts val="2000"/>
              </a:lnSpc>
              <a:spcBef>
                <a:spcPts val="0"/>
              </a:spcBef>
              <a:spcAft>
                <a:spcPts val="600"/>
              </a:spcAft>
              <a:buClrTx/>
              <a:buSzTx/>
              <a:buFont typeface="Arial" panose="020B0604020202020204" pitchFamily="34" charset="0"/>
              <a:buChar char="•"/>
              <a:tabLst/>
              <a:defRPr/>
            </a:pPr>
            <a:endParaRPr kumimoji="0" lang="nl-BE" sz="28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a:p>
            <a:pPr marL="342900" marR="0" lvl="0" indent="-342900" algn="l" defTabSz="914400" rtl="0" eaLnBrk="1" fontAlgn="auto" latinLnBrk="0" hangingPunct="1">
              <a:lnSpc>
                <a:spcPts val="2000"/>
              </a:lnSpc>
              <a:spcBef>
                <a:spcPts val="0"/>
              </a:spcBef>
              <a:spcAft>
                <a:spcPts val="600"/>
              </a:spcAft>
              <a:buClrTx/>
              <a:buSzTx/>
              <a:buFont typeface="Arial" panose="020B0604020202020204" pitchFamily="34" charset="0"/>
              <a:buChar char="•"/>
              <a:tabLst/>
              <a:defRPr/>
            </a:pPr>
            <a:r>
              <a:rPr kumimoji="0" lang="nl-BE" sz="28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Dezelfde opbouw: introductie, verdieping en afsluiting </a:t>
            </a:r>
          </a:p>
          <a:p>
            <a:pPr marL="342900" indent="-342900">
              <a:lnSpc>
                <a:spcPts val="2000"/>
              </a:lnSpc>
              <a:spcAft>
                <a:spcPts val="600"/>
              </a:spcAft>
              <a:buFont typeface="Arial" panose="020B0604020202020204" pitchFamily="34" charset="0"/>
              <a:buChar char="•"/>
              <a:defRPr/>
            </a:pPr>
            <a:endParaRPr kumimoji="0" lang="nl-BE" sz="28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a:p>
            <a:pPr marL="342900" indent="-342900">
              <a:lnSpc>
                <a:spcPts val="2000"/>
              </a:lnSpc>
              <a:spcAft>
                <a:spcPts val="600"/>
              </a:spcAft>
              <a:buFont typeface="Arial" panose="020B0604020202020204" pitchFamily="34" charset="0"/>
              <a:buChar char="•"/>
              <a:defRPr/>
            </a:pPr>
            <a:r>
              <a:rPr kumimoji="0" lang="nl-BE" sz="28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Overeenkomstig materiaal zoals de pop, prentenboeken, dagritmekaarten </a:t>
            </a:r>
          </a:p>
          <a:p>
            <a:pPr marL="342900" indent="-342900">
              <a:lnSpc>
                <a:spcPts val="2000"/>
              </a:lnSpc>
              <a:spcAft>
                <a:spcPts val="600"/>
              </a:spcAft>
              <a:buFont typeface="Arial" panose="020B0604020202020204" pitchFamily="34" charset="0"/>
              <a:buChar char="•"/>
              <a:defRPr/>
            </a:pPr>
            <a:endParaRPr lang="nl-BE" sz="2800" dirty="0">
              <a:solidFill>
                <a:prstClr val="white"/>
              </a:solidFill>
              <a:latin typeface="Calibri" panose="020F0502020204030204"/>
              <a:cs typeface="Arial" panose="020B0604020202020204" pitchFamily="34" charset="0"/>
            </a:endParaRPr>
          </a:p>
          <a:p>
            <a:pPr marL="342900" indent="-342900">
              <a:lnSpc>
                <a:spcPts val="2000"/>
              </a:lnSpc>
              <a:spcAft>
                <a:spcPts val="600"/>
              </a:spcAft>
              <a:buFont typeface="Arial" panose="020B0604020202020204" pitchFamily="34" charset="0"/>
              <a:buChar char="•"/>
              <a:defRPr/>
            </a:pPr>
            <a:r>
              <a:rPr lang="nl-BE" sz="2800" dirty="0">
                <a:solidFill>
                  <a:prstClr val="white"/>
                </a:solidFill>
                <a:latin typeface="Calibri" panose="020F0502020204030204"/>
                <a:cs typeface="Arial" panose="020B0604020202020204" pitchFamily="34" charset="0"/>
              </a:rPr>
              <a:t>VVE gecertificeerd </a:t>
            </a:r>
            <a:endParaRPr kumimoji="0" lang="nl-BE" sz="28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pic>
        <p:nvPicPr>
          <p:cNvPr id="8" name="Afbeelding 7">
            <a:extLst>
              <a:ext uri="{FF2B5EF4-FFF2-40B4-BE49-F238E27FC236}">
                <a16:creationId xmlns:a16="http://schemas.microsoft.com/office/drawing/2014/main" id="{93B33410-9DC2-4A43-9817-FDFA03576DFA}"/>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1241707" y="6052930"/>
            <a:ext cx="661508" cy="556592"/>
          </a:xfrm>
          <a:prstGeom prst="rect">
            <a:avLst/>
          </a:prstGeom>
        </p:spPr>
      </p:pic>
      <p:pic>
        <p:nvPicPr>
          <p:cNvPr id="4" name="Afbeelding 3">
            <a:extLst>
              <a:ext uri="{FF2B5EF4-FFF2-40B4-BE49-F238E27FC236}">
                <a16:creationId xmlns:a16="http://schemas.microsoft.com/office/drawing/2014/main" id="{89E340F4-D442-4B10-B0A6-03F3A4D81E6F}"/>
              </a:ext>
            </a:extLst>
          </p:cNvPr>
          <p:cNvPicPr>
            <a:picLocks noChangeAspect="1"/>
          </p:cNvPicPr>
          <p:nvPr/>
        </p:nvPicPr>
        <p:blipFill>
          <a:blip r:embed="rId4"/>
          <a:stretch>
            <a:fillRect/>
          </a:stretch>
        </p:blipFill>
        <p:spPr>
          <a:xfrm>
            <a:off x="6579437" y="603335"/>
            <a:ext cx="1387444" cy="995636"/>
          </a:xfrm>
          <a:prstGeom prst="rect">
            <a:avLst/>
          </a:prstGeom>
        </p:spPr>
      </p:pic>
    </p:spTree>
    <p:extLst>
      <p:ext uri="{BB962C8B-B14F-4D97-AF65-F5344CB8AC3E}">
        <p14:creationId xmlns:p14="http://schemas.microsoft.com/office/powerpoint/2010/main" val="31398620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hoek 6">
            <a:extLst>
              <a:ext uri="{FF2B5EF4-FFF2-40B4-BE49-F238E27FC236}">
                <a16:creationId xmlns:a16="http://schemas.microsoft.com/office/drawing/2014/main" id="{1CF125CA-09AA-4BFB-BC81-798C28006F8A}"/>
              </a:ext>
            </a:extLst>
          </p:cNvPr>
          <p:cNvSpPr/>
          <p:nvPr/>
        </p:nvSpPr>
        <p:spPr>
          <a:xfrm>
            <a:off x="0" y="1598971"/>
            <a:ext cx="12192000" cy="4453959"/>
          </a:xfrm>
          <a:prstGeom prst="rect">
            <a:avLst/>
          </a:prstGeom>
          <a:solidFill>
            <a:srgbClr val="E6007E"/>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Freeform 41">
            <a:extLst>
              <a:ext uri="{FF2B5EF4-FFF2-40B4-BE49-F238E27FC236}">
                <a16:creationId xmlns:a16="http://schemas.microsoft.com/office/drawing/2014/main" id="{C0B685D8-BD97-4B3F-9CD9-50CE3E651828}"/>
              </a:ext>
            </a:extLst>
          </p:cNvPr>
          <p:cNvSpPr/>
          <p:nvPr/>
        </p:nvSpPr>
        <p:spPr>
          <a:xfrm rot="845560">
            <a:off x="9808864" y="330351"/>
            <a:ext cx="2496921" cy="979369"/>
          </a:xfrm>
          <a:custGeom>
            <a:avLst/>
            <a:gdLst>
              <a:gd name="connsiteX0" fmla="*/ 45720 w 1267097"/>
              <a:gd name="connsiteY0" fmla="*/ 378823 h 378823"/>
              <a:gd name="connsiteX1" fmla="*/ 1267097 w 1267097"/>
              <a:gd name="connsiteY1" fmla="*/ 182880 h 378823"/>
              <a:gd name="connsiteX2" fmla="*/ 1267097 w 1267097"/>
              <a:gd name="connsiteY2" fmla="*/ 0 h 378823"/>
              <a:gd name="connsiteX3" fmla="*/ 0 w 1267097"/>
              <a:gd name="connsiteY3" fmla="*/ 189412 h 378823"/>
              <a:gd name="connsiteX4" fmla="*/ 45720 w 1267097"/>
              <a:gd name="connsiteY4" fmla="*/ 378823 h 378823"/>
              <a:gd name="connsiteX0" fmla="*/ 71845 w 1293222"/>
              <a:gd name="connsiteY0" fmla="*/ 378823 h 378823"/>
              <a:gd name="connsiteX1" fmla="*/ 1293222 w 1293222"/>
              <a:gd name="connsiteY1" fmla="*/ 182880 h 378823"/>
              <a:gd name="connsiteX2" fmla="*/ 1293222 w 1293222"/>
              <a:gd name="connsiteY2" fmla="*/ 0 h 378823"/>
              <a:gd name="connsiteX3" fmla="*/ 0 w 1293222"/>
              <a:gd name="connsiteY3" fmla="*/ 130629 h 378823"/>
              <a:gd name="connsiteX4" fmla="*/ 71845 w 1293222"/>
              <a:gd name="connsiteY4" fmla="*/ 378823 h 378823"/>
              <a:gd name="connsiteX0" fmla="*/ 65313 w 1293222"/>
              <a:gd name="connsiteY0" fmla="*/ 398417 h 398417"/>
              <a:gd name="connsiteX1" fmla="*/ 1293222 w 1293222"/>
              <a:gd name="connsiteY1" fmla="*/ 182880 h 398417"/>
              <a:gd name="connsiteX2" fmla="*/ 1293222 w 1293222"/>
              <a:gd name="connsiteY2" fmla="*/ 0 h 398417"/>
              <a:gd name="connsiteX3" fmla="*/ 0 w 1293222"/>
              <a:gd name="connsiteY3" fmla="*/ 130629 h 398417"/>
              <a:gd name="connsiteX4" fmla="*/ 65313 w 1293222"/>
              <a:gd name="connsiteY4" fmla="*/ 398417 h 398417"/>
              <a:gd name="connsiteX0" fmla="*/ 104663 w 1332572"/>
              <a:gd name="connsiteY0" fmla="*/ 488407 h 488407"/>
              <a:gd name="connsiteX1" fmla="*/ 1332572 w 1332572"/>
              <a:gd name="connsiteY1" fmla="*/ 272870 h 488407"/>
              <a:gd name="connsiteX2" fmla="*/ 1332572 w 1332572"/>
              <a:gd name="connsiteY2" fmla="*/ 89990 h 488407"/>
              <a:gd name="connsiteX3" fmla="*/ 0 w 1332572"/>
              <a:gd name="connsiteY3" fmla="*/ 0 h 488407"/>
              <a:gd name="connsiteX4" fmla="*/ 104663 w 1332572"/>
              <a:gd name="connsiteY4" fmla="*/ 488407 h 488407"/>
              <a:gd name="connsiteX0" fmla="*/ 58754 w 1286663"/>
              <a:gd name="connsiteY0" fmla="*/ 488407 h 488407"/>
              <a:gd name="connsiteX1" fmla="*/ 1286663 w 1286663"/>
              <a:gd name="connsiteY1" fmla="*/ 272870 h 488407"/>
              <a:gd name="connsiteX2" fmla="*/ 1286663 w 1286663"/>
              <a:gd name="connsiteY2" fmla="*/ 89990 h 488407"/>
              <a:gd name="connsiteX3" fmla="*/ 0 w 1286663"/>
              <a:gd name="connsiteY3" fmla="*/ 0 h 488407"/>
              <a:gd name="connsiteX4" fmla="*/ 58754 w 1286663"/>
              <a:gd name="connsiteY4" fmla="*/ 488407 h 488407"/>
              <a:gd name="connsiteX0" fmla="*/ 58754 w 1293221"/>
              <a:gd name="connsiteY0" fmla="*/ 574912 h 574912"/>
              <a:gd name="connsiteX1" fmla="*/ 1286663 w 1293221"/>
              <a:gd name="connsiteY1" fmla="*/ 359375 h 574912"/>
              <a:gd name="connsiteX2" fmla="*/ 1293221 w 1293221"/>
              <a:gd name="connsiteY2" fmla="*/ 0 h 574912"/>
              <a:gd name="connsiteX3" fmla="*/ 0 w 1293221"/>
              <a:gd name="connsiteY3" fmla="*/ 86505 h 574912"/>
              <a:gd name="connsiteX4" fmla="*/ 58754 w 1293221"/>
              <a:gd name="connsiteY4" fmla="*/ 574912 h 574912"/>
              <a:gd name="connsiteX0" fmla="*/ 58754 w 1470298"/>
              <a:gd name="connsiteY0" fmla="*/ 574912 h 574912"/>
              <a:gd name="connsiteX1" fmla="*/ 1470298 w 1470298"/>
              <a:gd name="connsiteY1" fmla="*/ 561083 h 574912"/>
              <a:gd name="connsiteX2" fmla="*/ 1293221 w 1470298"/>
              <a:gd name="connsiteY2" fmla="*/ 0 h 574912"/>
              <a:gd name="connsiteX3" fmla="*/ 0 w 1470298"/>
              <a:gd name="connsiteY3" fmla="*/ 86505 h 574912"/>
              <a:gd name="connsiteX4" fmla="*/ 58754 w 1470298"/>
              <a:gd name="connsiteY4" fmla="*/ 574912 h 574912"/>
              <a:gd name="connsiteX0" fmla="*/ 65313 w 1470298"/>
              <a:gd name="connsiteY0" fmla="*/ 795531 h 795531"/>
              <a:gd name="connsiteX1" fmla="*/ 1470298 w 1470298"/>
              <a:gd name="connsiteY1" fmla="*/ 561083 h 795531"/>
              <a:gd name="connsiteX2" fmla="*/ 1293221 w 1470298"/>
              <a:gd name="connsiteY2" fmla="*/ 0 h 795531"/>
              <a:gd name="connsiteX3" fmla="*/ 0 w 1470298"/>
              <a:gd name="connsiteY3" fmla="*/ 86505 h 795531"/>
              <a:gd name="connsiteX4" fmla="*/ 65313 w 1470298"/>
              <a:gd name="connsiteY4" fmla="*/ 795531 h 795531"/>
              <a:gd name="connsiteX0" fmla="*/ 65313 w 1844126"/>
              <a:gd name="connsiteY0" fmla="*/ 795531 h 795531"/>
              <a:gd name="connsiteX1" fmla="*/ 1844126 w 1844126"/>
              <a:gd name="connsiteY1" fmla="*/ 504352 h 795531"/>
              <a:gd name="connsiteX2" fmla="*/ 1293221 w 1844126"/>
              <a:gd name="connsiteY2" fmla="*/ 0 h 795531"/>
              <a:gd name="connsiteX3" fmla="*/ 0 w 1844126"/>
              <a:gd name="connsiteY3" fmla="*/ 86505 h 795531"/>
              <a:gd name="connsiteX4" fmla="*/ 65313 w 1844126"/>
              <a:gd name="connsiteY4" fmla="*/ 795531 h 795531"/>
              <a:gd name="connsiteX0" fmla="*/ 65313 w 1844126"/>
              <a:gd name="connsiteY0" fmla="*/ 845958 h 845958"/>
              <a:gd name="connsiteX1" fmla="*/ 1844126 w 1844126"/>
              <a:gd name="connsiteY1" fmla="*/ 554779 h 845958"/>
              <a:gd name="connsiteX2" fmla="*/ 1621141 w 1844126"/>
              <a:gd name="connsiteY2" fmla="*/ 0 h 845958"/>
              <a:gd name="connsiteX3" fmla="*/ 0 w 1844126"/>
              <a:gd name="connsiteY3" fmla="*/ 136932 h 845958"/>
              <a:gd name="connsiteX4" fmla="*/ 65313 w 1844126"/>
              <a:gd name="connsiteY4" fmla="*/ 845958 h 845958"/>
              <a:gd name="connsiteX0" fmla="*/ 65313 w 1844126"/>
              <a:gd name="connsiteY0" fmla="*/ 864868 h 864868"/>
              <a:gd name="connsiteX1" fmla="*/ 1844126 w 1844126"/>
              <a:gd name="connsiteY1" fmla="*/ 573689 h 864868"/>
              <a:gd name="connsiteX2" fmla="*/ 1621141 w 1844126"/>
              <a:gd name="connsiteY2" fmla="*/ 0 h 864868"/>
              <a:gd name="connsiteX3" fmla="*/ 0 w 1844126"/>
              <a:gd name="connsiteY3" fmla="*/ 155842 h 864868"/>
              <a:gd name="connsiteX4" fmla="*/ 65313 w 1844126"/>
              <a:gd name="connsiteY4" fmla="*/ 864868 h 864868"/>
              <a:gd name="connsiteX0" fmla="*/ 65313 w 1686724"/>
              <a:gd name="connsiteY0" fmla="*/ 864868 h 864868"/>
              <a:gd name="connsiteX1" fmla="*/ 1686724 w 1686724"/>
              <a:gd name="connsiteY1" fmla="*/ 561082 h 864868"/>
              <a:gd name="connsiteX2" fmla="*/ 1621141 w 1686724"/>
              <a:gd name="connsiteY2" fmla="*/ 0 h 864868"/>
              <a:gd name="connsiteX3" fmla="*/ 0 w 1686724"/>
              <a:gd name="connsiteY3" fmla="*/ 155842 h 864868"/>
              <a:gd name="connsiteX4" fmla="*/ 65313 w 1686724"/>
              <a:gd name="connsiteY4" fmla="*/ 864868 h 864868"/>
              <a:gd name="connsiteX0" fmla="*/ 39079 w 1660490"/>
              <a:gd name="connsiteY0" fmla="*/ 864868 h 864868"/>
              <a:gd name="connsiteX1" fmla="*/ 1660490 w 1660490"/>
              <a:gd name="connsiteY1" fmla="*/ 561082 h 864868"/>
              <a:gd name="connsiteX2" fmla="*/ 1594907 w 1660490"/>
              <a:gd name="connsiteY2" fmla="*/ 0 h 864868"/>
              <a:gd name="connsiteX3" fmla="*/ 0 w 1660490"/>
              <a:gd name="connsiteY3" fmla="*/ 351248 h 864868"/>
              <a:gd name="connsiteX4" fmla="*/ 39079 w 1660490"/>
              <a:gd name="connsiteY4" fmla="*/ 864868 h 864868"/>
              <a:gd name="connsiteX0" fmla="*/ 39079 w 1857243"/>
              <a:gd name="connsiteY0" fmla="*/ 719889 h 719889"/>
              <a:gd name="connsiteX1" fmla="*/ 1660490 w 1857243"/>
              <a:gd name="connsiteY1" fmla="*/ 416103 h 719889"/>
              <a:gd name="connsiteX2" fmla="*/ 1857243 w 1857243"/>
              <a:gd name="connsiteY2" fmla="*/ 0 h 719889"/>
              <a:gd name="connsiteX3" fmla="*/ 0 w 1857243"/>
              <a:gd name="connsiteY3" fmla="*/ 206269 h 719889"/>
              <a:gd name="connsiteX4" fmla="*/ 39079 w 1857243"/>
              <a:gd name="connsiteY4" fmla="*/ 719889 h 719889"/>
              <a:gd name="connsiteX0" fmla="*/ 39079 w 1909709"/>
              <a:gd name="connsiteY0" fmla="*/ 719889 h 719889"/>
              <a:gd name="connsiteX1" fmla="*/ 1909709 w 1909709"/>
              <a:gd name="connsiteY1" fmla="*/ 208090 h 719889"/>
              <a:gd name="connsiteX2" fmla="*/ 1857243 w 1909709"/>
              <a:gd name="connsiteY2" fmla="*/ 0 h 719889"/>
              <a:gd name="connsiteX3" fmla="*/ 0 w 1909709"/>
              <a:gd name="connsiteY3" fmla="*/ 206269 h 719889"/>
              <a:gd name="connsiteX4" fmla="*/ 39079 w 1909709"/>
              <a:gd name="connsiteY4" fmla="*/ 719889 h 719889"/>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206269 h 511876"/>
              <a:gd name="connsiteX4" fmla="*/ 39079 w 1909709"/>
              <a:gd name="connsiteY4" fmla="*/ 511876 h 511876"/>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121173 h 511876"/>
              <a:gd name="connsiteX4" fmla="*/ 39079 w 1909709"/>
              <a:gd name="connsiteY4" fmla="*/ 511876 h 511876"/>
              <a:gd name="connsiteX0" fmla="*/ 39079 w 1857243"/>
              <a:gd name="connsiteY0" fmla="*/ 511876 h 511876"/>
              <a:gd name="connsiteX1" fmla="*/ 1748372 w 1857243"/>
              <a:gd name="connsiteY1" fmla="*/ 309201 h 511876"/>
              <a:gd name="connsiteX2" fmla="*/ 1857243 w 1857243"/>
              <a:gd name="connsiteY2" fmla="*/ 0 h 511876"/>
              <a:gd name="connsiteX3" fmla="*/ 0 w 1857243"/>
              <a:gd name="connsiteY3" fmla="*/ 121173 h 511876"/>
              <a:gd name="connsiteX4" fmla="*/ 39079 w 1857243"/>
              <a:gd name="connsiteY4" fmla="*/ 511876 h 511876"/>
              <a:gd name="connsiteX0" fmla="*/ 39079 w 1748372"/>
              <a:gd name="connsiteY0" fmla="*/ 499237 h 499237"/>
              <a:gd name="connsiteX1" fmla="*/ 1748372 w 1748372"/>
              <a:gd name="connsiteY1" fmla="*/ 296562 h 499237"/>
              <a:gd name="connsiteX2" fmla="*/ 1723965 w 1748372"/>
              <a:gd name="connsiteY2" fmla="*/ 0 h 499237"/>
              <a:gd name="connsiteX3" fmla="*/ 0 w 1748372"/>
              <a:gd name="connsiteY3" fmla="*/ 108534 h 499237"/>
              <a:gd name="connsiteX4" fmla="*/ 39079 w 1748372"/>
              <a:gd name="connsiteY4" fmla="*/ 499237 h 499237"/>
              <a:gd name="connsiteX0" fmla="*/ 95196 w 1748372"/>
              <a:gd name="connsiteY0" fmla="*/ 451841 h 451841"/>
              <a:gd name="connsiteX1" fmla="*/ 1748372 w 1748372"/>
              <a:gd name="connsiteY1" fmla="*/ 296562 h 451841"/>
              <a:gd name="connsiteX2" fmla="*/ 1723965 w 1748372"/>
              <a:gd name="connsiteY2" fmla="*/ 0 h 451841"/>
              <a:gd name="connsiteX3" fmla="*/ 0 w 1748372"/>
              <a:gd name="connsiteY3" fmla="*/ 108534 h 451841"/>
              <a:gd name="connsiteX4" fmla="*/ 95196 w 1748372"/>
              <a:gd name="connsiteY4" fmla="*/ 451841 h 451841"/>
              <a:gd name="connsiteX0" fmla="*/ 95196 w 1723965"/>
              <a:gd name="connsiteY0" fmla="*/ 451841 h 451841"/>
              <a:gd name="connsiteX1" fmla="*/ 1713299 w 1723965"/>
              <a:gd name="connsiteY1" fmla="*/ 315520 h 451841"/>
              <a:gd name="connsiteX2" fmla="*/ 1723965 w 1723965"/>
              <a:gd name="connsiteY2" fmla="*/ 0 h 451841"/>
              <a:gd name="connsiteX3" fmla="*/ 0 w 1723965"/>
              <a:gd name="connsiteY3" fmla="*/ 108534 h 451841"/>
              <a:gd name="connsiteX4" fmla="*/ 95196 w 1723965"/>
              <a:gd name="connsiteY4" fmla="*/ 451841 h 451841"/>
              <a:gd name="connsiteX0" fmla="*/ 95196 w 1713299"/>
              <a:gd name="connsiteY0" fmla="*/ 455001 h 455001"/>
              <a:gd name="connsiteX1" fmla="*/ 1713299 w 1713299"/>
              <a:gd name="connsiteY1" fmla="*/ 318680 h 455001"/>
              <a:gd name="connsiteX2" fmla="*/ 1667848 w 1713299"/>
              <a:gd name="connsiteY2" fmla="*/ 0 h 455001"/>
              <a:gd name="connsiteX3" fmla="*/ 0 w 1713299"/>
              <a:gd name="connsiteY3" fmla="*/ 111694 h 455001"/>
              <a:gd name="connsiteX4" fmla="*/ 95196 w 1713299"/>
              <a:gd name="connsiteY4" fmla="*/ 455001 h 455001"/>
              <a:gd name="connsiteX0" fmla="*/ 67137 w 1685240"/>
              <a:gd name="connsiteY0" fmla="*/ 455001 h 455001"/>
              <a:gd name="connsiteX1" fmla="*/ 1685240 w 1685240"/>
              <a:gd name="connsiteY1" fmla="*/ 318680 h 455001"/>
              <a:gd name="connsiteX2" fmla="*/ 1639789 w 1685240"/>
              <a:gd name="connsiteY2" fmla="*/ 0 h 455001"/>
              <a:gd name="connsiteX3" fmla="*/ 0 w 1685240"/>
              <a:gd name="connsiteY3" fmla="*/ 130652 h 455001"/>
              <a:gd name="connsiteX4" fmla="*/ 67137 w 1685240"/>
              <a:gd name="connsiteY4" fmla="*/ 455001 h 455001"/>
              <a:gd name="connsiteX0" fmla="*/ 67137 w 1667473"/>
              <a:gd name="connsiteY0" fmla="*/ 455001 h 455001"/>
              <a:gd name="connsiteX1" fmla="*/ 1667473 w 1667473"/>
              <a:gd name="connsiteY1" fmla="*/ 242054 h 455001"/>
              <a:gd name="connsiteX2" fmla="*/ 1639789 w 1667473"/>
              <a:gd name="connsiteY2" fmla="*/ 0 h 455001"/>
              <a:gd name="connsiteX3" fmla="*/ 0 w 1667473"/>
              <a:gd name="connsiteY3" fmla="*/ 130652 h 455001"/>
              <a:gd name="connsiteX4" fmla="*/ 67137 w 1667473"/>
              <a:gd name="connsiteY4" fmla="*/ 455001 h 455001"/>
              <a:gd name="connsiteX0" fmla="*/ 100217 w 1700553"/>
              <a:gd name="connsiteY0" fmla="*/ 455001 h 455001"/>
              <a:gd name="connsiteX1" fmla="*/ 1700553 w 1700553"/>
              <a:gd name="connsiteY1" fmla="*/ 242054 h 455001"/>
              <a:gd name="connsiteX2" fmla="*/ 1672869 w 1700553"/>
              <a:gd name="connsiteY2" fmla="*/ 0 h 455001"/>
              <a:gd name="connsiteX3" fmla="*/ 0 w 1700553"/>
              <a:gd name="connsiteY3" fmla="*/ 205540 h 455001"/>
              <a:gd name="connsiteX4" fmla="*/ 100217 w 1700553"/>
              <a:gd name="connsiteY4" fmla="*/ 455001 h 455001"/>
              <a:gd name="connsiteX0" fmla="*/ 100217 w 1700553"/>
              <a:gd name="connsiteY0" fmla="*/ 366878 h 366878"/>
              <a:gd name="connsiteX1" fmla="*/ 1700553 w 1700553"/>
              <a:gd name="connsiteY1" fmla="*/ 153931 h 366878"/>
              <a:gd name="connsiteX2" fmla="*/ 1588975 w 1700553"/>
              <a:gd name="connsiteY2" fmla="*/ 0 h 366878"/>
              <a:gd name="connsiteX3" fmla="*/ 0 w 1700553"/>
              <a:gd name="connsiteY3" fmla="*/ 117417 h 366878"/>
              <a:gd name="connsiteX4" fmla="*/ 100217 w 1700553"/>
              <a:gd name="connsiteY4" fmla="*/ 366878 h 366878"/>
              <a:gd name="connsiteX0" fmla="*/ 115726 w 1700553"/>
              <a:gd name="connsiteY0" fmla="*/ 305211 h 305211"/>
              <a:gd name="connsiteX1" fmla="*/ 1700553 w 1700553"/>
              <a:gd name="connsiteY1" fmla="*/ 153931 h 305211"/>
              <a:gd name="connsiteX2" fmla="*/ 1588975 w 1700553"/>
              <a:gd name="connsiteY2" fmla="*/ 0 h 305211"/>
              <a:gd name="connsiteX3" fmla="*/ 0 w 1700553"/>
              <a:gd name="connsiteY3" fmla="*/ 117417 h 305211"/>
              <a:gd name="connsiteX4" fmla="*/ 115726 w 1700553"/>
              <a:gd name="connsiteY4" fmla="*/ 305211 h 305211"/>
              <a:gd name="connsiteX0" fmla="*/ 115726 w 1700553"/>
              <a:gd name="connsiteY0" fmla="*/ 321895 h 321895"/>
              <a:gd name="connsiteX1" fmla="*/ 1700553 w 1700553"/>
              <a:gd name="connsiteY1" fmla="*/ 170615 h 321895"/>
              <a:gd name="connsiteX2" fmla="*/ 1471607 w 1700553"/>
              <a:gd name="connsiteY2" fmla="*/ 0 h 321895"/>
              <a:gd name="connsiteX3" fmla="*/ 0 w 1700553"/>
              <a:gd name="connsiteY3" fmla="*/ 134101 h 321895"/>
              <a:gd name="connsiteX4" fmla="*/ 115726 w 1700553"/>
              <a:gd name="connsiteY4" fmla="*/ 321895 h 321895"/>
              <a:gd name="connsiteX0" fmla="*/ 115726 w 1581352"/>
              <a:gd name="connsiteY0" fmla="*/ 321895 h 321895"/>
              <a:gd name="connsiteX1" fmla="*/ 1581352 w 1581352"/>
              <a:gd name="connsiteY1" fmla="*/ 210307 h 321895"/>
              <a:gd name="connsiteX2" fmla="*/ 1471607 w 1581352"/>
              <a:gd name="connsiteY2" fmla="*/ 0 h 321895"/>
              <a:gd name="connsiteX3" fmla="*/ 0 w 1581352"/>
              <a:gd name="connsiteY3" fmla="*/ 134101 h 321895"/>
              <a:gd name="connsiteX4" fmla="*/ 115726 w 1581352"/>
              <a:gd name="connsiteY4" fmla="*/ 321895 h 321895"/>
              <a:gd name="connsiteX0" fmla="*/ 92298 w 1557924"/>
              <a:gd name="connsiteY0" fmla="*/ 321895 h 321895"/>
              <a:gd name="connsiteX1" fmla="*/ 1557924 w 1557924"/>
              <a:gd name="connsiteY1" fmla="*/ 210307 h 321895"/>
              <a:gd name="connsiteX2" fmla="*/ 1448179 w 1557924"/>
              <a:gd name="connsiteY2" fmla="*/ 0 h 321895"/>
              <a:gd name="connsiteX3" fmla="*/ 0 w 1557924"/>
              <a:gd name="connsiteY3" fmla="*/ 116473 h 321895"/>
              <a:gd name="connsiteX4" fmla="*/ 92298 w 1557924"/>
              <a:gd name="connsiteY4" fmla="*/ 321895 h 321895"/>
              <a:gd name="connsiteX0" fmla="*/ 152961 w 1557924"/>
              <a:gd name="connsiteY0" fmla="*/ 341247 h 341247"/>
              <a:gd name="connsiteX1" fmla="*/ 1557924 w 1557924"/>
              <a:gd name="connsiteY1" fmla="*/ 210307 h 341247"/>
              <a:gd name="connsiteX2" fmla="*/ 1448179 w 1557924"/>
              <a:gd name="connsiteY2" fmla="*/ 0 h 341247"/>
              <a:gd name="connsiteX3" fmla="*/ 0 w 1557924"/>
              <a:gd name="connsiteY3" fmla="*/ 116473 h 341247"/>
              <a:gd name="connsiteX4" fmla="*/ 152961 w 1557924"/>
              <a:gd name="connsiteY4" fmla="*/ 341247 h 341247"/>
              <a:gd name="connsiteX0" fmla="*/ 135357 w 1557924"/>
              <a:gd name="connsiteY0" fmla="*/ 339493 h 339493"/>
              <a:gd name="connsiteX1" fmla="*/ 1557924 w 1557924"/>
              <a:gd name="connsiteY1" fmla="*/ 210307 h 339493"/>
              <a:gd name="connsiteX2" fmla="*/ 1448179 w 1557924"/>
              <a:gd name="connsiteY2" fmla="*/ 0 h 339493"/>
              <a:gd name="connsiteX3" fmla="*/ 0 w 1557924"/>
              <a:gd name="connsiteY3" fmla="*/ 116473 h 339493"/>
              <a:gd name="connsiteX4" fmla="*/ 135357 w 1557924"/>
              <a:gd name="connsiteY4" fmla="*/ 339493 h 339493"/>
              <a:gd name="connsiteX0" fmla="*/ 109934 w 1532501"/>
              <a:gd name="connsiteY0" fmla="*/ 339493 h 339493"/>
              <a:gd name="connsiteX1" fmla="*/ 1532501 w 1532501"/>
              <a:gd name="connsiteY1" fmla="*/ 210307 h 339493"/>
              <a:gd name="connsiteX2" fmla="*/ 1422756 w 1532501"/>
              <a:gd name="connsiteY2" fmla="*/ 0 h 339493"/>
              <a:gd name="connsiteX3" fmla="*/ 0 w 1532501"/>
              <a:gd name="connsiteY3" fmla="*/ 117343 h 339493"/>
              <a:gd name="connsiteX4" fmla="*/ 109934 w 1532501"/>
              <a:gd name="connsiteY4" fmla="*/ 339493 h 339493"/>
              <a:gd name="connsiteX0" fmla="*/ 133525 w 1556092"/>
              <a:gd name="connsiteY0" fmla="*/ 339493 h 339493"/>
              <a:gd name="connsiteX1" fmla="*/ 1556092 w 1556092"/>
              <a:gd name="connsiteY1" fmla="*/ 210307 h 339493"/>
              <a:gd name="connsiteX2" fmla="*/ 1446347 w 1556092"/>
              <a:gd name="connsiteY2" fmla="*/ 0 h 339493"/>
              <a:gd name="connsiteX3" fmla="*/ 0 w 1556092"/>
              <a:gd name="connsiteY3" fmla="*/ 60098 h 339493"/>
              <a:gd name="connsiteX4" fmla="*/ 133525 w 1556092"/>
              <a:gd name="connsiteY4" fmla="*/ 339493 h 339493"/>
              <a:gd name="connsiteX0" fmla="*/ 133525 w 2343667"/>
              <a:gd name="connsiteY0" fmla="*/ 459688 h 459688"/>
              <a:gd name="connsiteX1" fmla="*/ 1556092 w 2343667"/>
              <a:gd name="connsiteY1" fmla="*/ 330502 h 459688"/>
              <a:gd name="connsiteX2" fmla="*/ 2343667 w 2343667"/>
              <a:gd name="connsiteY2" fmla="*/ 0 h 459688"/>
              <a:gd name="connsiteX3" fmla="*/ 0 w 2343667"/>
              <a:gd name="connsiteY3" fmla="*/ 180293 h 459688"/>
              <a:gd name="connsiteX4" fmla="*/ 133525 w 2343667"/>
              <a:gd name="connsiteY4" fmla="*/ 459688 h 459688"/>
              <a:gd name="connsiteX0" fmla="*/ 133525 w 2391079"/>
              <a:gd name="connsiteY0" fmla="*/ 459688 h 459688"/>
              <a:gd name="connsiteX1" fmla="*/ 2391079 w 2391079"/>
              <a:gd name="connsiteY1" fmla="*/ 322204 h 459688"/>
              <a:gd name="connsiteX2" fmla="*/ 2343667 w 2391079"/>
              <a:gd name="connsiteY2" fmla="*/ 0 h 459688"/>
              <a:gd name="connsiteX3" fmla="*/ 0 w 2391079"/>
              <a:gd name="connsiteY3" fmla="*/ 180293 h 459688"/>
              <a:gd name="connsiteX4" fmla="*/ 133525 w 2391079"/>
              <a:gd name="connsiteY4" fmla="*/ 459688 h 459688"/>
              <a:gd name="connsiteX0" fmla="*/ 159047 w 2391079"/>
              <a:gd name="connsiteY0" fmla="*/ 505482 h 505482"/>
              <a:gd name="connsiteX1" fmla="*/ 2391079 w 2391079"/>
              <a:gd name="connsiteY1" fmla="*/ 322204 h 505482"/>
              <a:gd name="connsiteX2" fmla="*/ 2343667 w 2391079"/>
              <a:gd name="connsiteY2" fmla="*/ 0 h 505482"/>
              <a:gd name="connsiteX3" fmla="*/ 0 w 2391079"/>
              <a:gd name="connsiteY3" fmla="*/ 180293 h 505482"/>
              <a:gd name="connsiteX4" fmla="*/ 159047 w 2391079"/>
              <a:gd name="connsiteY4" fmla="*/ 505482 h 505482"/>
              <a:gd name="connsiteX0" fmla="*/ 159047 w 2391079"/>
              <a:gd name="connsiteY0" fmla="*/ 518659 h 518659"/>
              <a:gd name="connsiteX1" fmla="*/ 2391079 w 2391079"/>
              <a:gd name="connsiteY1" fmla="*/ 335381 h 518659"/>
              <a:gd name="connsiteX2" fmla="*/ 2261507 w 2391079"/>
              <a:gd name="connsiteY2" fmla="*/ 0 h 518659"/>
              <a:gd name="connsiteX3" fmla="*/ 0 w 2391079"/>
              <a:gd name="connsiteY3" fmla="*/ 193470 h 518659"/>
              <a:gd name="connsiteX4" fmla="*/ 159047 w 2391079"/>
              <a:gd name="connsiteY4" fmla="*/ 518659 h 518659"/>
              <a:gd name="connsiteX0" fmla="*/ 159047 w 2513813"/>
              <a:gd name="connsiteY0" fmla="*/ 498511 h 498511"/>
              <a:gd name="connsiteX1" fmla="*/ 2391079 w 2513813"/>
              <a:gd name="connsiteY1" fmla="*/ 315233 h 498511"/>
              <a:gd name="connsiteX2" fmla="*/ 2513813 w 2513813"/>
              <a:gd name="connsiteY2" fmla="*/ 0 h 498511"/>
              <a:gd name="connsiteX3" fmla="*/ 0 w 2513813"/>
              <a:gd name="connsiteY3" fmla="*/ 173322 h 498511"/>
              <a:gd name="connsiteX4" fmla="*/ 159047 w 2513813"/>
              <a:gd name="connsiteY4" fmla="*/ 498511 h 498511"/>
              <a:gd name="connsiteX0" fmla="*/ 159047 w 2547383"/>
              <a:gd name="connsiteY0" fmla="*/ 498511 h 498511"/>
              <a:gd name="connsiteX1" fmla="*/ 2547383 w 2547383"/>
              <a:gd name="connsiteY1" fmla="*/ 252623 h 498511"/>
              <a:gd name="connsiteX2" fmla="*/ 2513813 w 2547383"/>
              <a:gd name="connsiteY2" fmla="*/ 0 h 498511"/>
              <a:gd name="connsiteX3" fmla="*/ 0 w 2547383"/>
              <a:gd name="connsiteY3" fmla="*/ 173322 h 498511"/>
              <a:gd name="connsiteX4" fmla="*/ 159047 w 2547383"/>
              <a:gd name="connsiteY4" fmla="*/ 498511 h 498511"/>
              <a:gd name="connsiteX0" fmla="*/ 164772 w 2553108"/>
              <a:gd name="connsiteY0" fmla="*/ 498511 h 498511"/>
              <a:gd name="connsiteX1" fmla="*/ 2553108 w 2553108"/>
              <a:gd name="connsiteY1" fmla="*/ 252623 h 498511"/>
              <a:gd name="connsiteX2" fmla="*/ 2519538 w 2553108"/>
              <a:gd name="connsiteY2" fmla="*/ 0 h 498511"/>
              <a:gd name="connsiteX3" fmla="*/ 0 w 2553108"/>
              <a:gd name="connsiteY3" fmla="*/ 237627 h 498511"/>
              <a:gd name="connsiteX4" fmla="*/ 164772 w 2553108"/>
              <a:gd name="connsiteY4" fmla="*/ 498511 h 498511"/>
              <a:gd name="connsiteX0" fmla="*/ 102113 w 2553108"/>
              <a:gd name="connsiteY0" fmla="*/ 460662 h 460662"/>
              <a:gd name="connsiteX1" fmla="*/ 2553108 w 2553108"/>
              <a:gd name="connsiteY1" fmla="*/ 252623 h 460662"/>
              <a:gd name="connsiteX2" fmla="*/ 2519538 w 2553108"/>
              <a:gd name="connsiteY2" fmla="*/ 0 h 460662"/>
              <a:gd name="connsiteX3" fmla="*/ 0 w 2553108"/>
              <a:gd name="connsiteY3" fmla="*/ 237627 h 460662"/>
              <a:gd name="connsiteX4" fmla="*/ 102113 w 2553108"/>
              <a:gd name="connsiteY4" fmla="*/ 460662 h 460662"/>
              <a:gd name="connsiteX0" fmla="*/ 102113 w 2553108"/>
              <a:gd name="connsiteY0" fmla="*/ 424537 h 424537"/>
              <a:gd name="connsiteX1" fmla="*/ 2553108 w 2553108"/>
              <a:gd name="connsiteY1" fmla="*/ 216498 h 424537"/>
              <a:gd name="connsiteX2" fmla="*/ 2498106 w 2553108"/>
              <a:gd name="connsiteY2" fmla="*/ 0 h 424537"/>
              <a:gd name="connsiteX3" fmla="*/ 0 w 2553108"/>
              <a:gd name="connsiteY3" fmla="*/ 201502 h 424537"/>
              <a:gd name="connsiteX4" fmla="*/ 102113 w 2553108"/>
              <a:gd name="connsiteY4" fmla="*/ 424537 h 424537"/>
              <a:gd name="connsiteX0" fmla="*/ 90333 w 2553108"/>
              <a:gd name="connsiteY0" fmla="*/ 403402 h 403402"/>
              <a:gd name="connsiteX1" fmla="*/ 2553108 w 2553108"/>
              <a:gd name="connsiteY1" fmla="*/ 216498 h 403402"/>
              <a:gd name="connsiteX2" fmla="*/ 2498106 w 2553108"/>
              <a:gd name="connsiteY2" fmla="*/ 0 h 403402"/>
              <a:gd name="connsiteX3" fmla="*/ 0 w 2553108"/>
              <a:gd name="connsiteY3" fmla="*/ 201502 h 403402"/>
              <a:gd name="connsiteX4" fmla="*/ 90333 w 2553108"/>
              <a:gd name="connsiteY4" fmla="*/ 403402 h 403402"/>
              <a:gd name="connsiteX0" fmla="*/ 60951 w 2523726"/>
              <a:gd name="connsiteY0" fmla="*/ 403402 h 403402"/>
              <a:gd name="connsiteX1" fmla="*/ 2523726 w 2523726"/>
              <a:gd name="connsiteY1" fmla="*/ 216498 h 403402"/>
              <a:gd name="connsiteX2" fmla="*/ 2468724 w 2523726"/>
              <a:gd name="connsiteY2" fmla="*/ 0 h 403402"/>
              <a:gd name="connsiteX3" fmla="*/ 0 w 2523726"/>
              <a:gd name="connsiteY3" fmla="*/ 224392 h 403402"/>
              <a:gd name="connsiteX4" fmla="*/ 60951 w 2523726"/>
              <a:gd name="connsiteY4" fmla="*/ 403402 h 40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3726" h="403402">
                <a:moveTo>
                  <a:pt x="60951" y="403402"/>
                </a:moveTo>
                <a:lnTo>
                  <a:pt x="2523726" y="216498"/>
                </a:lnTo>
                <a:lnTo>
                  <a:pt x="2468724" y="0"/>
                </a:lnTo>
                <a:lnTo>
                  <a:pt x="0" y="224392"/>
                </a:lnTo>
                <a:lnTo>
                  <a:pt x="60951" y="403402"/>
                </a:lnTo>
                <a:close/>
              </a:path>
            </a:pathLst>
          </a:custGeom>
          <a:solidFill>
            <a:srgbClr val="E6007E"/>
          </a:solidFill>
          <a:ln>
            <a:noFill/>
          </a:ln>
          <a:effectLst>
            <a:outerShdw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FFC000"/>
              </a:solidFill>
              <a:effectLst/>
              <a:uLnTx/>
              <a:uFillTx/>
              <a:latin typeface="Calibri" panose="020F0502020204030204"/>
              <a:ea typeface="+mn-ea"/>
              <a:cs typeface="+mn-cs"/>
            </a:endParaRPr>
          </a:p>
        </p:txBody>
      </p:sp>
      <p:sp>
        <p:nvSpPr>
          <p:cNvPr id="21" name="TextBox 9">
            <a:extLst>
              <a:ext uri="{FF2B5EF4-FFF2-40B4-BE49-F238E27FC236}">
                <a16:creationId xmlns:a16="http://schemas.microsoft.com/office/drawing/2014/main" id="{39C4E18D-4661-4CC0-8EE8-8470E1205768}"/>
              </a:ext>
            </a:extLst>
          </p:cNvPr>
          <p:cNvSpPr txBox="1">
            <a:spLocks noChangeArrowheads="1"/>
          </p:cNvSpPr>
          <p:nvPr/>
        </p:nvSpPr>
        <p:spPr bwMode="auto">
          <a:xfrm>
            <a:off x="9983894" y="635370"/>
            <a:ext cx="2403551" cy="369332"/>
          </a:xfrm>
          <a:prstGeom prst="rect">
            <a:avLst/>
          </a:prstGeom>
          <a:noFill/>
          <a:ln w="9525">
            <a:noFill/>
            <a:miter lim="800000"/>
            <a:headEnd/>
            <a:tailEnd/>
          </a:ln>
        </p:spPr>
        <p:txBody>
          <a:bodyPr wrap="square" lIns="0">
            <a:spAutoFit/>
          </a:bodyPr>
          <a:lstStyle/>
          <a:p>
            <a:pPr marL="3174" marR="0" lvl="0" indent="0" algn="l" defTabSz="914400" rtl="0" eaLnBrk="1" fontAlgn="auto" latinLnBrk="0" hangingPunct="1">
              <a:lnSpc>
                <a:spcPct val="90000"/>
              </a:lnSpc>
              <a:spcBef>
                <a:spcPts val="1200"/>
              </a:spcBef>
              <a:spcAft>
                <a:spcPts val="0"/>
              </a:spcAft>
              <a:buClr>
                <a:srgbClr val="5C5C5C"/>
              </a:buClr>
              <a:buSzPct val="80000"/>
              <a:buFontTx/>
              <a:buNone/>
              <a:tabLst/>
              <a:defRPr/>
            </a:pPr>
            <a:r>
              <a:rPr kumimoji="0" lang="nl-BE" sz="2000" b="1" i="0" u="none" strike="noStrike" kern="1200" cap="none" spc="0" normalizeH="0" baseline="0" noProof="0" dirty="0">
                <a:ln>
                  <a:noFill/>
                </a:ln>
                <a:solidFill>
                  <a:prstClr val="white"/>
                </a:solidFill>
                <a:effectLst/>
                <a:uLnTx/>
                <a:uFillTx/>
                <a:latin typeface="Amaranth" panose="02000503000000020004" pitchFamily="50" charset="0"/>
                <a:ea typeface="+mn-ea"/>
                <a:cs typeface="Arial" panose="020B0604020202020204" pitchFamily="34" charset="0"/>
              </a:rPr>
              <a:t>Doorgaande leerlijn</a:t>
            </a:r>
          </a:p>
        </p:txBody>
      </p:sp>
      <p:sp>
        <p:nvSpPr>
          <p:cNvPr id="15" name="Rechthoek 12">
            <a:extLst>
              <a:ext uri="{FF2B5EF4-FFF2-40B4-BE49-F238E27FC236}">
                <a16:creationId xmlns:a16="http://schemas.microsoft.com/office/drawing/2014/main" id="{CC4827E3-8189-4A2D-81EF-E6FA7B9AA568}"/>
              </a:ext>
            </a:extLst>
          </p:cNvPr>
          <p:cNvSpPr/>
          <p:nvPr/>
        </p:nvSpPr>
        <p:spPr>
          <a:xfrm>
            <a:off x="6404692" y="2258724"/>
            <a:ext cx="5555226" cy="5103961"/>
          </a:xfrm>
          <a:prstGeom prst="rect">
            <a:avLst/>
          </a:prstGeom>
        </p:spPr>
        <p:txBody>
          <a:bodyPr wrap="square" lIns="0" tIns="0" rIns="0" bIns="0">
            <a:spAutoFit/>
          </a:bodyPr>
          <a:lstStyle/>
          <a:p>
            <a:pPr marL="342900" marR="0" lvl="0" indent="-342900" algn="l" defTabSz="914400" rtl="0" eaLnBrk="1" fontAlgn="auto" latinLnBrk="0" hangingPunct="1">
              <a:lnSpc>
                <a:spcPts val="2000"/>
              </a:lnSpc>
              <a:spcBef>
                <a:spcPts val="0"/>
              </a:spcBef>
              <a:spcAft>
                <a:spcPts val="600"/>
              </a:spcAft>
              <a:buClrTx/>
              <a:buSzTx/>
              <a:buFont typeface="Arial" panose="020B0604020202020204" pitchFamily="34" charset="0"/>
              <a:buChar char="•"/>
              <a:tabLst/>
              <a:defRPr/>
            </a:pPr>
            <a:r>
              <a:rPr kumimoji="0" lang="nl-BE" sz="2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Zoemend zeggen vs. zoemend lezen </a:t>
            </a:r>
          </a:p>
          <a:p>
            <a:pPr marL="342900" marR="0" lvl="0" indent="-342900" algn="l" defTabSz="914400" rtl="0" eaLnBrk="1" fontAlgn="auto" latinLnBrk="0" hangingPunct="1">
              <a:lnSpc>
                <a:spcPts val="2000"/>
              </a:lnSpc>
              <a:spcBef>
                <a:spcPts val="0"/>
              </a:spcBef>
              <a:spcAft>
                <a:spcPts val="600"/>
              </a:spcAft>
              <a:buClrTx/>
              <a:buSzTx/>
              <a:buFont typeface="Arial" panose="020B0604020202020204" pitchFamily="34" charset="0"/>
              <a:buChar char="•"/>
              <a:tabLst/>
              <a:defRPr/>
            </a:pPr>
            <a:endParaRPr kumimoji="0" lang="nl-BE" sz="2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a:p>
            <a:pPr marL="342900" marR="0" lvl="0" indent="-342900" algn="l" defTabSz="914400" rtl="0" eaLnBrk="1" fontAlgn="auto" latinLnBrk="0" hangingPunct="1">
              <a:lnSpc>
                <a:spcPts val="2000"/>
              </a:lnSpc>
              <a:spcBef>
                <a:spcPts val="0"/>
              </a:spcBef>
              <a:spcAft>
                <a:spcPts val="600"/>
              </a:spcAft>
              <a:buClrTx/>
              <a:buSzTx/>
              <a:buFont typeface="Arial" panose="020B0604020202020204" pitchFamily="34" charset="0"/>
              <a:buChar char="•"/>
              <a:tabLst/>
              <a:defRPr/>
            </a:pPr>
            <a:r>
              <a:rPr kumimoji="0" lang="nl-BE" sz="2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Alzijdig verkennen van de letter </a:t>
            </a:r>
          </a:p>
          <a:p>
            <a:pPr marL="342900" marR="0" lvl="0" indent="-342900" algn="l" defTabSz="914400" rtl="0" eaLnBrk="1" fontAlgn="auto" latinLnBrk="0" hangingPunct="1">
              <a:lnSpc>
                <a:spcPts val="2000"/>
              </a:lnSpc>
              <a:spcBef>
                <a:spcPts val="0"/>
              </a:spcBef>
              <a:spcAft>
                <a:spcPts val="600"/>
              </a:spcAft>
              <a:buClrTx/>
              <a:buSzTx/>
              <a:buFont typeface="Arial" panose="020B0604020202020204" pitchFamily="34" charset="0"/>
              <a:buChar char="•"/>
              <a:tabLst/>
              <a:defRPr/>
            </a:pPr>
            <a:endParaRPr kumimoji="0" lang="nl-BE" sz="2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a:p>
            <a:pPr marL="342900" marR="0" lvl="0" indent="-342900" algn="l" defTabSz="914400" rtl="0" eaLnBrk="1" fontAlgn="auto" latinLnBrk="0" hangingPunct="1">
              <a:lnSpc>
                <a:spcPts val="2000"/>
              </a:lnSpc>
              <a:spcBef>
                <a:spcPts val="0"/>
              </a:spcBef>
              <a:spcAft>
                <a:spcPts val="600"/>
              </a:spcAft>
              <a:buClrTx/>
              <a:buSzTx/>
              <a:buFont typeface="Arial" panose="020B0604020202020204" pitchFamily="34" charset="0"/>
              <a:buChar char="•"/>
              <a:tabLst/>
              <a:defRPr/>
            </a:pPr>
            <a:r>
              <a:rPr kumimoji="0" lang="nl-BE" sz="2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Uitgangspunt verhaalbegrip, -oriëntatie en woordenschat</a:t>
            </a:r>
          </a:p>
          <a:p>
            <a:pPr marL="342900" marR="0" lvl="0" indent="-342900" algn="l" defTabSz="914400" rtl="0" eaLnBrk="1" fontAlgn="auto" latinLnBrk="0" hangingPunct="1">
              <a:lnSpc>
                <a:spcPts val="2000"/>
              </a:lnSpc>
              <a:spcBef>
                <a:spcPts val="0"/>
              </a:spcBef>
              <a:spcAft>
                <a:spcPts val="600"/>
              </a:spcAft>
              <a:buClrTx/>
              <a:buSzTx/>
              <a:buFont typeface="Arial" panose="020B0604020202020204" pitchFamily="34" charset="0"/>
              <a:buChar char="•"/>
              <a:tabLst/>
              <a:defRPr/>
            </a:pPr>
            <a:endParaRPr kumimoji="0" lang="nl-BE" sz="2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a:p>
            <a:pPr marL="342900" marR="0" lvl="0" indent="-342900" algn="l" defTabSz="914400" rtl="0" eaLnBrk="1" fontAlgn="auto" latinLnBrk="0" hangingPunct="1">
              <a:lnSpc>
                <a:spcPts val="2000"/>
              </a:lnSpc>
              <a:spcBef>
                <a:spcPts val="0"/>
              </a:spcBef>
              <a:spcAft>
                <a:spcPts val="600"/>
              </a:spcAft>
              <a:buClrTx/>
              <a:buSzTx/>
              <a:buFont typeface="Arial" panose="020B0604020202020204" pitchFamily="34" charset="0"/>
              <a:buChar char="•"/>
              <a:tabLst/>
              <a:defRPr/>
            </a:pPr>
            <a:r>
              <a:rPr kumimoji="0" lang="nl-BE" sz="2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Dezelfde differentatieniveaus </a:t>
            </a:r>
          </a:p>
          <a:p>
            <a:pPr marL="342900" marR="0" lvl="0" indent="-342900" algn="l" defTabSz="914400" rtl="0" eaLnBrk="1" fontAlgn="auto" latinLnBrk="0" hangingPunct="1">
              <a:lnSpc>
                <a:spcPts val="2000"/>
              </a:lnSpc>
              <a:spcBef>
                <a:spcPts val="0"/>
              </a:spcBef>
              <a:spcAft>
                <a:spcPts val="600"/>
              </a:spcAft>
              <a:buClrTx/>
              <a:buSzTx/>
              <a:buFont typeface="Arial" panose="020B0604020202020204" pitchFamily="34" charset="0"/>
              <a:buChar char="•"/>
              <a:tabLst/>
              <a:defRPr/>
            </a:pPr>
            <a:endParaRPr kumimoji="0" lang="nl-BE" sz="2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a:p>
            <a:pPr marL="342900" marR="0" lvl="0" indent="-342900" algn="l" defTabSz="914400" rtl="0" eaLnBrk="1" fontAlgn="auto" latinLnBrk="0" hangingPunct="1">
              <a:lnSpc>
                <a:spcPts val="2000"/>
              </a:lnSpc>
              <a:spcBef>
                <a:spcPts val="0"/>
              </a:spcBef>
              <a:spcAft>
                <a:spcPts val="600"/>
              </a:spcAft>
              <a:buClrTx/>
              <a:buSzTx/>
              <a:buFont typeface="Arial" panose="020B0604020202020204" pitchFamily="34" charset="0"/>
              <a:buChar char="•"/>
              <a:tabLst/>
              <a:defRPr/>
            </a:pPr>
            <a:r>
              <a:rPr kumimoji="0" lang="nl-BE" sz="2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Digitale ondersteuning zoals Digiregie en de leerkrachtassistent </a:t>
            </a:r>
          </a:p>
          <a:p>
            <a:pPr marL="0" marR="0" lvl="0" indent="0" algn="l" defTabSz="914400" rtl="0" eaLnBrk="1" fontAlgn="auto" latinLnBrk="0" hangingPunct="1">
              <a:lnSpc>
                <a:spcPts val="2000"/>
              </a:lnSpc>
              <a:spcBef>
                <a:spcPts val="0"/>
              </a:spcBef>
              <a:spcAft>
                <a:spcPts val="600"/>
              </a:spcAft>
              <a:buClrTx/>
              <a:buSzTx/>
              <a:buFontTx/>
              <a:buNone/>
              <a:tabLst/>
              <a:defRPr/>
            </a:pPr>
            <a:endParaRPr kumimoji="0" lang="nl-BE" sz="26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a:p>
            <a:pPr marL="342900" marR="0" lvl="0" indent="-342900" algn="l" defTabSz="914400" rtl="0" eaLnBrk="1" fontAlgn="auto" latinLnBrk="0" hangingPunct="1">
              <a:lnSpc>
                <a:spcPts val="2000"/>
              </a:lnSpc>
              <a:spcBef>
                <a:spcPts val="0"/>
              </a:spcBef>
              <a:spcAft>
                <a:spcPts val="600"/>
              </a:spcAft>
              <a:buClrTx/>
              <a:buSzTx/>
              <a:buFont typeface="Arial" panose="020B0604020202020204" pitchFamily="34" charset="0"/>
              <a:buChar char="•"/>
              <a:tabLst/>
              <a:defRPr/>
            </a:pPr>
            <a:endParaRPr kumimoji="0" lang="nl-BE" sz="22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a:p>
            <a:pPr marL="342900" marR="0" lvl="0" indent="-342900" algn="l" defTabSz="914400" rtl="0" eaLnBrk="1" fontAlgn="auto" latinLnBrk="0" hangingPunct="1">
              <a:lnSpc>
                <a:spcPts val="2000"/>
              </a:lnSpc>
              <a:spcBef>
                <a:spcPts val="0"/>
              </a:spcBef>
              <a:spcAft>
                <a:spcPts val="600"/>
              </a:spcAft>
              <a:buClrTx/>
              <a:buSzTx/>
              <a:buFont typeface="Arial" panose="020B0604020202020204" pitchFamily="34" charset="0"/>
              <a:buChar char="•"/>
              <a:tabLst/>
              <a:defRPr/>
            </a:pPr>
            <a:endParaRPr kumimoji="0" lang="nl-BE" sz="22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a:p>
            <a:pPr marL="342900" marR="0" lvl="0" indent="-342900" algn="l" defTabSz="914400" rtl="0" eaLnBrk="1" fontAlgn="auto" latinLnBrk="0" hangingPunct="1">
              <a:lnSpc>
                <a:spcPts val="2000"/>
              </a:lnSpc>
              <a:spcBef>
                <a:spcPts val="0"/>
              </a:spcBef>
              <a:spcAft>
                <a:spcPts val="600"/>
              </a:spcAft>
              <a:buClrTx/>
              <a:buSzTx/>
              <a:buFont typeface="Arial" panose="020B0604020202020204" pitchFamily="34" charset="0"/>
              <a:buChar char="•"/>
              <a:tabLst/>
              <a:defRPr/>
            </a:pPr>
            <a:endParaRPr kumimoji="0" lang="nl-BE" sz="22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a:p>
            <a:pPr marL="342900" marR="0" lvl="0" indent="-342900" algn="l" defTabSz="914400" rtl="0" eaLnBrk="1" fontAlgn="auto" latinLnBrk="0" hangingPunct="1">
              <a:lnSpc>
                <a:spcPts val="2000"/>
              </a:lnSpc>
              <a:spcBef>
                <a:spcPts val="0"/>
              </a:spcBef>
              <a:spcAft>
                <a:spcPts val="600"/>
              </a:spcAft>
              <a:buClrTx/>
              <a:buSzTx/>
              <a:buFont typeface="Arial" panose="020B0604020202020204" pitchFamily="34" charset="0"/>
              <a:buChar char="•"/>
              <a:tabLst/>
              <a:defRPr/>
            </a:pPr>
            <a:endParaRPr kumimoji="0" lang="nl-BE" sz="22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pic>
        <p:nvPicPr>
          <p:cNvPr id="18" name="Picture 1">
            <a:extLst>
              <a:ext uri="{FF2B5EF4-FFF2-40B4-BE49-F238E27FC236}">
                <a16:creationId xmlns:a16="http://schemas.microsoft.com/office/drawing/2014/main" id="{F36CA96B-B361-46D0-8AA7-AD5079AFCEA5}"/>
              </a:ext>
            </a:extLst>
          </p:cNvPr>
          <p:cNvPicPr>
            <a:picLocks noChangeAspect="1"/>
          </p:cNvPicPr>
          <p:nvPr/>
        </p:nvPicPr>
        <p:blipFill>
          <a:blip r:embed="rId3"/>
          <a:srcRect/>
          <a:stretch>
            <a:fillRect/>
          </a:stretch>
        </p:blipFill>
        <p:spPr bwMode="auto">
          <a:xfrm>
            <a:off x="3502768" y="1911209"/>
            <a:ext cx="2796270" cy="4144326"/>
          </a:xfrm>
          <a:prstGeom prst="rect">
            <a:avLst/>
          </a:prstGeom>
          <a:ln>
            <a:noFill/>
          </a:ln>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Afbeelding 10">
            <a:extLst>
              <a:ext uri="{FF2B5EF4-FFF2-40B4-BE49-F238E27FC236}">
                <a16:creationId xmlns:a16="http://schemas.microsoft.com/office/drawing/2014/main" id="{2547112E-3AA8-4964-9F3C-C81533E667E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1241707" y="6052930"/>
            <a:ext cx="661508" cy="556592"/>
          </a:xfrm>
          <a:prstGeom prst="rect">
            <a:avLst/>
          </a:prstGeom>
        </p:spPr>
      </p:pic>
      <p:pic>
        <p:nvPicPr>
          <p:cNvPr id="10" name="Picture 2" descr="\\harpo\users\jelle.janssen\Desktop\f50c152c7848dac24210d3ad3ad22154_XL.jpg">
            <a:extLst>
              <a:ext uri="{FF2B5EF4-FFF2-40B4-BE49-F238E27FC236}">
                <a16:creationId xmlns:a16="http://schemas.microsoft.com/office/drawing/2014/main" id="{36D35B98-51BA-4B32-B35B-0AE66C17C18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9532" y="2164732"/>
            <a:ext cx="3107582" cy="3637280"/>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2" name="Titel 1">
            <a:extLst>
              <a:ext uri="{FF2B5EF4-FFF2-40B4-BE49-F238E27FC236}">
                <a16:creationId xmlns:a16="http://schemas.microsoft.com/office/drawing/2014/main" id="{C2C32922-3C2D-4564-BAE4-AD11171F556E}"/>
              </a:ext>
            </a:extLst>
          </p:cNvPr>
          <p:cNvSpPr txBox="1">
            <a:spLocks/>
          </p:cNvSpPr>
          <p:nvPr/>
        </p:nvSpPr>
        <p:spPr>
          <a:xfrm>
            <a:off x="660761" y="167947"/>
            <a:ext cx="8935183"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4000" dirty="0">
                <a:solidFill>
                  <a:srgbClr val="E6007E"/>
                </a:solidFill>
                <a:latin typeface="Amaranth" panose="02000503000000020004" pitchFamily="50" charset="0"/>
              </a:rPr>
              <a:t>Aansluiting Veilig leren lezen kim-versie </a:t>
            </a:r>
          </a:p>
        </p:txBody>
      </p:sp>
      <p:pic>
        <p:nvPicPr>
          <p:cNvPr id="13" name="Afbeelding 12">
            <a:extLst>
              <a:ext uri="{FF2B5EF4-FFF2-40B4-BE49-F238E27FC236}">
                <a16:creationId xmlns:a16="http://schemas.microsoft.com/office/drawing/2014/main" id="{89B77A70-3F4E-4EE0-9B39-52A5EEA86477}"/>
              </a:ext>
            </a:extLst>
          </p:cNvPr>
          <p:cNvPicPr>
            <a:picLocks noChangeAspect="1"/>
          </p:cNvPicPr>
          <p:nvPr/>
        </p:nvPicPr>
        <p:blipFill rotWithShape="1">
          <a:blip r:embed="rId6"/>
          <a:srcRect b="7269"/>
          <a:stretch/>
        </p:blipFill>
        <p:spPr>
          <a:xfrm>
            <a:off x="7072734" y="1095816"/>
            <a:ext cx="468026" cy="500550"/>
          </a:xfrm>
          <a:prstGeom prst="rect">
            <a:avLst/>
          </a:prstGeom>
        </p:spPr>
      </p:pic>
      <p:pic>
        <p:nvPicPr>
          <p:cNvPr id="14" name="Afbeelding 13">
            <a:extLst>
              <a:ext uri="{FF2B5EF4-FFF2-40B4-BE49-F238E27FC236}">
                <a16:creationId xmlns:a16="http://schemas.microsoft.com/office/drawing/2014/main" id="{D4FE24AC-9BE7-4835-A766-871883C723C5}"/>
              </a:ext>
            </a:extLst>
          </p:cNvPr>
          <p:cNvPicPr>
            <a:picLocks noChangeAspect="1"/>
          </p:cNvPicPr>
          <p:nvPr/>
        </p:nvPicPr>
        <p:blipFill rotWithShape="1">
          <a:blip r:embed="rId7"/>
          <a:srcRect b="3176"/>
          <a:stretch/>
        </p:blipFill>
        <p:spPr>
          <a:xfrm>
            <a:off x="7540760" y="1095816"/>
            <a:ext cx="469736" cy="495900"/>
          </a:xfrm>
          <a:prstGeom prst="rect">
            <a:avLst/>
          </a:prstGeom>
        </p:spPr>
      </p:pic>
    </p:spTree>
    <p:extLst>
      <p:ext uri="{BB962C8B-B14F-4D97-AF65-F5344CB8AC3E}">
        <p14:creationId xmlns:p14="http://schemas.microsoft.com/office/powerpoint/2010/main" val="19649740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Afbeelding 2">
            <a:extLst>
              <a:ext uri="{FF2B5EF4-FFF2-40B4-BE49-F238E27FC236}">
                <a16:creationId xmlns:a16="http://schemas.microsoft.com/office/drawing/2014/main" id="{D351EE96-4949-43AA-A5BE-0071B4A0EC6D}"/>
              </a:ext>
            </a:extLst>
          </p:cNvPr>
          <p:cNvPicPr>
            <a:picLocks noChangeAspect="1"/>
          </p:cNvPicPr>
          <p:nvPr/>
        </p:nvPicPr>
        <p:blipFill>
          <a:blip r:embed="rId3"/>
          <a:stretch>
            <a:fillRect/>
          </a:stretch>
        </p:blipFill>
        <p:spPr>
          <a:xfrm>
            <a:off x="0" y="1"/>
            <a:ext cx="8346208" cy="6858000"/>
          </a:xfrm>
          <a:prstGeom prst="rect">
            <a:avLst/>
          </a:prstGeom>
        </p:spPr>
      </p:pic>
      <p:sp>
        <p:nvSpPr>
          <p:cNvPr id="9" name="Freeform: Shape 11">
            <a:extLst>
              <a:ext uri="{FF2B5EF4-FFF2-40B4-BE49-F238E27FC236}">
                <a16:creationId xmlns:a16="http://schemas.microsoft.com/office/drawing/2014/main" id="{7BBFC964-AAC0-4433-B04B-81152ED26D2F}"/>
              </a:ext>
            </a:extLst>
          </p:cNvPr>
          <p:cNvSpPr/>
          <p:nvPr/>
        </p:nvSpPr>
        <p:spPr>
          <a:xfrm flipH="1">
            <a:off x="5151119" y="2508"/>
            <a:ext cx="7073442" cy="6873765"/>
          </a:xfrm>
          <a:custGeom>
            <a:avLst/>
            <a:gdLst>
              <a:gd name="connsiteX0" fmla="*/ 0 w 6768662"/>
              <a:gd name="connsiteY0" fmla="*/ 0 h 6873765"/>
              <a:gd name="connsiteX1" fmla="*/ 6001407 w 6768662"/>
              <a:gd name="connsiteY1" fmla="*/ 0 h 6873765"/>
              <a:gd name="connsiteX2" fmla="*/ 6768662 w 6768662"/>
              <a:gd name="connsiteY2" fmla="*/ 0 h 6873765"/>
              <a:gd name="connsiteX3" fmla="*/ 5570482 w 6768662"/>
              <a:gd name="connsiteY3" fmla="*/ 6873765 h 6873765"/>
              <a:gd name="connsiteX4" fmla="*/ 10510 w 6768662"/>
              <a:gd name="connsiteY4" fmla="*/ 6873765 h 6873765"/>
              <a:gd name="connsiteX5" fmla="*/ 10510 w 6768662"/>
              <a:gd name="connsiteY5" fmla="*/ 0 h 6873765"/>
              <a:gd name="connsiteX6" fmla="*/ 0 w 6768662"/>
              <a:gd name="connsiteY6" fmla="*/ 0 h 6873765"/>
              <a:gd name="connsiteX0" fmla="*/ 0 w 6768662"/>
              <a:gd name="connsiteY0" fmla="*/ 0 h 6873765"/>
              <a:gd name="connsiteX1" fmla="*/ 6001407 w 6768662"/>
              <a:gd name="connsiteY1" fmla="*/ 0 h 6873765"/>
              <a:gd name="connsiteX2" fmla="*/ 6768662 w 6768662"/>
              <a:gd name="connsiteY2" fmla="*/ 0 h 6873765"/>
              <a:gd name="connsiteX3" fmla="*/ 5202620 w 6768662"/>
              <a:gd name="connsiteY3" fmla="*/ 6863255 h 6873765"/>
              <a:gd name="connsiteX4" fmla="*/ 10510 w 6768662"/>
              <a:gd name="connsiteY4" fmla="*/ 6873765 h 6873765"/>
              <a:gd name="connsiteX5" fmla="*/ 10510 w 6768662"/>
              <a:gd name="connsiteY5" fmla="*/ 0 h 6873765"/>
              <a:gd name="connsiteX6" fmla="*/ 0 w 6768662"/>
              <a:gd name="connsiteY6" fmla="*/ 0 h 6873765"/>
              <a:gd name="connsiteX0" fmla="*/ 0 w 6768662"/>
              <a:gd name="connsiteY0" fmla="*/ 0 h 6873765"/>
              <a:gd name="connsiteX1" fmla="*/ 6001407 w 6768662"/>
              <a:gd name="connsiteY1" fmla="*/ 0 h 6873765"/>
              <a:gd name="connsiteX2" fmla="*/ 6768662 w 6768662"/>
              <a:gd name="connsiteY2" fmla="*/ 0 h 6873765"/>
              <a:gd name="connsiteX3" fmla="*/ 5160579 w 6768662"/>
              <a:gd name="connsiteY3" fmla="*/ 6873765 h 6873765"/>
              <a:gd name="connsiteX4" fmla="*/ 10510 w 6768662"/>
              <a:gd name="connsiteY4" fmla="*/ 6873765 h 6873765"/>
              <a:gd name="connsiteX5" fmla="*/ 10510 w 6768662"/>
              <a:gd name="connsiteY5" fmla="*/ 0 h 6873765"/>
              <a:gd name="connsiteX6" fmla="*/ 0 w 6768662"/>
              <a:gd name="connsiteY6" fmla="*/ 0 h 6873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8662" h="6873765">
                <a:moveTo>
                  <a:pt x="0" y="0"/>
                </a:moveTo>
                <a:lnTo>
                  <a:pt x="6001407" y="0"/>
                </a:lnTo>
                <a:lnTo>
                  <a:pt x="6768662" y="0"/>
                </a:lnTo>
                <a:lnTo>
                  <a:pt x="5160579" y="6873765"/>
                </a:lnTo>
                <a:lnTo>
                  <a:pt x="10510" y="6873765"/>
                </a:lnTo>
                <a:lnTo>
                  <a:pt x="10510" y="0"/>
                </a:lnTo>
                <a:lnTo>
                  <a:pt x="0" y="0"/>
                </a:lnTo>
                <a:close/>
              </a:path>
            </a:pathLst>
          </a:custGeom>
          <a:solidFill>
            <a:srgbClr val="5C24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p>
        </p:txBody>
      </p:sp>
      <p:pic>
        <p:nvPicPr>
          <p:cNvPr id="13" name="Afbeelding 12" descr="Lijnpijl: curve rechtsom">
            <a:extLst>
              <a:ext uri="{FF2B5EF4-FFF2-40B4-BE49-F238E27FC236}">
                <a16:creationId xmlns:a16="http://schemas.microsoft.com/office/drawing/2014/main" id="{ED6860F2-F180-4F43-A866-9B24EE65116F}"/>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9703499">
            <a:off x="10683027" y="4391824"/>
            <a:ext cx="383177" cy="383177"/>
          </a:xfrm>
          <a:prstGeom prst="rect">
            <a:avLst/>
          </a:prstGeom>
        </p:spPr>
      </p:pic>
      <p:sp>
        <p:nvSpPr>
          <p:cNvPr id="24" name="TextBox 11">
            <a:extLst>
              <a:ext uri="{FF2B5EF4-FFF2-40B4-BE49-F238E27FC236}">
                <a16:creationId xmlns:a16="http://schemas.microsoft.com/office/drawing/2014/main" id="{84E48EE6-4796-4797-BE91-9A0FB307C204}"/>
              </a:ext>
            </a:extLst>
          </p:cNvPr>
          <p:cNvSpPr txBox="1"/>
          <p:nvPr/>
        </p:nvSpPr>
        <p:spPr>
          <a:xfrm>
            <a:off x="6075423" y="896887"/>
            <a:ext cx="5516929" cy="646331"/>
          </a:xfrm>
          <a:prstGeom prst="rect">
            <a:avLst/>
          </a:prstGeom>
          <a:noFill/>
        </p:spPr>
        <p:txBody>
          <a:bodyPr wrap="square" rtlCol="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tab pos="1971675" algn="l"/>
              </a:tabLst>
              <a:defRPr/>
            </a:pPr>
            <a:r>
              <a:rPr lang="nl-BE" sz="4000" dirty="0">
                <a:solidFill>
                  <a:prstClr val="white"/>
                </a:solidFill>
                <a:latin typeface="Amaranth" panose="02000503000000020004" pitchFamily="50" charset="0"/>
                <a:cs typeface="Arial" panose="020B0604020202020204" pitchFamily="34" charset="0"/>
              </a:rPr>
              <a:t>Kerndoeldekkend door</a:t>
            </a:r>
            <a:endParaRPr kumimoji="0" lang="nl-BE" sz="4000" b="0" i="0" u="none" strike="noStrike" kern="1200" cap="none" spc="0" normalizeH="0" baseline="0" noProof="0" dirty="0">
              <a:ln>
                <a:noFill/>
              </a:ln>
              <a:solidFill>
                <a:prstClr val="white"/>
              </a:solidFill>
              <a:effectLst/>
              <a:uLnTx/>
              <a:uFillTx/>
              <a:latin typeface="Amaranth" panose="02000503000000020004" pitchFamily="50" charset="0"/>
              <a:cs typeface="Arial" panose="020B0604020202020204" pitchFamily="34" charset="0"/>
            </a:endParaRPr>
          </a:p>
        </p:txBody>
      </p:sp>
      <p:sp>
        <p:nvSpPr>
          <p:cNvPr id="25" name="Rechthoek 12">
            <a:extLst>
              <a:ext uri="{FF2B5EF4-FFF2-40B4-BE49-F238E27FC236}">
                <a16:creationId xmlns:a16="http://schemas.microsoft.com/office/drawing/2014/main" id="{DFE86F4E-1E18-477F-BC24-44E5E5218B57}"/>
              </a:ext>
            </a:extLst>
          </p:cNvPr>
          <p:cNvSpPr/>
          <p:nvPr/>
        </p:nvSpPr>
        <p:spPr>
          <a:xfrm>
            <a:off x="6075423" y="1570048"/>
            <a:ext cx="6755732" cy="3949799"/>
          </a:xfrm>
          <a:prstGeom prst="rect">
            <a:avLst/>
          </a:prstGeom>
        </p:spPr>
        <p:txBody>
          <a:bodyPr wrap="square" lIns="0" tIns="0" rIns="0" bIns="0">
            <a:spAutoFit/>
          </a:bodyPr>
          <a:lstStyle/>
          <a:p>
            <a:pPr lvl="2">
              <a:lnSpc>
                <a:spcPts val="2000"/>
              </a:lnSpc>
              <a:spcAft>
                <a:spcPts val="1200"/>
              </a:spcAft>
            </a:pPr>
            <a:endParaRPr lang="nl-BE" sz="2200" dirty="0">
              <a:solidFill>
                <a:schemeClr val="bg1"/>
              </a:solidFill>
              <a:cs typeface="Arial" panose="020B0604020202020204" pitchFamily="34" charset="0"/>
            </a:endParaRPr>
          </a:p>
          <a:p>
            <a:pPr marL="1371600" lvl="2" indent="-457200">
              <a:lnSpc>
                <a:spcPts val="2000"/>
              </a:lnSpc>
              <a:spcAft>
                <a:spcPts val="1200"/>
              </a:spcAft>
              <a:buFont typeface="Arial" panose="020B0604020202020204" pitchFamily="34" charset="0"/>
              <a:buChar char="•"/>
            </a:pPr>
            <a:r>
              <a:rPr lang="nl-BE" sz="2200" dirty="0">
                <a:solidFill>
                  <a:schemeClr val="bg1"/>
                </a:solidFill>
                <a:cs typeface="Arial" panose="020B0604020202020204" pitchFamily="34" charset="0"/>
              </a:rPr>
              <a:t>Taal </a:t>
            </a:r>
          </a:p>
          <a:p>
            <a:pPr marL="1371600" lvl="2" indent="-457200">
              <a:lnSpc>
                <a:spcPts val="2000"/>
              </a:lnSpc>
              <a:spcAft>
                <a:spcPts val="1200"/>
              </a:spcAft>
              <a:buFont typeface="Arial" panose="020B0604020202020204" pitchFamily="34" charset="0"/>
              <a:buChar char="•"/>
            </a:pPr>
            <a:r>
              <a:rPr lang="nl-BE" sz="2200" dirty="0">
                <a:solidFill>
                  <a:schemeClr val="bg1"/>
                </a:solidFill>
                <a:cs typeface="Arial" panose="020B0604020202020204" pitchFamily="34" charset="0"/>
              </a:rPr>
              <a:t>Rekenen</a:t>
            </a:r>
          </a:p>
          <a:p>
            <a:pPr marL="1371600" lvl="2" indent="-457200">
              <a:lnSpc>
                <a:spcPts val="2000"/>
              </a:lnSpc>
              <a:spcAft>
                <a:spcPts val="1200"/>
              </a:spcAft>
              <a:buFont typeface="Arial" panose="020B0604020202020204" pitchFamily="34" charset="0"/>
              <a:buChar char="•"/>
            </a:pPr>
            <a:r>
              <a:rPr lang="nl-BE" sz="2200" dirty="0">
                <a:solidFill>
                  <a:schemeClr val="bg1"/>
                </a:solidFill>
                <a:cs typeface="Arial" panose="020B0604020202020204" pitchFamily="34" charset="0"/>
              </a:rPr>
              <a:t>Sociaal-emotionele ontwikkeling</a:t>
            </a:r>
          </a:p>
          <a:p>
            <a:pPr marL="1371600" lvl="2" indent="-457200">
              <a:lnSpc>
                <a:spcPts val="2000"/>
              </a:lnSpc>
              <a:spcAft>
                <a:spcPts val="1200"/>
              </a:spcAft>
              <a:buFont typeface="Arial" panose="020B0604020202020204" pitchFamily="34" charset="0"/>
              <a:buChar char="•"/>
            </a:pPr>
            <a:r>
              <a:rPr lang="nl-BE" sz="2200" dirty="0">
                <a:solidFill>
                  <a:schemeClr val="bg1"/>
                </a:solidFill>
                <a:cs typeface="Arial" panose="020B0604020202020204" pitchFamily="34" charset="0"/>
              </a:rPr>
              <a:t>Motoriek </a:t>
            </a:r>
          </a:p>
          <a:p>
            <a:pPr marL="1371600" lvl="2" indent="-457200">
              <a:lnSpc>
                <a:spcPts val="2000"/>
              </a:lnSpc>
              <a:spcAft>
                <a:spcPts val="1200"/>
              </a:spcAft>
              <a:buFont typeface="Arial" panose="020B0604020202020204" pitchFamily="34" charset="0"/>
              <a:buChar char="•"/>
            </a:pPr>
            <a:r>
              <a:rPr lang="nl-BE" sz="2200" dirty="0">
                <a:solidFill>
                  <a:schemeClr val="bg1"/>
                </a:solidFill>
                <a:cs typeface="Arial" panose="020B0604020202020204" pitchFamily="34" charset="0"/>
              </a:rPr>
              <a:t>Kunstzinnige vorming </a:t>
            </a:r>
          </a:p>
          <a:p>
            <a:pPr marL="1371600" lvl="2" indent="-457200">
              <a:lnSpc>
                <a:spcPts val="2000"/>
              </a:lnSpc>
              <a:spcAft>
                <a:spcPts val="1200"/>
              </a:spcAft>
              <a:buFont typeface="Arial" panose="020B0604020202020204" pitchFamily="34" charset="0"/>
              <a:buChar char="•"/>
            </a:pPr>
            <a:r>
              <a:rPr lang="nl-BE" sz="2200" dirty="0">
                <a:solidFill>
                  <a:schemeClr val="bg1"/>
                </a:solidFill>
                <a:cs typeface="Arial" panose="020B0604020202020204" pitchFamily="34" charset="0"/>
              </a:rPr>
              <a:t>Wereldoriëntatie</a:t>
            </a:r>
          </a:p>
          <a:p>
            <a:pPr marL="1371600" lvl="2" indent="-457200">
              <a:lnSpc>
                <a:spcPts val="2000"/>
              </a:lnSpc>
              <a:spcAft>
                <a:spcPts val="1200"/>
              </a:spcAft>
              <a:buFont typeface="Arial" panose="020B0604020202020204" pitchFamily="34" charset="0"/>
              <a:buChar char="•"/>
            </a:pPr>
            <a:r>
              <a:rPr lang="nl-BE" sz="2200" dirty="0">
                <a:solidFill>
                  <a:schemeClr val="bg1"/>
                </a:solidFill>
                <a:cs typeface="Arial" panose="020B0604020202020204" pitchFamily="34" charset="0"/>
              </a:rPr>
              <a:t>Wetenschap &amp; Technologie  </a:t>
            </a:r>
          </a:p>
          <a:p>
            <a:pPr lvl="2">
              <a:lnSpc>
                <a:spcPts val="2000"/>
              </a:lnSpc>
              <a:spcAft>
                <a:spcPts val="1200"/>
              </a:spcAft>
            </a:pPr>
            <a:r>
              <a:rPr lang="nl-BE" sz="2200" dirty="0">
                <a:solidFill>
                  <a:schemeClr val="bg1"/>
                </a:solidFill>
                <a:cs typeface="Arial" panose="020B0604020202020204" pitchFamily="34" charset="0"/>
              </a:rPr>
              <a:t>                      	            Verplicht vanaf 2020</a:t>
            </a:r>
          </a:p>
          <a:p>
            <a:pPr>
              <a:lnSpc>
                <a:spcPts val="2000"/>
              </a:lnSpc>
              <a:spcAft>
                <a:spcPts val="1200"/>
              </a:spcAft>
            </a:pPr>
            <a:endParaRPr lang="nl-BE" sz="2200" dirty="0">
              <a:solidFill>
                <a:schemeClr val="bg1"/>
              </a:solidFill>
              <a:latin typeface="Arial" panose="020B0604020202020204" pitchFamily="34" charset="0"/>
              <a:cs typeface="Arial" panose="020B0604020202020204" pitchFamily="34" charset="0"/>
            </a:endParaRPr>
          </a:p>
        </p:txBody>
      </p:sp>
      <p:pic>
        <p:nvPicPr>
          <p:cNvPr id="14" name="Afbeelding 13">
            <a:extLst>
              <a:ext uri="{FF2B5EF4-FFF2-40B4-BE49-F238E27FC236}">
                <a16:creationId xmlns:a16="http://schemas.microsoft.com/office/drawing/2014/main" id="{627DEE06-729B-4EF3-8DA3-395140A89D4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61031" y="2357583"/>
            <a:ext cx="359859" cy="362411"/>
          </a:xfrm>
          <a:prstGeom prst="rect">
            <a:avLst/>
          </a:prstGeom>
        </p:spPr>
      </p:pic>
      <p:pic>
        <p:nvPicPr>
          <p:cNvPr id="15" name="Afbeelding 14">
            <a:extLst>
              <a:ext uri="{FF2B5EF4-FFF2-40B4-BE49-F238E27FC236}">
                <a16:creationId xmlns:a16="http://schemas.microsoft.com/office/drawing/2014/main" id="{0B148A1E-E1F5-4C83-B238-FA951987561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862151" y="1912653"/>
            <a:ext cx="362411" cy="364963"/>
          </a:xfrm>
          <a:prstGeom prst="rect">
            <a:avLst/>
          </a:prstGeom>
        </p:spPr>
      </p:pic>
      <p:pic>
        <p:nvPicPr>
          <p:cNvPr id="16" name="Afbeelding 15">
            <a:extLst>
              <a:ext uri="{FF2B5EF4-FFF2-40B4-BE49-F238E27FC236}">
                <a16:creationId xmlns:a16="http://schemas.microsoft.com/office/drawing/2014/main" id="{C11B0B4F-1CD7-4CC6-9ADE-00B366C9865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857399" y="2776974"/>
            <a:ext cx="362411" cy="362411"/>
          </a:xfrm>
          <a:prstGeom prst="rect">
            <a:avLst/>
          </a:prstGeom>
        </p:spPr>
      </p:pic>
      <p:pic>
        <p:nvPicPr>
          <p:cNvPr id="17" name="Afbeelding 16">
            <a:extLst>
              <a:ext uri="{FF2B5EF4-FFF2-40B4-BE49-F238E27FC236}">
                <a16:creationId xmlns:a16="http://schemas.microsoft.com/office/drawing/2014/main" id="{B0576F63-8BD4-42D2-80DC-8565DDD852E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868258" y="3182537"/>
            <a:ext cx="362411" cy="362411"/>
          </a:xfrm>
          <a:prstGeom prst="rect">
            <a:avLst/>
          </a:prstGeom>
        </p:spPr>
      </p:pic>
      <p:pic>
        <p:nvPicPr>
          <p:cNvPr id="18" name="Afbeelding 17">
            <a:extLst>
              <a:ext uri="{FF2B5EF4-FFF2-40B4-BE49-F238E27FC236}">
                <a16:creationId xmlns:a16="http://schemas.microsoft.com/office/drawing/2014/main" id="{8924B724-0E1A-469F-B723-EE2F7F576845}"/>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868259" y="3588529"/>
            <a:ext cx="362411" cy="364963"/>
          </a:xfrm>
          <a:prstGeom prst="rect">
            <a:avLst/>
          </a:prstGeom>
        </p:spPr>
      </p:pic>
      <p:pic>
        <p:nvPicPr>
          <p:cNvPr id="19" name="Afbeelding 18">
            <a:extLst>
              <a:ext uri="{FF2B5EF4-FFF2-40B4-BE49-F238E27FC236}">
                <a16:creationId xmlns:a16="http://schemas.microsoft.com/office/drawing/2014/main" id="{D6888FEF-E262-49F9-8C53-E7893E48F04F}"/>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857399" y="3973874"/>
            <a:ext cx="362411" cy="364963"/>
          </a:xfrm>
          <a:prstGeom prst="rect">
            <a:avLst/>
          </a:prstGeom>
        </p:spPr>
      </p:pic>
      <p:pic>
        <p:nvPicPr>
          <p:cNvPr id="20" name="Afbeelding 19">
            <a:extLst>
              <a:ext uri="{FF2B5EF4-FFF2-40B4-BE49-F238E27FC236}">
                <a16:creationId xmlns:a16="http://schemas.microsoft.com/office/drawing/2014/main" id="{20FB1BB2-361E-4DFB-9333-3755E7C5AA02}"/>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868258" y="4402207"/>
            <a:ext cx="362411" cy="362411"/>
          </a:xfrm>
          <a:prstGeom prst="rect">
            <a:avLst/>
          </a:prstGeom>
        </p:spPr>
      </p:pic>
      <p:pic>
        <p:nvPicPr>
          <p:cNvPr id="21" name="Afbeelding 20">
            <a:extLst>
              <a:ext uri="{FF2B5EF4-FFF2-40B4-BE49-F238E27FC236}">
                <a16:creationId xmlns:a16="http://schemas.microsoft.com/office/drawing/2014/main" id="{E9ABE26C-6105-4515-AAAA-E73B2838C64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1294831" y="6164016"/>
            <a:ext cx="724228" cy="563044"/>
          </a:xfrm>
          <a:prstGeom prst="rect">
            <a:avLst/>
          </a:prstGeom>
        </p:spPr>
      </p:pic>
      <p:pic>
        <p:nvPicPr>
          <p:cNvPr id="5" name="Afbeelding 4">
            <a:extLst>
              <a:ext uri="{FF2B5EF4-FFF2-40B4-BE49-F238E27FC236}">
                <a16:creationId xmlns:a16="http://schemas.microsoft.com/office/drawing/2014/main" id="{38A333D9-0821-4FC6-A215-8D00D2A970E8}"/>
              </a:ext>
            </a:extLst>
          </p:cNvPr>
          <p:cNvPicPr>
            <a:picLocks noChangeAspect="1"/>
          </p:cNvPicPr>
          <p:nvPr/>
        </p:nvPicPr>
        <p:blipFill>
          <a:blip r:embed="rId15"/>
          <a:stretch>
            <a:fillRect/>
          </a:stretch>
        </p:blipFill>
        <p:spPr>
          <a:xfrm>
            <a:off x="7107642" y="6283834"/>
            <a:ext cx="1726246" cy="443226"/>
          </a:xfrm>
          <a:prstGeom prst="rect">
            <a:avLst/>
          </a:prstGeom>
        </p:spPr>
      </p:pic>
      <p:sp>
        <p:nvSpPr>
          <p:cNvPr id="27" name="Freeform 41">
            <a:extLst>
              <a:ext uri="{FF2B5EF4-FFF2-40B4-BE49-F238E27FC236}">
                <a16:creationId xmlns:a16="http://schemas.microsoft.com/office/drawing/2014/main" id="{7E25D734-5648-460B-8904-22767465B64E}"/>
              </a:ext>
            </a:extLst>
          </p:cNvPr>
          <p:cNvSpPr/>
          <p:nvPr/>
        </p:nvSpPr>
        <p:spPr>
          <a:xfrm rot="584602">
            <a:off x="-6257" y="-32076"/>
            <a:ext cx="3141797" cy="1020274"/>
          </a:xfrm>
          <a:custGeom>
            <a:avLst/>
            <a:gdLst>
              <a:gd name="connsiteX0" fmla="*/ 45720 w 1267097"/>
              <a:gd name="connsiteY0" fmla="*/ 378823 h 378823"/>
              <a:gd name="connsiteX1" fmla="*/ 1267097 w 1267097"/>
              <a:gd name="connsiteY1" fmla="*/ 182880 h 378823"/>
              <a:gd name="connsiteX2" fmla="*/ 1267097 w 1267097"/>
              <a:gd name="connsiteY2" fmla="*/ 0 h 378823"/>
              <a:gd name="connsiteX3" fmla="*/ 0 w 1267097"/>
              <a:gd name="connsiteY3" fmla="*/ 189412 h 378823"/>
              <a:gd name="connsiteX4" fmla="*/ 45720 w 1267097"/>
              <a:gd name="connsiteY4" fmla="*/ 378823 h 378823"/>
              <a:gd name="connsiteX0" fmla="*/ 71845 w 1293222"/>
              <a:gd name="connsiteY0" fmla="*/ 378823 h 378823"/>
              <a:gd name="connsiteX1" fmla="*/ 1293222 w 1293222"/>
              <a:gd name="connsiteY1" fmla="*/ 182880 h 378823"/>
              <a:gd name="connsiteX2" fmla="*/ 1293222 w 1293222"/>
              <a:gd name="connsiteY2" fmla="*/ 0 h 378823"/>
              <a:gd name="connsiteX3" fmla="*/ 0 w 1293222"/>
              <a:gd name="connsiteY3" fmla="*/ 130629 h 378823"/>
              <a:gd name="connsiteX4" fmla="*/ 71845 w 1293222"/>
              <a:gd name="connsiteY4" fmla="*/ 378823 h 378823"/>
              <a:gd name="connsiteX0" fmla="*/ 65313 w 1293222"/>
              <a:gd name="connsiteY0" fmla="*/ 398417 h 398417"/>
              <a:gd name="connsiteX1" fmla="*/ 1293222 w 1293222"/>
              <a:gd name="connsiteY1" fmla="*/ 182880 h 398417"/>
              <a:gd name="connsiteX2" fmla="*/ 1293222 w 1293222"/>
              <a:gd name="connsiteY2" fmla="*/ 0 h 398417"/>
              <a:gd name="connsiteX3" fmla="*/ 0 w 1293222"/>
              <a:gd name="connsiteY3" fmla="*/ 130629 h 398417"/>
              <a:gd name="connsiteX4" fmla="*/ 65313 w 1293222"/>
              <a:gd name="connsiteY4" fmla="*/ 398417 h 398417"/>
              <a:gd name="connsiteX0" fmla="*/ 104663 w 1332572"/>
              <a:gd name="connsiteY0" fmla="*/ 488407 h 488407"/>
              <a:gd name="connsiteX1" fmla="*/ 1332572 w 1332572"/>
              <a:gd name="connsiteY1" fmla="*/ 272870 h 488407"/>
              <a:gd name="connsiteX2" fmla="*/ 1332572 w 1332572"/>
              <a:gd name="connsiteY2" fmla="*/ 89990 h 488407"/>
              <a:gd name="connsiteX3" fmla="*/ 0 w 1332572"/>
              <a:gd name="connsiteY3" fmla="*/ 0 h 488407"/>
              <a:gd name="connsiteX4" fmla="*/ 104663 w 1332572"/>
              <a:gd name="connsiteY4" fmla="*/ 488407 h 488407"/>
              <a:gd name="connsiteX0" fmla="*/ 58754 w 1286663"/>
              <a:gd name="connsiteY0" fmla="*/ 488407 h 488407"/>
              <a:gd name="connsiteX1" fmla="*/ 1286663 w 1286663"/>
              <a:gd name="connsiteY1" fmla="*/ 272870 h 488407"/>
              <a:gd name="connsiteX2" fmla="*/ 1286663 w 1286663"/>
              <a:gd name="connsiteY2" fmla="*/ 89990 h 488407"/>
              <a:gd name="connsiteX3" fmla="*/ 0 w 1286663"/>
              <a:gd name="connsiteY3" fmla="*/ 0 h 488407"/>
              <a:gd name="connsiteX4" fmla="*/ 58754 w 1286663"/>
              <a:gd name="connsiteY4" fmla="*/ 488407 h 488407"/>
              <a:gd name="connsiteX0" fmla="*/ 58754 w 1293221"/>
              <a:gd name="connsiteY0" fmla="*/ 574912 h 574912"/>
              <a:gd name="connsiteX1" fmla="*/ 1286663 w 1293221"/>
              <a:gd name="connsiteY1" fmla="*/ 359375 h 574912"/>
              <a:gd name="connsiteX2" fmla="*/ 1293221 w 1293221"/>
              <a:gd name="connsiteY2" fmla="*/ 0 h 574912"/>
              <a:gd name="connsiteX3" fmla="*/ 0 w 1293221"/>
              <a:gd name="connsiteY3" fmla="*/ 86505 h 574912"/>
              <a:gd name="connsiteX4" fmla="*/ 58754 w 1293221"/>
              <a:gd name="connsiteY4" fmla="*/ 574912 h 574912"/>
              <a:gd name="connsiteX0" fmla="*/ 58754 w 1470298"/>
              <a:gd name="connsiteY0" fmla="*/ 574912 h 574912"/>
              <a:gd name="connsiteX1" fmla="*/ 1470298 w 1470298"/>
              <a:gd name="connsiteY1" fmla="*/ 561083 h 574912"/>
              <a:gd name="connsiteX2" fmla="*/ 1293221 w 1470298"/>
              <a:gd name="connsiteY2" fmla="*/ 0 h 574912"/>
              <a:gd name="connsiteX3" fmla="*/ 0 w 1470298"/>
              <a:gd name="connsiteY3" fmla="*/ 86505 h 574912"/>
              <a:gd name="connsiteX4" fmla="*/ 58754 w 1470298"/>
              <a:gd name="connsiteY4" fmla="*/ 574912 h 574912"/>
              <a:gd name="connsiteX0" fmla="*/ 65313 w 1470298"/>
              <a:gd name="connsiteY0" fmla="*/ 795531 h 795531"/>
              <a:gd name="connsiteX1" fmla="*/ 1470298 w 1470298"/>
              <a:gd name="connsiteY1" fmla="*/ 561083 h 795531"/>
              <a:gd name="connsiteX2" fmla="*/ 1293221 w 1470298"/>
              <a:gd name="connsiteY2" fmla="*/ 0 h 795531"/>
              <a:gd name="connsiteX3" fmla="*/ 0 w 1470298"/>
              <a:gd name="connsiteY3" fmla="*/ 86505 h 795531"/>
              <a:gd name="connsiteX4" fmla="*/ 65313 w 1470298"/>
              <a:gd name="connsiteY4" fmla="*/ 795531 h 795531"/>
              <a:gd name="connsiteX0" fmla="*/ 65313 w 1844126"/>
              <a:gd name="connsiteY0" fmla="*/ 795531 h 795531"/>
              <a:gd name="connsiteX1" fmla="*/ 1844126 w 1844126"/>
              <a:gd name="connsiteY1" fmla="*/ 504352 h 795531"/>
              <a:gd name="connsiteX2" fmla="*/ 1293221 w 1844126"/>
              <a:gd name="connsiteY2" fmla="*/ 0 h 795531"/>
              <a:gd name="connsiteX3" fmla="*/ 0 w 1844126"/>
              <a:gd name="connsiteY3" fmla="*/ 86505 h 795531"/>
              <a:gd name="connsiteX4" fmla="*/ 65313 w 1844126"/>
              <a:gd name="connsiteY4" fmla="*/ 795531 h 795531"/>
              <a:gd name="connsiteX0" fmla="*/ 65313 w 1844126"/>
              <a:gd name="connsiteY0" fmla="*/ 845958 h 845958"/>
              <a:gd name="connsiteX1" fmla="*/ 1844126 w 1844126"/>
              <a:gd name="connsiteY1" fmla="*/ 554779 h 845958"/>
              <a:gd name="connsiteX2" fmla="*/ 1621141 w 1844126"/>
              <a:gd name="connsiteY2" fmla="*/ 0 h 845958"/>
              <a:gd name="connsiteX3" fmla="*/ 0 w 1844126"/>
              <a:gd name="connsiteY3" fmla="*/ 136932 h 845958"/>
              <a:gd name="connsiteX4" fmla="*/ 65313 w 1844126"/>
              <a:gd name="connsiteY4" fmla="*/ 845958 h 845958"/>
              <a:gd name="connsiteX0" fmla="*/ 65313 w 1844126"/>
              <a:gd name="connsiteY0" fmla="*/ 864868 h 864868"/>
              <a:gd name="connsiteX1" fmla="*/ 1844126 w 1844126"/>
              <a:gd name="connsiteY1" fmla="*/ 573689 h 864868"/>
              <a:gd name="connsiteX2" fmla="*/ 1621141 w 1844126"/>
              <a:gd name="connsiteY2" fmla="*/ 0 h 864868"/>
              <a:gd name="connsiteX3" fmla="*/ 0 w 1844126"/>
              <a:gd name="connsiteY3" fmla="*/ 155842 h 864868"/>
              <a:gd name="connsiteX4" fmla="*/ 65313 w 1844126"/>
              <a:gd name="connsiteY4" fmla="*/ 864868 h 864868"/>
              <a:gd name="connsiteX0" fmla="*/ 65313 w 1686724"/>
              <a:gd name="connsiteY0" fmla="*/ 864868 h 864868"/>
              <a:gd name="connsiteX1" fmla="*/ 1686724 w 1686724"/>
              <a:gd name="connsiteY1" fmla="*/ 561082 h 864868"/>
              <a:gd name="connsiteX2" fmla="*/ 1621141 w 1686724"/>
              <a:gd name="connsiteY2" fmla="*/ 0 h 864868"/>
              <a:gd name="connsiteX3" fmla="*/ 0 w 1686724"/>
              <a:gd name="connsiteY3" fmla="*/ 155842 h 864868"/>
              <a:gd name="connsiteX4" fmla="*/ 65313 w 1686724"/>
              <a:gd name="connsiteY4" fmla="*/ 864868 h 864868"/>
              <a:gd name="connsiteX0" fmla="*/ 39079 w 1660490"/>
              <a:gd name="connsiteY0" fmla="*/ 864868 h 864868"/>
              <a:gd name="connsiteX1" fmla="*/ 1660490 w 1660490"/>
              <a:gd name="connsiteY1" fmla="*/ 561082 h 864868"/>
              <a:gd name="connsiteX2" fmla="*/ 1594907 w 1660490"/>
              <a:gd name="connsiteY2" fmla="*/ 0 h 864868"/>
              <a:gd name="connsiteX3" fmla="*/ 0 w 1660490"/>
              <a:gd name="connsiteY3" fmla="*/ 351248 h 864868"/>
              <a:gd name="connsiteX4" fmla="*/ 39079 w 1660490"/>
              <a:gd name="connsiteY4" fmla="*/ 864868 h 864868"/>
              <a:gd name="connsiteX0" fmla="*/ 39079 w 1857243"/>
              <a:gd name="connsiteY0" fmla="*/ 719889 h 719889"/>
              <a:gd name="connsiteX1" fmla="*/ 1660490 w 1857243"/>
              <a:gd name="connsiteY1" fmla="*/ 416103 h 719889"/>
              <a:gd name="connsiteX2" fmla="*/ 1857243 w 1857243"/>
              <a:gd name="connsiteY2" fmla="*/ 0 h 719889"/>
              <a:gd name="connsiteX3" fmla="*/ 0 w 1857243"/>
              <a:gd name="connsiteY3" fmla="*/ 206269 h 719889"/>
              <a:gd name="connsiteX4" fmla="*/ 39079 w 1857243"/>
              <a:gd name="connsiteY4" fmla="*/ 719889 h 719889"/>
              <a:gd name="connsiteX0" fmla="*/ 39079 w 1909709"/>
              <a:gd name="connsiteY0" fmla="*/ 719889 h 719889"/>
              <a:gd name="connsiteX1" fmla="*/ 1909709 w 1909709"/>
              <a:gd name="connsiteY1" fmla="*/ 208090 h 719889"/>
              <a:gd name="connsiteX2" fmla="*/ 1857243 w 1909709"/>
              <a:gd name="connsiteY2" fmla="*/ 0 h 719889"/>
              <a:gd name="connsiteX3" fmla="*/ 0 w 1909709"/>
              <a:gd name="connsiteY3" fmla="*/ 206269 h 719889"/>
              <a:gd name="connsiteX4" fmla="*/ 39079 w 1909709"/>
              <a:gd name="connsiteY4" fmla="*/ 719889 h 719889"/>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206269 h 511876"/>
              <a:gd name="connsiteX4" fmla="*/ 39079 w 1909709"/>
              <a:gd name="connsiteY4" fmla="*/ 511876 h 511876"/>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121173 h 511876"/>
              <a:gd name="connsiteX4" fmla="*/ 39079 w 1909709"/>
              <a:gd name="connsiteY4" fmla="*/ 511876 h 511876"/>
              <a:gd name="connsiteX0" fmla="*/ 39079 w 1857243"/>
              <a:gd name="connsiteY0" fmla="*/ 511876 h 511876"/>
              <a:gd name="connsiteX1" fmla="*/ 1748372 w 1857243"/>
              <a:gd name="connsiteY1" fmla="*/ 309201 h 511876"/>
              <a:gd name="connsiteX2" fmla="*/ 1857243 w 1857243"/>
              <a:gd name="connsiteY2" fmla="*/ 0 h 511876"/>
              <a:gd name="connsiteX3" fmla="*/ 0 w 1857243"/>
              <a:gd name="connsiteY3" fmla="*/ 121173 h 511876"/>
              <a:gd name="connsiteX4" fmla="*/ 39079 w 1857243"/>
              <a:gd name="connsiteY4" fmla="*/ 511876 h 511876"/>
              <a:gd name="connsiteX0" fmla="*/ 39079 w 1748372"/>
              <a:gd name="connsiteY0" fmla="*/ 499237 h 499237"/>
              <a:gd name="connsiteX1" fmla="*/ 1748372 w 1748372"/>
              <a:gd name="connsiteY1" fmla="*/ 296562 h 499237"/>
              <a:gd name="connsiteX2" fmla="*/ 1723965 w 1748372"/>
              <a:gd name="connsiteY2" fmla="*/ 0 h 499237"/>
              <a:gd name="connsiteX3" fmla="*/ 0 w 1748372"/>
              <a:gd name="connsiteY3" fmla="*/ 108534 h 499237"/>
              <a:gd name="connsiteX4" fmla="*/ 39079 w 1748372"/>
              <a:gd name="connsiteY4" fmla="*/ 499237 h 499237"/>
              <a:gd name="connsiteX0" fmla="*/ 95196 w 1748372"/>
              <a:gd name="connsiteY0" fmla="*/ 451841 h 451841"/>
              <a:gd name="connsiteX1" fmla="*/ 1748372 w 1748372"/>
              <a:gd name="connsiteY1" fmla="*/ 296562 h 451841"/>
              <a:gd name="connsiteX2" fmla="*/ 1723965 w 1748372"/>
              <a:gd name="connsiteY2" fmla="*/ 0 h 451841"/>
              <a:gd name="connsiteX3" fmla="*/ 0 w 1748372"/>
              <a:gd name="connsiteY3" fmla="*/ 108534 h 451841"/>
              <a:gd name="connsiteX4" fmla="*/ 95196 w 1748372"/>
              <a:gd name="connsiteY4" fmla="*/ 451841 h 451841"/>
              <a:gd name="connsiteX0" fmla="*/ 95196 w 1723965"/>
              <a:gd name="connsiteY0" fmla="*/ 451841 h 451841"/>
              <a:gd name="connsiteX1" fmla="*/ 1713299 w 1723965"/>
              <a:gd name="connsiteY1" fmla="*/ 315520 h 451841"/>
              <a:gd name="connsiteX2" fmla="*/ 1723965 w 1723965"/>
              <a:gd name="connsiteY2" fmla="*/ 0 h 451841"/>
              <a:gd name="connsiteX3" fmla="*/ 0 w 1723965"/>
              <a:gd name="connsiteY3" fmla="*/ 108534 h 451841"/>
              <a:gd name="connsiteX4" fmla="*/ 95196 w 1723965"/>
              <a:gd name="connsiteY4" fmla="*/ 451841 h 451841"/>
              <a:gd name="connsiteX0" fmla="*/ 95196 w 1713299"/>
              <a:gd name="connsiteY0" fmla="*/ 455001 h 455001"/>
              <a:gd name="connsiteX1" fmla="*/ 1713299 w 1713299"/>
              <a:gd name="connsiteY1" fmla="*/ 318680 h 455001"/>
              <a:gd name="connsiteX2" fmla="*/ 1667848 w 1713299"/>
              <a:gd name="connsiteY2" fmla="*/ 0 h 455001"/>
              <a:gd name="connsiteX3" fmla="*/ 0 w 1713299"/>
              <a:gd name="connsiteY3" fmla="*/ 111694 h 455001"/>
              <a:gd name="connsiteX4" fmla="*/ 95196 w 1713299"/>
              <a:gd name="connsiteY4" fmla="*/ 455001 h 455001"/>
              <a:gd name="connsiteX0" fmla="*/ 67137 w 1685240"/>
              <a:gd name="connsiteY0" fmla="*/ 455001 h 455001"/>
              <a:gd name="connsiteX1" fmla="*/ 1685240 w 1685240"/>
              <a:gd name="connsiteY1" fmla="*/ 318680 h 455001"/>
              <a:gd name="connsiteX2" fmla="*/ 1639789 w 1685240"/>
              <a:gd name="connsiteY2" fmla="*/ 0 h 455001"/>
              <a:gd name="connsiteX3" fmla="*/ 0 w 1685240"/>
              <a:gd name="connsiteY3" fmla="*/ 130652 h 455001"/>
              <a:gd name="connsiteX4" fmla="*/ 67137 w 1685240"/>
              <a:gd name="connsiteY4" fmla="*/ 455001 h 455001"/>
              <a:gd name="connsiteX0" fmla="*/ 67137 w 1667473"/>
              <a:gd name="connsiteY0" fmla="*/ 455001 h 455001"/>
              <a:gd name="connsiteX1" fmla="*/ 1667473 w 1667473"/>
              <a:gd name="connsiteY1" fmla="*/ 242054 h 455001"/>
              <a:gd name="connsiteX2" fmla="*/ 1639789 w 1667473"/>
              <a:gd name="connsiteY2" fmla="*/ 0 h 455001"/>
              <a:gd name="connsiteX3" fmla="*/ 0 w 1667473"/>
              <a:gd name="connsiteY3" fmla="*/ 130652 h 455001"/>
              <a:gd name="connsiteX4" fmla="*/ 67137 w 1667473"/>
              <a:gd name="connsiteY4" fmla="*/ 455001 h 455001"/>
              <a:gd name="connsiteX0" fmla="*/ 100217 w 1700553"/>
              <a:gd name="connsiteY0" fmla="*/ 455001 h 455001"/>
              <a:gd name="connsiteX1" fmla="*/ 1700553 w 1700553"/>
              <a:gd name="connsiteY1" fmla="*/ 242054 h 455001"/>
              <a:gd name="connsiteX2" fmla="*/ 1672869 w 1700553"/>
              <a:gd name="connsiteY2" fmla="*/ 0 h 455001"/>
              <a:gd name="connsiteX3" fmla="*/ 0 w 1700553"/>
              <a:gd name="connsiteY3" fmla="*/ 205540 h 455001"/>
              <a:gd name="connsiteX4" fmla="*/ 100217 w 1700553"/>
              <a:gd name="connsiteY4" fmla="*/ 455001 h 455001"/>
              <a:gd name="connsiteX0" fmla="*/ 100217 w 1700553"/>
              <a:gd name="connsiteY0" fmla="*/ 366878 h 366878"/>
              <a:gd name="connsiteX1" fmla="*/ 1700553 w 1700553"/>
              <a:gd name="connsiteY1" fmla="*/ 153931 h 366878"/>
              <a:gd name="connsiteX2" fmla="*/ 1588975 w 1700553"/>
              <a:gd name="connsiteY2" fmla="*/ 0 h 366878"/>
              <a:gd name="connsiteX3" fmla="*/ 0 w 1700553"/>
              <a:gd name="connsiteY3" fmla="*/ 117417 h 366878"/>
              <a:gd name="connsiteX4" fmla="*/ 100217 w 1700553"/>
              <a:gd name="connsiteY4" fmla="*/ 366878 h 366878"/>
              <a:gd name="connsiteX0" fmla="*/ 115726 w 1700553"/>
              <a:gd name="connsiteY0" fmla="*/ 305211 h 305211"/>
              <a:gd name="connsiteX1" fmla="*/ 1700553 w 1700553"/>
              <a:gd name="connsiteY1" fmla="*/ 153931 h 305211"/>
              <a:gd name="connsiteX2" fmla="*/ 1588975 w 1700553"/>
              <a:gd name="connsiteY2" fmla="*/ 0 h 305211"/>
              <a:gd name="connsiteX3" fmla="*/ 0 w 1700553"/>
              <a:gd name="connsiteY3" fmla="*/ 117417 h 305211"/>
              <a:gd name="connsiteX4" fmla="*/ 115726 w 1700553"/>
              <a:gd name="connsiteY4" fmla="*/ 305211 h 305211"/>
              <a:gd name="connsiteX0" fmla="*/ 115726 w 1700553"/>
              <a:gd name="connsiteY0" fmla="*/ 321895 h 321895"/>
              <a:gd name="connsiteX1" fmla="*/ 1700553 w 1700553"/>
              <a:gd name="connsiteY1" fmla="*/ 170615 h 321895"/>
              <a:gd name="connsiteX2" fmla="*/ 1471607 w 1700553"/>
              <a:gd name="connsiteY2" fmla="*/ 0 h 321895"/>
              <a:gd name="connsiteX3" fmla="*/ 0 w 1700553"/>
              <a:gd name="connsiteY3" fmla="*/ 134101 h 321895"/>
              <a:gd name="connsiteX4" fmla="*/ 115726 w 1700553"/>
              <a:gd name="connsiteY4" fmla="*/ 321895 h 321895"/>
              <a:gd name="connsiteX0" fmla="*/ 115726 w 1581352"/>
              <a:gd name="connsiteY0" fmla="*/ 321895 h 321895"/>
              <a:gd name="connsiteX1" fmla="*/ 1581352 w 1581352"/>
              <a:gd name="connsiteY1" fmla="*/ 210307 h 321895"/>
              <a:gd name="connsiteX2" fmla="*/ 1471607 w 1581352"/>
              <a:gd name="connsiteY2" fmla="*/ 0 h 321895"/>
              <a:gd name="connsiteX3" fmla="*/ 0 w 1581352"/>
              <a:gd name="connsiteY3" fmla="*/ 134101 h 321895"/>
              <a:gd name="connsiteX4" fmla="*/ 115726 w 1581352"/>
              <a:gd name="connsiteY4" fmla="*/ 321895 h 321895"/>
              <a:gd name="connsiteX0" fmla="*/ 92298 w 1557924"/>
              <a:gd name="connsiteY0" fmla="*/ 321895 h 321895"/>
              <a:gd name="connsiteX1" fmla="*/ 1557924 w 1557924"/>
              <a:gd name="connsiteY1" fmla="*/ 210307 h 321895"/>
              <a:gd name="connsiteX2" fmla="*/ 1448179 w 1557924"/>
              <a:gd name="connsiteY2" fmla="*/ 0 h 321895"/>
              <a:gd name="connsiteX3" fmla="*/ 0 w 1557924"/>
              <a:gd name="connsiteY3" fmla="*/ 116473 h 321895"/>
              <a:gd name="connsiteX4" fmla="*/ 92298 w 1557924"/>
              <a:gd name="connsiteY4" fmla="*/ 321895 h 321895"/>
              <a:gd name="connsiteX0" fmla="*/ 152961 w 1557924"/>
              <a:gd name="connsiteY0" fmla="*/ 341247 h 341247"/>
              <a:gd name="connsiteX1" fmla="*/ 1557924 w 1557924"/>
              <a:gd name="connsiteY1" fmla="*/ 210307 h 341247"/>
              <a:gd name="connsiteX2" fmla="*/ 1448179 w 1557924"/>
              <a:gd name="connsiteY2" fmla="*/ 0 h 341247"/>
              <a:gd name="connsiteX3" fmla="*/ 0 w 1557924"/>
              <a:gd name="connsiteY3" fmla="*/ 116473 h 341247"/>
              <a:gd name="connsiteX4" fmla="*/ 152961 w 1557924"/>
              <a:gd name="connsiteY4" fmla="*/ 341247 h 341247"/>
              <a:gd name="connsiteX0" fmla="*/ 135357 w 1557924"/>
              <a:gd name="connsiteY0" fmla="*/ 339493 h 339493"/>
              <a:gd name="connsiteX1" fmla="*/ 1557924 w 1557924"/>
              <a:gd name="connsiteY1" fmla="*/ 210307 h 339493"/>
              <a:gd name="connsiteX2" fmla="*/ 1448179 w 1557924"/>
              <a:gd name="connsiteY2" fmla="*/ 0 h 339493"/>
              <a:gd name="connsiteX3" fmla="*/ 0 w 1557924"/>
              <a:gd name="connsiteY3" fmla="*/ 116473 h 339493"/>
              <a:gd name="connsiteX4" fmla="*/ 135357 w 1557924"/>
              <a:gd name="connsiteY4" fmla="*/ 339493 h 339493"/>
              <a:gd name="connsiteX0" fmla="*/ 109934 w 1532501"/>
              <a:gd name="connsiteY0" fmla="*/ 339493 h 339493"/>
              <a:gd name="connsiteX1" fmla="*/ 1532501 w 1532501"/>
              <a:gd name="connsiteY1" fmla="*/ 210307 h 339493"/>
              <a:gd name="connsiteX2" fmla="*/ 1422756 w 1532501"/>
              <a:gd name="connsiteY2" fmla="*/ 0 h 339493"/>
              <a:gd name="connsiteX3" fmla="*/ 0 w 1532501"/>
              <a:gd name="connsiteY3" fmla="*/ 117343 h 339493"/>
              <a:gd name="connsiteX4" fmla="*/ 109934 w 1532501"/>
              <a:gd name="connsiteY4" fmla="*/ 339493 h 339493"/>
              <a:gd name="connsiteX0" fmla="*/ 133525 w 1556092"/>
              <a:gd name="connsiteY0" fmla="*/ 339493 h 339493"/>
              <a:gd name="connsiteX1" fmla="*/ 1556092 w 1556092"/>
              <a:gd name="connsiteY1" fmla="*/ 210307 h 339493"/>
              <a:gd name="connsiteX2" fmla="*/ 1446347 w 1556092"/>
              <a:gd name="connsiteY2" fmla="*/ 0 h 339493"/>
              <a:gd name="connsiteX3" fmla="*/ 0 w 1556092"/>
              <a:gd name="connsiteY3" fmla="*/ 60098 h 339493"/>
              <a:gd name="connsiteX4" fmla="*/ 133525 w 1556092"/>
              <a:gd name="connsiteY4" fmla="*/ 339493 h 339493"/>
              <a:gd name="connsiteX0" fmla="*/ 133525 w 2343667"/>
              <a:gd name="connsiteY0" fmla="*/ 459688 h 459688"/>
              <a:gd name="connsiteX1" fmla="*/ 1556092 w 2343667"/>
              <a:gd name="connsiteY1" fmla="*/ 330502 h 459688"/>
              <a:gd name="connsiteX2" fmla="*/ 2343667 w 2343667"/>
              <a:gd name="connsiteY2" fmla="*/ 0 h 459688"/>
              <a:gd name="connsiteX3" fmla="*/ 0 w 2343667"/>
              <a:gd name="connsiteY3" fmla="*/ 180293 h 459688"/>
              <a:gd name="connsiteX4" fmla="*/ 133525 w 2343667"/>
              <a:gd name="connsiteY4" fmla="*/ 459688 h 459688"/>
              <a:gd name="connsiteX0" fmla="*/ 133525 w 2391079"/>
              <a:gd name="connsiteY0" fmla="*/ 459688 h 459688"/>
              <a:gd name="connsiteX1" fmla="*/ 2391079 w 2391079"/>
              <a:gd name="connsiteY1" fmla="*/ 322204 h 459688"/>
              <a:gd name="connsiteX2" fmla="*/ 2343667 w 2391079"/>
              <a:gd name="connsiteY2" fmla="*/ 0 h 459688"/>
              <a:gd name="connsiteX3" fmla="*/ 0 w 2391079"/>
              <a:gd name="connsiteY3" fmla="*/ 180293 h 459688"/>
              <a:gd name="connsiteX4" fmla="*/ 133525 w 2391079"/>
              <a:gd name="connsiteY4" fmla="*/ 459688 h 459688"/>
              <a:gd name="connsiteX0" fmla="*/ 159047 w 2391079"/>
              <a:gd name="connsiteY0" fmla="*/ 505482 h 505482"/>
              <a:gd name="connsiteX1" fmla="*/ 2391079 w 2391079"/>
              <a:gd name="connsiteY1" fmla="*/ 322204 h 505482"/>
              <a:gd name="connsiteX2" fmla="*/ 2343667 w 2391079"/>
              <a:gd name="connsiteY2" fmla="*/ 0 h 505482"/>
              <a:gd name="connsiteX3" fmla="*/ 0 w 2391079"/>
              <a:gd name="connsiteY3" fmla="*/ 180293 h 505482"/>
              <a:gd name="connsiteX4" fmla="*/ 159047 w 2391079"/>
              <a:gd name="connsiteY4" fmla="*/ 505482 h 505482"/>
              <a:gd name="connsiteX0" fmla="*/ 159047 w 2391079"/>
              <a:gd name="connsiteY0" fmla="*/ 518659 h 518659"/>
              <a:gd name="connsiteX1" fmla="*/ 2391079 w 2391079"/>
              <a:gd name="connsiteY1" fmla="*/ 335381 h 518659"/>
              <a:gd name="connsiteX2" fmla="*/ 2261507 w 2391079"/>
              <a:gd name="connsiteY2" fmla="*/ 0 h 518659"/>
              <a:gd name="connsiteX3" fmla="*/ 0 w 2391079"/>
              <a:gd name="connsiteY3" fmla="*/ 193470 h 518659"/>
              <a:gd name="connsiteX4" fmla="*/ 159047 w 2391079"/>
              <a:gd name="connsiteY4" fmla="*/ 518659 h 518659"/>
              <a:gd name="connsiteX0" fmla="*/ 159047 w 2513813"/>
              <a:gd name="connsiteY0" fmla="*/ 498511 h 498511"/>
              <a:gd name="connsiteX1" fmla="*/ 2391079 w 2513813"/>
              <a:gd name="connsiteY1" fmla="*/ 315233 h 498511"/>
              <a:gd name="connsiteX2" fmla="*/ 2513813 w 2513813"/>
              <a:gd name="connsiteY2" fmla="*/ 0 h 498511"/>
              <a:gd name="connsiteX3" fmla="*/ 0 w 2513813"/>
              <a:gd name="connsiteY3" fmla="*/ 173322 h 498511"/>
              <a:gd name="connsiteX4" fmla="*/ 159047 w 2513813"/>
              <a:gd name="connsiteY4" fmla="*/ 498511 h 498511"/>
              <a:gd name="connsiteX0" fmla="*/ 159047 w 2547383"/>
              <a:gd name="connsiteY0" fmla="*/ 498511 h 498511"/>
              <a:gd name="connsiteX1" fmla="*/ 2547383 w 2547383"/>
              <a:gd name="connsiteY1" fmla="*/ 252623 h 498511"/>
              <a:gd name="connsiteX2" fmla="*/ 2513813 w 2547383"/>
              <a:gd name="connsiteY2" fmla="*/ 0 h 498511"/>
              <a:gd name="connsiteX3" fmla="*/ 0 w 2547383"/>
              <a:gd name="connsiteY3" fmla="*/ 173322 h 498511"/>
              <a:gd name="connsiteX4" fmla="*/ 159047 w 2547383"/>
              <a:gd name="connsiteY4" fmla="*/ 498511 h 498511"/>
              <a:gd name="connsiteX0" fmla="*/ 164772 w 2553108"/>
              <a:gd name="connsiteY0" fmla="*/ 498511 h 498511"/>
              <a:gd name="connsiteX1" fmla="*/ 2553108 w 2553108"/>
              <a:gd name="connsiteY1" fmla="*/ 252623 h 498511"/>
              <a:gd name="connsiteX2" fmla="*/ 2519538 w 2553108"/>
              <a:gd name="connsiteY2" fmla="*/ 0 h 498511"/>
              <a:gd name="connsiteX3" fmla="*/ 0 w 2553108"/>
              <a:gd name="connsiteY3" fmla="*/ 237627 h 498511"/>
              <a:gd name="connsiteX4" fmla="*/ 164772 w 2553108"/>
              <a:gd name="connsiteY4" fmla="*/ 498511 h 498511"/>
              <a:gd name="connsiteX0" fmla="*/ 102113 w 2553108"/>
              <a:gd name="connsiteY0" fmla="*/ 460662 h 460662"/>
              <a:gd name="connsiteX1" fmla="*/ 2553108 w 2553108"/>
              <a:gd name="connsiteY1" fmla="*/ 252623 h 460662"/>
              <a:gd name="connsiteX2" fmla="*/ 2519538 w 2553108"/>
              <a:gd name="connsiteY2" fmla="*/ 0 h 460662"/>
              <a:gd name="connsiteX3" fmla="*/ 0 w 2553108"/>
              <a:gd name="connsiteY3" fmla="*/ 237627 h 460662"/>
              <a:gd name="connsiteX4" fmla="*/ 102113 w 2553108"/>
              <a:gd name="connsiteY4" fmla="*/ 460662 h 460662"/>
              <a:gd name="connsiteX0" fmla="*/ 102113 w 2553108"/>
              <a:gd name="connsiteY0" fmla="*/ 424537 h 424537"/>
              <a:gd name="connsiteX1" fmla="*/ 2553108 w 2553108"/>
              <a:gd name="connsiteY1" fmla="*/ 216498 h 424537"/>
              <a:gd name="connsiteX2" fmla="*/ 2498106 w 2553108"/>
              <a:gd name="connsiteY2" fmla="*/ 0 h 424537"/>
              <a:gd name="connsiteX3" fmla="*/ 0 w 2553108"/>
              <a:gd name="connsiteY3" fmla="*/ 201502 h 424537"/>
              <a:gd name="connsiteX4" fmla="*/ 102113 w 2553108"/>
              <a:gd name="connsiteY4" fmla="*/ 424537 h 424537"/>
              <a:gd name="connsiteX0" fmla="*/ 90333 w 2553108"/>
              <a:gd name="connsiteY0" fmla="*/ 403402 h 403402"/>
              <a:gd name="connsiteX1" fmla="*/ 2553108 w 2553108"/>
              <a:gd name="connsiteY1" fmla="*/ 216498 h 403402"/>
              <a:gd name="connsiteX2" fmla="*/ 2498106 w 2553108"/>
              <a:gd name="connsiteY2" fmla="*/ 0 h 403402"/>
              <a:gd name="connsiteX3" fmla="*/ 0 w 2553108"/>
              <a:gd name="connsiteY3" fmla="*/ 201502 h 403402"/>
              <a:gd name="connsiteX4" fmla="*/ 90333 w 2553108"/>
              <a:gd name="connsiteY4" fmla="*/ 403402 h 403402"/>
              <a:gd name="connsiteX0" fmla="*/ 60951 w 2523726"/>
              <a:gd name="connsiteY0" fmla="*/ 403402 h 403402"/>
              <a:gd name="connsiteX1" fmla="*/ 2523726 w 2523726"/>
              <a:gd name="connsiteY1" fmla="*/ 216498 h 403402"/>
              <a:gd name="connsiteX2" fmla="*/ 2468724 w 2523726"/>
              <a:gd name="connsiteY2" fmla="*/ 0 h 403402"/>
              <a:gd name="connsiteX3" fmla="*/ 0 w 2523726"/>
              <a:gd name="connsiteY3" fmla="*/ 224392 h 403402"/>
              <a:gd name="connsiteX4" fmla="*/ 60951 w 2523726"/>
              <a:gd name="connsiteY4" fmla="*/ 403402 h 40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3726" h="403402">
                <a:moveTo>
                  <a:pt x="60951" y="403402"/>
                </a:moveTo>
                <a:lnTo>
                  <a:pt x="2523726" y="216498"/>
                </a:lnTo>
                <a:lnTo>
                  <a:pt x="2468724" y="0"/>
                </a:lnTo>
                <a:lnTo>
                  <a:pt x="0" y="224392"/>
                </a:lnTo>
                <a:lnTo>
                  <a:pt x="60951" y="403402"/>
                </a:lnTo>
                <a:close/>
              </a:path>
            </a:pathLst>
          </a:custGeom>
          <a:solidFill>
            <a:schemeClr val="bg1"/>
          </a:solidFill>
          <a:ln>
            <a:noFill/>
          </a:ln>
          <a:effectLst>
            <a:outerShdw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solidFill>
                <a:schemeClr val="accent4"/>
              </a:solidFill>
            </a:endParaRPr>
          </a:p>
        </p:txBody>
      </p:sp>
      <p:sp>
        <p:nvSpPr>
          <p:cNvPr id="28" name="TextBox 9">
            <a:extLst>
              <a:ext uri="{FF2B5EF4-FFF2-40B4-BE49-F238E27FC236}">
                <a16:creationId xmlns:a16="http://schemas.microsoft.com/office/drawing/2014/main" id="{537D30E5-E3AC-4A3C-8694-8CFCC97DEA0B}"/>
              </a:ext>
            </a:extLst>
          </p:cNvPr>
          <p:cNvSpPr txBox="1">
            <a:spLocks noChangeArrowheads="1"/>
          </p:cNvSpPr>
          <p:nvPr/>
        </p:nvSpPr>
        <p:spPr bwMode="auto">
          <a:xfrm>
            <a:off x="173776" y="314960"/>
            <a:ext cx="2953988" cy="369332"/>
          </a:xfrm>
          <a:prstGeom prst="rect">
            <a:avLst/>
          </a:prstGeom>
          <a:noFill/>
          <a:ln w="9525">
            <a:noFill/>
            <a:miter lim="800000"/>
            <a:headEnd/>
            <a:tailEnd/>
          </a:ln>
          <a:effectLst/>
        </p:spPr>
        <p:txBody>
          <a:bodyPr wrap="square" lIns="0">
            <a:spAutoFit/>
          </a:bodyPr>
          <a:lstStyle/>
          <a:p>
            <a:pPr marL="3174">
              <a:lnSpc>
                <a:spcPct val="90000"/>
              </a:lnSpc>
              <a:spcBef>
                <a:spcPts val="1200"/>
              </a:spcBef>
              <a:buClr>
                <a:srgbClr val="5C5C5C"/>
              </a:buClr>
              <a:buSzPct val="80000"/>
            </a:pPr>
            <a:r>
              <a:rPr lang="nl-BE" sz="2000" b="1" dirty="0">
                <a:solidFill>
                  <a:srgbClr val="5C2483"/>
                </a:solidFill>
                <a:latin typeface="Amaranth" panose="02000503000000020004" pitchFamily="50" charset="0"/>
                <a:cs typeface="Arial" panose="020B0604020202020204" pitchFamily="34" charset="0"/>
              </a:rPr>
              <a:t>Opbouw &amp; differentiatie</a:t>
            </a:r>
          </a:p>
        </p:txBody>
      </p:sp>
    </p:spTree>
    <p:extLst>
      <p:ext uri="{BB962C8B-B14F-4D97-AF65-F5344CB8AC3E}">
        <p14:creationId xmlns:p14="http://schemas.microsoft.com/office/powerpoint/2010/main" val="9353407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Afbeelding 15">
            <a:extLst>
              <a:ext uri="{FF2B5EF4-FFF2-40B4-BE49-F238E27FC236}">
                <a16:creationId xmlns:a16="http://schemas.microsoft.com/office/drawing/2014/main" id="{4B2AC3E5-1B80-452A-B6C7-DE4C77CB9515}"/>
              </a:ext>
            </a:extLst>
          </p:cNvPr>
          <p:cNvPicPr>
            <a:picLocks noChangeAspect="1"/>
          </p:cNvPicPr>
          <p:nvPr/>
        </p:nvPicPr>
        <p:blipFill rotWithShape="1">
          <a:blip r:embed="rId3"/>
          <a:srcRect l="12121" r="-1"/>
          <a:stretch/>
        </p:blipFill>
        <p:spPr>
          <a:xfrm>
            <a:off x="0" y="-23959"/>
            <a:ext cx="8664710" cy="6879020"/>
          </a:xfrm>
          <a:prstGeom prst="rect">
            <a:avLst/>
          </a:prstGeom>
        </p:spPr>
      </p:pic>
      <p:grpSp>
        <p:nvGrpSpPr>
          <p:cNvPr id="2" name="Group 1">
            <a:extLst>
              <a:ext uri="{FF2B5EF4-FFF2-40B4-BE49-F238E27FC236}">
                <a16:creationId xmlns:a16="http://schemas.microsoft.com/office/drawing/2014/main" id="{1FB114C6-2C0A-49BE-A714-97FFA219DE0F}"/>
              </a:ext>
            </a:extLst>
          </p:cNvPr>
          <p:cNvGrpSpPr/>
          <p:nvPr/>
        </p:nvGrpSpPr>
        <p:grpSpPr>
          <a:xfrm>
            <a:off x="4333461" y="-10510"/>
            <a:ext cx="7879558" cy="6873765"/>
            <a:chOff x="4754302" y="-10510"/>
            <a:chExt cx="7458717" cy="6873765"/>
          </a:xfrm>
          <a:solidFill>
            <a:srgbClr val="5C2483"/>
          </a:solidFill>
        </p:grpSpPr>
        <p:sp>
          <p:nvSpPr>
            <p:cNvPr id="3" name="Freeform: Shape 10">
              <a:extLst>
                <a:ext uri="{FF2B5EF4-FFF2-40B4-BE49-F238E27FC236}">
                  <a16:creationId xmlns:a16="http://schemas.microsoft.com/office/drawing/2014/main" id="{63DD3BA3-B5ED-44C6-8311-4EAAB2054FE5}"/>
                </a:ext>
              </a:extLst>
            </p:cNvPr>
            <p:cNvSpPr/>
            <p:nvPr/>
          </p:nvSpPr>
          <p:spPr>
            <a:xfrm flipH="1">
              <a:off x="4754302" y="-10510"/>
              <a:ext cx="7458717" cy="6873765"/>
            </a:xfrm>
            <a:custGeom>
              <a:avLst/>
              <a:gdLst>
                <a:gd name="connsiteX0" fmla="*/ 0 w 6768662"/>
                <a:gd name="connsiteY0" fmla="*/ 0 h 6873765"/>
                <a:gd name="connsiteX1" fmla="*/ 6001407 w 6768662"/>
                <a:gd name="connsiteY1" fmla="*/ 0 h 6873765"/>
                <a:gd name="connsiteX2" fmla="*/ 6768662 w 6768662"/>
                <a:gd name="connsiteY2" fmla="*/ 0 h 6873765"/>
                <a:gd name="connsiteX3" fmla="*/ 5570482 w 6768662"/>
                <a:gd name="connsiteY3" fmla="*/ 6873765 h 6873765"/>
                <a:gd name="connsiteX4" fmla="*/ 10510 w 6768662"/>
                <a:gd name="connsiteY4" fmla="*/ 6873765 h 6873765"/>
                <a:gd name="connsiteX5" fmla="*/ 10510 w 6768662"/>
                <a:gd name="connsiteY5" fmla="*/ 0 h 6873765"/>
                <a:gd name="connsiteX6" fmla="*/ 0 w 6768662"/>
                <a:gd name="connsiteY6" fmla="*/ 0 h 6873765"/>
                <a:gd name="connsiteX0" fmla="*/ 0 w 6768662"/>
                <a:gd name="connsiteY0" fmla="*/ 0 h 6873765"/>
                <a:gd name="connsiteX1" fmla="*/ 6001407 w 6768662"/>
                <a:gd name="connsiteY1" fmla="*/ 0 h 6873765"/>
                <a:gd name="connsiteX2" fmla="*/ 6768662 w 6768662"/>
                <a:gd name="connsiteY2" fmla="*/ 0 h 6873765"/>
                <a:gd name="connsiteX3" fmla="*/ 5202620 w 6768662"/>
                <a:gd name="connsiteY3" fmla="*/ 6863255 h 6873765"/>
                <a:gd name="connsiteX4" fmla="*/ 10510 w 6768662"/>
                <a:gd name="connsiteY4" fmla="*/ 6873765 h 6873765"/>
                <a:gd name="connsiteX5" fmla="*/ 10510 w 6768662"/>
                <a:gd name="connsiteY5" fmla="*/ 0 h 6873765"/>
                <a:gd name="connsiteX6" fmla="*/ 0 w 6768662"/>
                <a:gd name="connsiteY6" fmla="*/ 0 h 6873765"/>
                <a:gd name="connsiteX0" fmla="*/ 0 w 6768662"/>
                <a:gd name="connsiteY0" fmla="*/ 0 h 6873765"/>
                <a:gd name="connsiteX1" fmla="*/ 6001407 w 6768662"/>
                <a:gd name="connsiteY1" fmla="*/ 0 h 6873765"/>
                <a:gd name="connsiteX2" fmla="*/ 6768662 w 6768662"/>
                <a:gd name="connsiteY2" fmla="*/ 0 h 6873765"/>
                <a:gd name="connsiteX3" fmla="*/ 5160579 w 6768662"/>
                <a:gd name="connsiteY3" fmla="*/ 6873765 h 6873765"/>
                <a:gd name="connsiteX4" fmla="*/ 10510 w 6768662"/>
                <a:gd name="connsiteY4" fmla="*/ 6873765 h 6873765"/>
                <a:gd name="connsiteX5" fmla="*/ 10510 w 6768662"/>
                <a:gd name="connsiteY5" fmla="*/ 0 h 6873765"/>
                <a:gd name="connsiteX6" fmla="*/ 0 w 6768662"/>
                <a:gd name="connsiteY6" fmla="*/ 0 h 6873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8662" h="6873765">
                  <a:moveTo>
                    <a:pt x="0" y="0"/>
                  </a:moveTo>
                  <a:lnTo>
                    <a:pt x="6001407" y="0"/>
                  </a:lnTo>
                  <a:lnTo>
                    <a:pt x="6768662" y="0"/>
                  </a:lnTo>
                  <a:lnTo>
                    <a:pt x="5160579" y="6873765"/>
                  </a:lnTo>
                  <a:lnTo>
                    <a:pt x="10510" y="6873765"/>
                  </a:lnTo>
                  <a:lnTo>
                    <a:pt x="10510" y="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p>
          </p:txBody>
        </p:sp>
        <p:sp>
          <p:nvSpPr>
            <p:cNvPr id="4" name="TextBox 14">
              <a:extLst>
                <a:ext uri="{FF2B5EF4-FFF2-40B4-BE49-F238E27FC236}">
                  <a16:creationId xmlns:a16="http://schemas.microsoft.com/office/drawing/2014/main" id="{C7594D95-6961-4DBC-9CDE-93151B646245}"/>
                </a:ext>
              </a:extLst>
            </p:cNvPr>
            <p:cNvSpPr txBox="1"/>
            <p:nvPr/>
          </p:nvSpPr>
          <p:spPr>
            <a:xfrm>
              <a:off x="5266091" y="680285"/>
              <a:ext cx="6925909" cy="646331"/>
            </a:xfrm>
            <a:prstGeom prst="rect">
              <a:avLst/>
            </a:prstGeom>
            <a:grpFill/>
          </p:spPr>
          <p:txBody>
            <a:bodyPr wrap="square" rtlCol="0" anchor="b" anchorCtr="0">
              <a:spAutoFit/>
            </a:bodyPr>
            <a:lstStyle/>
            <a:p>
              <a:pPr>
                <a:lnSpc>
                  <a:spcPct val="90000"/>
                </a:lnSpc>
                <a:tabLst>
                  <a:tab pos="1971675" algn="l"/>
                </a:tabLst>
              </a:pPr>
              <a:r>
                <a:rPr lang="nl-BE" sz="4000" dirty="0">
                  <a:solidFill>
                    <a:schemeClr val="bg1"/>
                  </a:solidFill>
                  <a:latin typeface="Amaranth" panose="02000503000000020004" pitchFamily="50" charset="0"/>
                  <a:cs typeface="Arial" panose="020B0604020202020204" pitchFamily="34" charset="0"/>
                </a:rPr>
                <a:t>Schatkist inspireert, jij bepaalt</a:t>
              </a:r>
            </a:p>
          </p:txBody>
        </p:sp>
      </p:grpSp>
      <p:sp>
        <p:nvSpPr>
          <p:cNvPr id="18" name="Freeform: Shape 16">
            <a:extLst>
              <a:ext uri="{FF2B5EF4-FFF2-40B4-BE49-F238E27FC236}">
                <a16:creationId xmlns:a16="http://schemas.microsoft.com/office/drawing/2014/main" id="{9CD27A6C-01DB-4583-84E2-55FEBC9BCD45}"/>
              </a:ext>
            </a:extLst>
          </p:cNvPr>
          <p:cNvSpPr/>
          <p:nvPr/>
        </p:nvSpPr>
        <p:spPr>
          <a:xfrm flipH="1">
            <a:off x="4250208" y="-3638"/>
            <a:ext cx="8100817" cy="6908234"/>
          </a:xfrm>
          <a:custGeom>
            <a:avLst/>
            <a:gdLst>
              <a:gd name="connsiteX0" fmla="*/ 0 w 6768662"/>
              <a:gd name="connsiteY0" fmla="*/ 0 h 6873765"/>
              <a:gd name="connsiteX1" fmla="*/ 6001407 w 6768662"/>
              <a:gd name="connsiteY1" fmla="*/ 0 h 6873765"/>
              <a:gd name="connsiteX2" fmla="*/ 6768662 w 6768662"/>
              <a:gd name="connsiteY2" fmla="*/ 0 h 6873765"/>
              <a:gd name="connsiteX3" fmla="*/ 5570482 w 6768662"/>
              <a:gd name="connsiteY3" fmla="*/ 6873765 h 6873765"/>
              <a:gd name="connsiteX4" fmla="*/ 10510 w 6768662"/>
              <a:gd name="connsiteY4" fmla="*/ 6873765 h 6873765"/>
              <a:gd name="connsiteX5" fmla="*/ 10510 w 6768662"/>
              <a:gd name="connsiteY5" fmla="*/ 0 h 6873765"/>
              <a:gd name="connsiteX6" fmla="*/ 0 w 6768662"/>
              <a:gd name="connsiteY6" fmla="*/ 0 h 6873765"/>
              <a:gd name="connsiteX0" fmla="*/ 0 w 6768662"/>
              <a:gd name="connsiteY0" fmla="*/ 0 h 6873765"/>
              <a:gd name="connsiteX1" fmla="*/ 6001407 w 6768662"/>
              <a:gd name="connsiteY1" fmla="*/ 0 h 6873765"/>
              <a:gd name="connsiteX2" fmla="*/ 6768662 w 6768662"/>
              <a:gd name="connsiteY2" fmla="*/ 0 h 6873765"/>
              <a:gd name="connsiteX3" fmla="*/ 5202620 w 6768662"/>
              <a:gd name="connsiteY3" fmla="*/ 6863255 h 6873765"/>
              <a:gd name="connsiteX4" fmla="*/ 10510 w 6768662"/>
              <a:gd name="connsiteY4" fmla="*/ 6873765 h 6873765"/>
              <a:gd name="connsiteX5" fmla="*/ 10510 w 6768662"/>
              <a:gd name="connsiteY5" fmla="*/ 0 h 6873765"/>
              <a:gd name="connsiteX6" fmla="*/ 0 w 6768662"/>
              <a:gd name="connsiteY6" fmla="*/ 0 h 6873765"/>
              <a:gd name="connsiteX0" fmla="*/ 0 w 6768662"/>
              <a:gd name="connsiteY0" fmla="*/ 0 h 6873765"/>
              <a:gd name="connsiteX1" fmla="*/ 6001407 w 6768662"/>
              <a:gd name="connsiteY1" fmla="*/ 0 h 6873765"/>
              <a:gd name="connsiteX2" fmla="*/ 6768662 w 6768662"/>
              <a:gd name="connsiteY2" fmla="*/ 0 h 6873765"/>
              <a:gd name="connsiteX3" fmla="*/ 5160579 w 6768662"/>
              <a:gd name="connsiteY3" fmla="*/ 6873765 h 6873765"/>
              <a:gd name="connsiteX4" fmla="*/ 10510 w 6768662"/>
              <a:gd name="connsiteY4" fmla="*/ 6873765 h 6873765"/>
              <a:gd name="connsiteX5" fmla="*/ 10510 w 6768662"/>
              <a:gd name="connsiteY5" fmla="*/ 0 h 6873765"/>
              <a:gd name="connsiteX6" fmla="*/ 0 w 6768662"/>
              <a:gd name="connsiteY6" fmla="*/ 0 h 6873765"/>
              <a:gd name="connsiteX0" fmla="*/ 0 w 6768662"/>
              <a:gd name="connsiteY0" fmla="*/ 0 h 6873765"/>
              <a:gd name="connsiteX1" fmla="*/ 6768662 w 6768662"/>
              <a:gd name="connsiteY1" fmla="*/ 0 h 6873765"/>
              <a:gd name="connsiteX2" fmla="*/ 5160579 w 6768662"/>
              <a:gd name="connsiteY2" fmla="*/ 6873765 h 6873765"/>
              <a:gd name="connsiteX3" fmla="*/ 10510 w 6768662"/>
              <a:gd name="connsiteY3" fmla="*/ 6873765 h 6873765"/>
              <a:gd name="connsiteX4" fmla="*/ 10510 w 6768662"/>
              <a:gd name="connsiteY4" fmla="*/ 0 h 6873765"/>
              <a:gd name="connsiteX5" fmla="*/ 0 w 6768662"/>
              <a:gd name="connsiteY5" fmla="*/ 0 h 6873765"/>
              <a:gd name="connsiteX0" fmla="*/ 0 w 6768662"/>
              <a:gd name="connsiteY0" fmla="*/ 0 h 6884275"/>
              <a:gd name="connsiteX1" fmla="*/ 6768662 w 6768662"/>
              <a:gd name="connsiteY1" fmla="*/ 0 h 6884275"/>
              <a:gd name="connsiteX2" fmla="*/ 5500399 w 6768662"/>
              <a:gd name="connsiteY2" fmla="*/ 6884275 h 6884275"/>
              <a:gd name="connsiteX3" fmla="*/ 10510 w 6768662"/>
              <a:gd name="connsiteY3" fmla="*/ 6873765 h 6884275"/>
              <a:gd name="connsiteX4" fmla="*/ 10510 w 6768662"/>
              <a:gd name="connsiteY4" fmla="*/ 0 h 6884275"/>
              <a:gd name="connsiteX5" fmla="*/ 0 w 6768662"/>
              <a:gd name="connsiteY5" fmla="*/ 0 h 6884275"/>
              <a:gd name="connsiteX0" fmla="*/ 0 w 6269334"/>
              <a:gd name="connsiteY0" fmla="*/ 0 h 6884275"/>
              <a:gd name="connsiteX1" fmla="*/ 6269334 w 6269334"/>
              <a:gd name="connsiteY1" fmla="*/ 0 h 6884275"/>
              <a:gd name="connsiteX2" fmla="*/ 5500399 w 6269334"/>
              <a:gd name="connsiteY2" fmla="*/ 6884275 h 6884275"/>
              <a:gd name="connsiteX3" fmla="*/ 10510 w 6269334"/>
              <a:gd name="connsiteY3" fmla="*/ 6873765 h 6884275"/>
              <a:gd name="connsiteX4" fmla="*/ 10510 w 6269334"/>
              <a:gd name="connsiteY4" fmla="*/ 0 h 6884275"/>
              <a:gd name="connsiteX5" fmla="*/ 0 w 6269334"/>
              <a:gd name="connsiteY5" fmla="*/ 0 h 6884275"/>
              <a:gd name="connsiteX0" fmla="*/ 0 w 6137567"/>
              <a:gd name="connsiteY0" fmla="*/ 0 h 6884275"/>
              <a:gd name="connsiteX1" fmla="*/ 6137567 w 6137567"/>
              <a:gd name="connsiteY1" fmla="*/ 0 h 6884275"/>
              <a:gd name="connsiteX2" fmla="*/ 5500399 w 6137567"/>
              <a:gd name="connsiteY2" fmla="*/ 6884275 h 6884275"/>
              <a:gd name="connsiteX3" fmla="*/ 10510 w 6137567"/>
              <a:gd name="connsiteY3" fmla="*/ 6873765 h 6884275"/>
              <a:gd name="connsiteX4" fmla="*/ 10510 w 6137567"/>
              <a:gd name="connsiteY4" fmla="*/ 0 h 6884275"/>
              <a:gd name="connsiteX5" fmla="*/ 0 w 6137567"/>
              <a:gd name="connsiteY5" fmla="*/ 0 h 6884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37567" h="6884275">
                <a:moveTo>
                  <a:pt x="0" y="0"/>
                </a:moveTo>
                <a:lnTo>
                  <a:pt x="6137567" y="0"/>
                </a:lnTo>
                <a:lnTo>
                  <a:pt x="5500399" y="6884275"/>
                </a:lnTo>
                <a:lnTo>
                  <a:pt x="10510" y="6873765"/>
                </a:lnTo>
                <a:lnTo>
                  <a:pt x="10510" y="0"/>
                </a:lnTo>
                <a:lnTo>
                  <a:pt x="0" y="0"/>
                </a:lnTo>
                <a:close/>
              </a:path>
            </a:pathLst>
          </a:custGeom>
          <a:solidFill>
            <a:srgbClr val="5C24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b="1" dirty="0"/>
          </a:p>
        </p:txBody>
      </p:sp>
      <p:pic>
        <p:nvPicPr>
          <p:cNvPr id="10" name="Picture 4" descr="https://citylifepro.be/images/playbutton.png">
            <a:hlinkClick r:id="rId4"/>
            <a:extLst>
              <a:ext uri="{FF2B5EF4-FFF2-40B4-BE49-F238E27FC236}">
                <a16:creationId xmlns:a16="http://schemas.microsoft.com/office/drawing/2014/main" id="{0DCFA08E-991C-40C4-A54C-075E876C35F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232259" y="2707753"/>
            <a:ext cx="1437238" cy="1437238"/>
          </a:xfrm>
          <a:prstGeom prst="rect">
            <a:avLst/>
          </a:prstGeom>
          <a:noFill/>
          <a:effectLst/>
          <a:extLst>
            <a:ext uri="{909E8E84-426E-40DD-AFC4-6F175D3DCCD1}">
              <a14:hiddenFill xmlns:a14="http://schemas.microsoft.com/office/drawing/2010/main">
                <a:solidFill>
                  <a:srgbClr val="FFFFFF"/>
                </a:solidFill>
              </a14:hiddenFill>
            </a:ext>
          </a:extLst>
        </p:spPr>
      </p:pic>
      <p:sp>
        <p:nvSpPr>
          <p:cNvPr id="11" name="Rechthoek 12">
            <a:extLst>
              <a:ext uri="{FF2B5EF4-FFF2-40B4-BE49-F238E27FC236}">
                <a16:creationId xmlns:a16="http://schemas.microsoft.com/office/drawing/2014/main" id="{D96E8480-347D-466F-A2CE-5EE9051F1EB3}"/>
              </a:ext>
            </a:extLst>
          </p:cNvPr>
          <p:cNvSpPr/>
          <p:nvPr/>
        </p:nvSpPr>
        <p:spPr>
          <a:xfrm>
            <a:off x="6252196" y="1550707"/>
            <a:ext cx="5644530" cy="260071"/>
          </a:xfrm>
          <a:prstGeom prst="rect">
            <a:avLst/>
          </a:prstGeom>
        </p:spPr>
        <p:txBody>
          <a:bodyPr wrap="square" lIns="0" tIns="0" rIns="0" bIns="0">
            <a:spAutoFit/>
          </a:bodyPr>
          <a:lstStyle/>
          <a:p>
            <a:pPr marL="342900" indent="-342900">
              <a:lnSpc>
                <a:spcPts val="2000"/>
              </a:lnSpc>
              <a:spcAft>
                <a:spcPts val="600"/>
              </a:spcAft>
              <a:buFont typeface="Arial" panose="020B0604020202020204" pitchFamily="34" charset="0"/>
              <a:buChar char="•"/>
            </a:pPr>
            <a:endParaRPr lang="nl-BE" sz="2000" dirty="0">
              <a:solidFill>
                <a:schemeClr val="bg1"/>
              </a:solidFill>
              <a:cs typeface="Arial" panose="020B0604020202020204" pitchFamily="34" charset="0"/>
            </a:endParaRPr>
          </a:p>
        </p:txBody>
      </p:sp>
      <p:sp>
        <p:nvSpPr>
          <p:cNvPr id="15" name="Tekstvak 14">
            <a:extLst>
              <a:ext uri="{FF2B5EF4-FFF2-40B4-BE49-F238E27FC236}">
                <a16:creationId xmlns:a16="http://schemas.microsoft.com/office/drawing/2014/main" id="{384E5827-E834-4066-84BA-FF9B269CC561}"/>
              </a:ext>
            </a:extLst>
          </p:cNvPr>
          <p:cNvSpPr txBox="1"/>
          <p:nvPr/>
        </p:nvSpPr>
        <p:spPr>
          <a:xfrm>
            <a:off x="5769787" y="1680742"/>
            <a:ext cx="5241136" cy="4493538"/>
          </a:xfrm>
          <a:prstGeom prst="rect">
            <a:avLst/>
          </a:prstGeom>
          <a:noFill/>
        </p:spPr>
        <p:txBody>
          <a:bodyPr wrap="square" rtlCol="0">
            <a:spAutoFit/>
          </a:bodyPr>
          <a:lstStyle/>
          <a:p>
            <a:r>
              <a:rPr lang="nl-NL" sz="2200" dirty="0">
                <a:solidFill>
                  <a:schemeClr val="bg1"/>
                </a:solidFill>
                <a:latin typeface="Amaranth" panose="02000503000000020004" pitchFamily="50" charset="0"/>
              </a:rPr>
              <a:t>Keuzevrijheid in:</a:t>
            </a:r>
          </a:p>
          <a:p>
            <a:endParaRPr lang="nl-NL" sz="2200" dirty="0">
              <a:solidFill>
                <a:schemeClr val="bg1"/>
              </a:solidFill>
              <a:latin typeface="Amaranth" panose="02000503000000020004" pitchFamily="50" charset="0"/>
            </a:endParaRPr>
          </a:p>
          <a:p>
            <a:pPr marL="342900" indent="-342900">
              <a:buFont typeface="Arial" panose="020B0604020202020204" pitchFamily="34" charset="0"/>
              <a:buChar char="•"/>
            </a:pPr>
            <a:r>
              <a:rPr lang="nl-NL" sz="2200" dirty="0">
                <a:solidFill>
                  <a:schemeClr val="bg1"/>
                </a:solidFill>
              </a:rPr>
              <a:t>Volgorde ankers</a:t>
            </a:r>
          </a:p>
          <a:p>
            <a:endParaRPr lang="nl-NL" sz="2200" dirty="0">
              <a:solidFill>
                <a:schemeClr val="bg1"/>
              </a:solidFill>
            </a:endParaRPr>
          </a:p>
          <a:p>
            <a:pPr marL="342900" indent="-342900">
              <a:buFont typeface="Arial" panose="020B0604020202020204" pitchFamily="34" charset="0"/>
              <a:buChar char="•"/>
            </a:pPr>
            <a:r>
              <a:rPr lang="nl-NL" sz="2200" dirty="0">
                <a:solidFill>
                  <a:schemeClr val="bg1"/>
                </a:solidFill>
              </a:rPr>
              <a:t>Duur van het anker</a:t>
            </a:r>
          </a:p>
          <a:p>
            <a:pPr marL="342900" indent="-342900">
              <a:buFont typeface="Arial" panose="020B0604020202020204" pitchFamily="34" charset="0"/>
              <a:buChar char="•"/>
            </a:pPr>
            <a:endParaRPr lang="nl-NL" sz="2200" dirty="0">
              <a:solidFill>
                <a:schemeClr val="bg1"/>
              </a:solidFill>
            </a:endParaRPr>
          </a:p>
          <a:p>
            <a:pPr marL="342900" indent="-342900">
              <a:buFont typeface="Arial" panose="020B0604020202020204" pitchFamily="34" charset="0"/>
              <a:buChar char="•"/>
            </a:pPr>
            <a:r>
              <a:rPr lang="nl-NL" sz="2200" dirty="0">
                <a:solidFill>
                  <a:schemeClr val="bg1"/>
                </a:solidFill>
              </a:rPr>
              <a:t>Speelleeromgeving (hoekenactiviteiten)</a:t>
            </a:r>
          </a:p>
          <a:p>
            <a:pPr marL="342900" indent="-342900">
              <a:buFont typeface="Arial" panose="020B0604020202020204" pitchFamily="34" charset="0"/>
              <a:buChar char="•"/>
            </a:pPr>
            <a:endParaRPr lang="nl-NL" sz="2200" dirty="0">
              <a:solidFill>
                <a:schemeClr val="bg1"/>
              </a:solidFill>
            </a:endParaRPr>
          </a:p>
          <a:p>
            <a:pPr marL="342900" indent="-342900">
              <a:buFont typeface="Arial" panose="020B0604020202020204" pitchFamily="34" charset="0"/>
              <a:buChar char="•"/>
            </a:pPr>
            <a:r>
              <a:rPr lang="nl-NL" sz="2200" dirty="0">
                <a:solidFill>
                  <a:schemeClr val="bg1"/>
                </a:solidFill>
              </a:rPr>
              <a:t>Toevoegen van je eigen thema’s </a:t>
            </a:r>
          </a:p>
          <a:p>
            <a:pPr marL="342900" indent="-342900">
              <a:buFont typeface="Arial" panose="020B0604020202020204" pitchFamily="34" charset="0"/>
              <a:buChar char="•"/>
            </a:pPr>
            <a:endParaRPr lang="nl-NL" sz="2200" dirty="0">
              <a:solidFill>
                <a:schemeClr val="bg1"/>
              </a:solidFill>
            </a:endParaRPr>
          </a:p>
          <a:p>
            <a:pPr marL="342900" indent="-342900">
              <a:buFont typeface="Arial" panose="020B0604020202020204" pitchFamily="34" charset="0"/>
              <a:buChar char="•"/>
            </a:pPr>
            <a:r>
              <a:rPr lang="nl-NL" sz="2200" dirty="0">
                <a:solidFill>
                  <a:schemeClr val="bg1"/>
                </a:solidFill>
              </a:rPr>
              <a:t>Materiaal</a:t>
            </a:r>
          </a:p>
          <a:p>
            <a:pPr marL="342900" indent="-342900">
              <a:buFont typeface="Arial" panose="020B0604020202020204" pitchFamily="34" charset="0"/>
              <a:buChar char="•"/>
            </a:pPr>
            <a:endParaRPr lang="nl-NL" sz="2200" dirty="0">
              <a:solidFill>
                <a:schemeClr val="bg1"/>
              </a:solidFill>
            </a:endParaRPr>
          </a:p>
          <a:p>
            <a:pPr marL="342900" indent="-342900">
              <a:buFont typeface="Arial" panose="020B0604020202020204" pitchFamily="34" charset="0"/>
              <a:buChar char="•"/>
            </a:pPr>
            <a:r>
              <a:rPr lang="nl-NL" sz="2200" dirty="0">
                <a:solidFill>
                  <a:schemeClr val="bg1"/>
                </a:solidFill>
              </a:rPr>
              <a:t>Hoe en wanneer jij je leerlingen volgt</a:t>
            </a:r>
          </a:p>
        </p:txBody>
      </p:sp>
      <p:sp>
        <p:nvSpPr>
          <p:cNvPr id="20" name="TextBox 11">
            <a:extLst>
              <a:ext uri="{FF2B5EF4-FFF2-40B4-BE49-F238E27FC236}">
                <a16:creationId xmlns:a16="http://schemas.microsoft.com/office/drawing/2014/main" id="{42D721E4-B756-4475-B4F1-548498E05407}"/>
              </a:ext>
            </a:extLst>
          </p:cNvPr>
          <p:cNvSpPr txBox="1"/>
          <p:nvPr/>
        </p:nvSpPr>
        <p:spPr>
          <a:xfrm>
            <a:off x="4851923" y="609769"/>
            <a:ext cx="7076865" cy="646331"/>
          </a:xfrm>
          <a:prstGeom prst="rect">
            <a:avLst/>
          </a:prstGeom>
          <a:solidFill>
            <a:srgbClr val="5C2483"/>
          </a:solidFill>
        </p:spPr>
        <p:txBody>
          <a:bodyPr wrap="square" rtlCol="0" anchor="b" anchorCtr="0">
            <a:spAutoFit/>
          </a:bodyPr>
          <a:lstStyle/>
          <a:p>
            <a:pPr>
              <a:lnSpc>
                <a:spcPct val="90000"/>
              </a:lnSpc>
              <a:tabLst>
                <a:tab pos="1971675" algn="l"/>
              </a:tabLst>
            </a:pPr>
            <a:r>
              <a:rPr lang="nl-BE" sz="4000" dirty="0">
                <a:solidFill>
                  <a:schemeClr val="bg1"/>
                </a:solidFill>
                <a:latin typeface="Amaranth" panose="02000503000000020004" pitchFamily="50" charset="0"/>
                <a:cs typeface="Arial" panose="020B0604020202020204" pitchFamily="34" charset="0"/>
              </a:rPr>
              <a:t>Schatkist inspireert, jij bepaalt</a:t>
            </a:r>
          </a:p>
        </p:txBody>
      </p:sp>
      <p:pic>
        <p:nvPicPr>
          <p:cNvPr id="17" name="Afbeelding 16">
            <a:extLst>
              <a:ext uri="{FF2B5EF4-FFF2-40B4-BE49-F238E27FC236}">
                <a16:creationId xmlns:a16="http://schemas.microsoft.com/office/drawing/2014/main" id="{37DC955A-036A-41C1-B3C4-1480AB915FC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294831" y="6164016"/>
            <a:ext cx="724228" cy="563044"/>
          </a:xfrm>
          <a:prstGeom prst="rect">
            <a:avLst/>
          </a:prstGeom>
        </p:spPr>
      </p:pic>
      <p:sp>
        <p:nvSpPr>
          <p:cNvPr id="14" name="Freeform 41">
            <a:extLst>
              <a:ext uri="{FF2B5EF4-FFF2-40B4-BE49-F238E27FC236}">
                <a16:creationId xmlns:a16="http://schemas.microsoft.com/office/drawing/2014/main" id="{9429E574-5C0C-4703-A082-BDC2BF975D92}"/>
              </a:ext>
            </a:extLst>
          </p:cNvPr>
          <p:cNvSpPr/>
          <p:nvPr/>
        </p:nvSpPr>
        <p:spPr>
          <a:xfrm rot="584602">
            <a:off x="-70951" y="307950"/>
            <a:ext cx="3141797" cy="1020274"/>
          </a:xfrm>
          <a:custGeom>
            <a:avLst/>
            <a:gdLst>
              <a:gd name="connsiteX0" fmla="*/ 45720 w 1267097"/>
              <a:gd name="connsiteY0" fmla="*/ 378823 h 378823"/>
              <a:gd name="connsiteX1" fmla="*/ 1267097 w 1267097"/>
              <a:gd name="connsiteY1" fmla="*/ 182880 h 378823"/>
              <a:gd name="connsiteX2" fmla="*/ 1267097 w 1267097"/>
              <a:gd name="connsiteY2" fmla="*/ 0 h 378823"/>
              <a:gd name="connsiteX3" fmla="*/ 0 w 1267097"/>
              <a:gd name="connsiteY3" fmla="*/ 189412 h 378823"/>
              <a:gd name="connsiteX4" fmla="*/ 45720 w 1267097"/>
              <a:gd name="connsiteY4" fmla="*/ 378823 h 378823"/>
              <a:gd name="connsiteX0" fmla="*/ 71845 w 1293222"/>
              <a:gd name="connsiteY0" fmla="*/ 378823 h 378823"/>
              <a:gd name="connsiteX1" fmla="*/ 1293222 w 1293222"/>
              <a:gd name="connsiteY1" fmla="*/ 182880 h 378823"/>
              <a:gd name="connsiteX2" fmla="*/ 1293222 w 1293222"/>
              <a:gd name="connsiteY2" fmla="*/ 0 h 378823"/>
              <a:gd name="connsiteX3" fmla="*/ 0 w 1293222"/>
              <a:gd name="connsiteY3" fmla="*/ 130629 h 378823"/>
              <a:gd name="connsiteX4" fmla="*/ 71845 w 1293222"/>
              <a:gd name="connsiteY4" fmla="*/ 378823 h 378823"/>
              <a:gd name="connsiteX0" fmla="*/ 65313 w 1293222"/>
              <a:gd name="connsiteY0" fmla="*/ 398417 h 398417"/>
              <a:gd name="connsiteX1" fmla="*/ 1293222 w 1293222"/>
              <a:gd name="connsiteY1" fmla="*/ 182880 h 398417"/>
              <a:gd name="connsiteX2" fmla="*/ 1293222 w 1293222"/>
              <a:gd name="connsiteY2" fmla="*/ 0 h 398417"/>
              <a:gd name="connsiteX3" fmla="*/ 0 w 1293222"/>
              <a:gd name="connsiteY3" fmla="*/ 130629 h 398417"/>
              <a:gd name="connsiteX4" fmla="*/ 65313 w 1293222"/>
              <a:gd name="connsiteY4" fmla="*/ 398417 h 398417"/>
              <a:gd name="connsiteX0" fmla="*/ 104663 w 1332572"/>
              <a:gd name="connsiteY0" fmla="*/ 488407 h 488407"/>
              <a:gd name="connsiteX1" fmla="*/ 1332572 w 1332572"/>
              <a:gd name="connsiteY1" fmla="*/ 272870 h 488407"/>
              <a:gd name="connsiteX2" fmla="*/ 1332572 w 1332572"/>
              <a:gd name="connsiteY2" fmla="*/ 89990 h 488407"/>
              <a:gd name="connsiteX3" fmla="*/ 0 w 1332572"/>
              <a:gd name="connsiteY3" fmla="*/ 0 h 488407"/>
              <a:gd name="connsiteX4" fmla="*/ 104663 w 1332572"/>
              <a:gd name="connsiteY4" fmla="*/ 488407 h 488407"/>
              <a:gd name="connsiteX0" fmla="*/ 58754 w 1286663"/>
              <a:gd name="connsiteY0" fmla="*/ 488407 h 488407"/>
              <a:gd name="connsiteX1" fmla="*/ 1286663 w 1286663"/>
              <a:gd name="connsiteY1" fmla="*/ 272870 h 488407"/>
              <a:gd name="connsiteX2" fmla="*/ 1286663 w 1286663"/>
              <a:gd name="connsiteY2" fmla="*/ 89990 h 488407"/>
              <a:gd name="connsiteX3" fmla="*/ 0 w 1286663"/>
              <a:gd name="connsiteY3" fmla="*/ 0 h 488407"/>
              <a:gd name="connsiteX4" fmla="*/ 58754 w 1286663"/>
              <a:gd name="connsiteY4" fmla="*/ 488407 h 488407"/>
              <a:gd name="connsiteX0" fmla="*/ 58754 w 1293221"/>
              <a:gd name="connsiteY0" fmla="*/ 574912 h 574912"/>
              <a:gd name="connsiteX1" fmla="*/ 1286663 w 1293221"/>
              <a:gd name="connsiteY1" fmla="*/ 359375 h 574912"/>
              <a:gd name="connsiteX2" fmla="*/ 1293221 w 1293221"/>
              <a:gd name="connsiteY2" fmla="*/ 0 h 574912"/>
              <a:gd name="connsiteX3" fmla="*/ 0 w 1293221"/>
              <a:gd name="connsiteY3" fmla="*/ 86505 h 574912"/>
              <a:gd name="connsiteX4" fmla="*/ 58754 w 1293221"/>
              <a:gd name="connsiteY4" fmla="*/ 574912 h 574912"/>
              <a:gd name="connsiteX0" fmla="*/ 58754 w 1470298"/>
              <a:gd name="connsiteY0" fmla="*/ 574912 h 574912"/>
              <a:gd name="connsiteX1" fmla="*/ 1470298 w 1470298"/>
              <a:gd name="connsiteY1" fmla="*/ 561083 h 574912"/>
              <a:gd name="connsiteX2" fmla="*/ 1293221 w 1470298"/>
              <a:gd name="connsiteY2" fmla="*/ 0 h 574912"/>
              <a:gd name="connsiteX3" fmla="*/ 0 w 1470298"/>
              <a:gd name="connsiteY3" fmla="*/ 86505 h 574912"/>
              <a:gd name="connsiteX4" fmla="*/ 58754 w 1470298"/>
              <a:gd name="connsiteY4" fmla="*/ 574912 h 574912"/>
              <a:gd name="connsiteX0" fmla="*/ 65313 w 1470298"/>
              <a:gd name="connsiteY0" fmla="*/ 795531 h 795531"/>
              <a:gd name="connsiteX1" fmla="*/ 1470298 w 1470298"/>
              <a:gd name="connsiteY1" fmla="*/ 561083 h 795531"/>
              <a:gd name="connsiteX2" fmla="*/ 1293221 w 1470298"/>
              <a:gd name="connsiteY2" fmla="*/ 0 h 795531"/>
              <a:gd name="connsiteX3" fmla="*/ 0 w 1470298"/>
              <a:gd name="connsiteY3" fmla="*/ 86505 h 795531"/>
              <a:gd name="connsiteX4" fmla="*/ 65313 w 1470298"/>
              <a:gd name="connsiteY4" fmla="*/ 795531 h 795531"/>
              <a:gd name="connsiteX0" fmla="*/ 65313 w 1844126"/>
              <a:gd name="connsiteY0" fmla="*/ 795531 h 795531"/>
              <a:gd name="connsiteX1" fmla="*/ 1844126 w 1844126"/>
              <a:gd name="connsiteY1" fmla="*/ 504352 h 795531"/>
              <a:gd name="connsiteX2" fmla="*/ 1293221 w 1844126"/>
              <a:gd name="connsiteY2" fmla="*/ 0 h 795531"/>
              <a:gd name="connsiteX3" fmla="*/ 0 w 1844126"/>
              <a:gd name="connsiteY3" fmla="*/ 86505 h 795531"/>
              <a:gd name="connsiteX4" fmla="*/ 65313 w 1844126"/>
              <a:gd name="connsiteY4" fmla="*/ 795531 h 795531"/>
              <a:gd name="connsiteX0" fmla="*/ 65313 w 1844126"/>
              <a:gd name="connsiteY0" fmla="*/ 845958 h 845958"/>
              <a:gd name="connsiteX1" fmla="*/ 1844126 w 1844126"/>
              <a:gd name="connsiteY1" fmla="*/ 554779 h 845958"/>
              <a:gd name="connsiteX2" fmla="*/ 1621141 w 1844126"/>
              <a:gd name="connsiteY2" fmla="*/ 0 h 845958"/>
              <a:gd name="connsiteX3" fmla="*/ 0 w 1844126"/>
              <a:gd name="connsiteY3" fmla="*/ 136932 h 845958"/>
              <a:gd name="connsiteX4" fmla="*/ 65313 w 1844126"/>
              <a:gd name="connsiteY4" fmla="*/ 845958 h 845958"/>
              <a:gd name="connsiteX0" fmla="*/ 65313 w 1844126"/>
              <a:gd name="connsiteY0" fmla="*/ 864868 h 864868"/>
              <a:gd name="connsiteX1" fmla="*/ 1844126 w 1844126"/>
              <a:gd name="connsiteY1" fmla="*/ 573689 h 864868"/>
              <a:gd name="connsiteX2" fmla="*/ 1621141 w 1844126"/>
              <a:gd name="connsiteY2" fmla="*/ 0 h 864868"/>
              <a:gd name="connsiteX3" fmla="*/ 0 w 1844126"/>
              <a:gd name="connsiteY3" fmla="*/ 155842 h 864868"/>
              <a:gd name="connsiteX4" fmla="*/ 65313 w 1844126"/>
              <a:gd name="connsiteY4" fmla="*/ 864868 h 864868"/>
              <a:gd name="connsiteX0" fmla="*/ 65313 w 1686724"/>
              <a:gd name="connsiteY0" fmla="*/ 864868 h 864868"/>
              <a:gd name="connsiteX1" fmla="*/ 1686724 w 1686724"/>
              <a:gd name="connsiteY1" fmla="*/ 561082 h 864868"/>
              <a:gd name="connsiteX2" fmla="*/ 1621141 w 1686724"/>
              <a:gd name="connsiteY2" fmla="*/ 0 h 864868"/>
              <a:gd name="connsiteX3" fmla="*/ 0 w 1686724"/>
              <a:gd name="connsiteY3" fmla="*/ 155842 h 864868"/>
              <a:gd name="connsiteX4" fmla="*/ 65313 w 1686724"/>
              <a:gd name="connsiteY4" fmla="*/ 864868 h 864868"/>
              <a:gd name="connsiteX0" fmla="*/ 39079 w 1660490"/>
              <a:gd name="connsiteY0" fmla="*/ 864868 h 864868"/>
              <a:gd name="connsiteX1" fmla="*/ 1660490 w 1660490"/>
              <a:gd name="connsiteY1" fmla="*/ 561082 h 864868"/>
              <a:gd name="connsiteX2" fmla="*/ 1594907 w 1660490"/>
              <a:gd name="connsiteY2" fmla="*/ 0 h 864868"/>
              <a:gd name="connsiteX3" fmla="*/ 0 w 1660490"/>
              <a:gd name="connsiteY3" fmla="*/ 351248 h 864868"/>
              <a:gd name="connsiteX4" fmla="*/ 39079 w 1660490"/>
              <a:gd name="connsiteY4" fmla="*/ 864868 h 864868"/>
              <a:gd name="connsiteX0" fmla="*/ 39079 w 1857243"/>
              <a:gd name="connsiteY0" fmla="*/ 719889 h 719889"/>
              <a:gd name="connsiteX1" fmla="*/ 1660490 w 1857243"/>
              <a:gd name="connsiteY1" fmla="*/ 416103 h 719889"/>
              <a:gd name="connsiteX2" fmla="*/ 1857243 w 1857243"/>
              <a:gd name="connsiteY2" fmla="*/ 0 h 719889"/>
              <a:gd name="connsiteX3" fmla="*/ 0 w 1857243"/>
              <a:gd name="connsiteY3" fmla="*/ 206269 h 719889"/>
              <a:gd name="connsiteX4" fmla="*/ 39079 w 1857243"/>
              <a:gd name="connsiteY4" fmla="*/ 719889 h 719889"/>
              <a:gd name="connsiteX0" fmla="*/ 39079 w 1909709"/>
              <a:gd name="connsiteY0" fmla="*/ 719889 h 719889"/>
              <a:gd name="connsiteX1" fmla="*/ 1909709 w 1909709"/>
              <a:gd name="connsiteY1" fmla="*/ 208090 h 719889"/>
              <a:gd name="connsiteX2" fmla="*/ 1857243 w 1909709"/>
              <a:gd name="connsiteY2" fmla="*/ 0 h 719889"/>
              <a:gd name="connsiteX3" fmla="*/ 0 w 1909709"/>
              <a:gd name="connsiteY3" fmla="*/ 206269 h 719889"/>
              <a:gd name="connsiteX4" fmla="*/ 39079 w 1909709"/>
              <a:gd name="connsiteY4" fmla="*/ 719889 h 719889"/>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206269 h 511876"/>
              <a:gd name="connsiteX4" fmla="*/ 39079 w 1909709"/>
              <a:gd name="connsiteY4" fmla="*/ 511876 h 511876"/>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121173 h 511876"/>
              <a:gd name="connsiteX4" fmla="*/ 39079 w 1909709"/>
              <a:gd name="connsiteY4" fmla="*/ 511876 h 511876"/>
              <a:gd name="connsiteX0" fmla="*/ 39079 w 1857243"/>
              <a:gd name="connsiteY0" fmla="*/ 511876 h 511876"/>
              <a:gd name="connsiteX1" fmla="*/ 1748372 w 1857243"/>
              <a:gd name="connsiteY1" fmla="*/ 309201 h 511876"/>
              <a:gd name="connsiteX2" fmla="*/ 1857243 w 1857243"/>
              <a:gd name="connsiteY2" fmla="*/ 0 h 511876"/>
              <a:gd name="connsiteX3" fmla="*/ 0 w 1857243"/>
              <a:gd name="connsiteY3" fmla="*/ 121173 h 511876"/>
              <a:gd name="connsiteX4" fmla="*/ 39079 w 1857243"/>
              <a:gd name="connsiteY4" fmla="*/ 511876 h 511876"/>
              <a:gd name="connsiteX0" fmla="*/ 39079 w 1748372"/>
              <a:gd name="connsiteY0" fmla="*/ 499237 h 499237"/>
              <a:gd name="connsiteX1" fmla="*/ 1748372 w 1748372"/>
              <a:gd name="connsiteY1" fmla="*/ 296562 h 499237"/>
              <a:gd name="connsiteX2" fmla="*/ 1723965 w 1748372"/>
              <a:gd name="connsiteY2" fmla="*/ 0 h 499237"/>
              <a:gd name="connsiteX3" fmla="*/ 0 w 1748372"/>
              <a:gd name="connsiteY3" fmla="*/ 108534 h 499237"/>
              <a:gd name="connsiteX4" fmla="*/ 39079 w 1748372"/>
              <a:gd name="connsiteY4" fmla="*/ 499237 h 499237"/>
              <a:gd name="connsiteX0" fmla="*/ 95196 w 1748372"/>
              <a:gd name="connsiteY0" fmla="*/ 451841 h 451841"/>
              <a:gd name="connsiteX1" fmla="*/ 1748372 w 1748372"/>
              <a:gd name="connsiteY1" fmla="*/ 296562 h 451841"/>
              <a:gd name="connsiteX2" fmla="*/ 1723965 w 1748372"/>
              <a:gd name="connsiteY2" fmla="*/ 0 h 451841"/>
              <a:gd name="connsiteX3" fmla="*/ 0 w 1748372"/>
              <a:gd name="connsiteY3" fmla="*/ 108534 h 451841"/>
              <a:gd name="connsiteX4" fmla="*/ 95196 w 1748372"/>
              <a:gd name="connsiteY4" fmla="*/ 451841 h 451841"/>
              <a:gd name="connsiteX0" fmla="*/ 95196 w 1723965"/>
              <a:gd name="connsiteY0" fmla="*/ 451841 h 451841"/>
              <a:gd name="connsiteX1" fmla="*/ 1713299 w 1723965"/>
              <a:gd name="connsiteY1" fmla="*/ 315520 h 451841"/>
              <a:gd name="connsiteX2" fmla="*/ 1723965 w 1723965"/>
              <a:gd name="connsiteY2" fmla="*/ 0 h 451841"/>
              <a:gd name="connsiteX3" fmla="*/ 0 w 1723965"/>
              <a:gd name="connsiteY3" fmla="*/ 108534 h 451841"/>
              <a:gd name="connsiteX4" fmla="*/ 95196 w 1723965"/>
              <a:gd name="connsiteY4" fmla="*/ 451841 h 451841"/>
              <a:gd name="connsiteX0" fmla="*/ 95196 w 1713299"/>
              <a:gd name="connsiteY0" fmla="*/ 455001 h 455001"/>
              <a:gd name="connsiteX1" fmla="*/ 1713299 w 1713299"/>
              <a:gd name="connsiteY1" fmla="*/ 318680 h 455001"/>
              <a:gd name="connsiteX2" fmla="*/ 1667848 w 1713299"/>
              <a:gd name="connsiteY2" fmla="*/ 0 h 455001"/>
              <a:gd name="connsiteX3" fmla="*/ 0 w 1713299"/>
              <a:gd name="connsiteY3" fmla="*/ 111694 h 455001"/>
              <a:gd name="connsiteX4" fmla="*/ 95196 w 1713299"/>
              <a:gd name="connsiteY4" fmla="*/ 455001 h 455001"/>
              <a:gd name="connsiteX0" fmla="*/ 67137 w 1685240"/>
              <a:gd name="connsiteY0" fmla="*/ 455001 h 455001"/>
              <a:gd name="connsiteX1" fmla="*/ 1685240 w 1685240"/>
              <a:gd name="connsiteY1" fmla="*/ 318680 h 455001"/>
              <a:gd name="connsiteX2" fmla="*/ 1639789 w 1685240"/>
              <a:gd name="connsiteY2" fmla="*/ 0 h 455001"/>
              <a:gd name="connsiteX3" fmla="*/ 0 w 1685240"/>
              <a:gd name="connsiteY3" fmla="*/ 130652 h 455001"/>
              <a:gd name="connsiteX4" fmla="*/ 67137 w 1685240"/>
              <a:gd name="connsiteY4" fmla="*/ 455001 h 455001"/>
              <a:gd name="connsiteX0" fmla="*/ 67137 w 1667473"/>
              <a:gd name="connsiteY0" fmla="*/ 455001 h 455001"/>
              <a:gd name="connsiteX1" fmla="*/ 1667473 w 1667473"/>
              <a:gd name="connsiteY1" fmla="*/ 242054 h 455001"/>
              <a:gd name="connsiteX2" fmla="*/ 1639789 w 1667473"/>
              <a:gd name="connsiteY2" fmla="*/ 0 h 455001"/>
              <a:gd name="connsiteX3" fmla="*/ 0 w 1667473"/>
              <a:gd name="connsiteY3" fmla="*/ 130652 h 455001"/>
              <a:gd name="connsiteX4" fmla="*/ 67137 w 1667473"/>
              <a:gd name="connsiteY4" fmla="*/ 455001 h 455001"/>
              <a:gd name="connsiteX0" fmla="*/ 100217 w 1700553"/>
              <a:gd name="connsiteY0" fmla="*/ 455001 h 455001"/>
              <a:gd name="connsiteX1" fmla="*/ 1700553 w 1700553"/>
              <a:gd name="connsiteY1" fmla="*/ 242054 h 455001"/>
              <a:gd name="connsiteX2" fmla="*/ 1672869 w 1700553"/>
              <a:gd name="connsiteY2" fmla="*/ 0 h 455001"/>
              <a:gd name="connsiteX3" fmla="*/ 0 w 1700553"/>
              <a:gd name="connsiteY3" fmla="*/ 205540 h 455001"/>
              <a:gd name="connsiteX4" fmla="*/ 100217 w 1700553"/>
              <a:gd name="connsiteY4" fmla="*/ 455001 h 455001"/>
              <a:gd name="connsiteX0" fmla="*/ 100217 w 1700553"/>
              <a:gd name="connsiteY0" fmla="*/ 366878 h 366878"/>
              <a:gd name="connsiteX1" fmla="*/ 1700553 w 1700553"/>
              <a:gd name="connsiteY1" fmla="*/ 153931 h 366878"/>
              <a:gd name="connsiteX2" fmla="*/ 1588975 w 1700553"/>
              <a:gd name="connsiteY2" fmla="*/ 0 h 366878"/>
              <a:gd name="connsiteX3" fmla="*/ 0 w 1700553"/>
              <a:gd name="connsiteY3" fmla="*/ 117417 h 366878"/>
              <a:gd name="connsiteX4" fmla="*/ 100217 w 1700553"/>
              <a:gd name="connsiteY4" fmla="*/ 366878 h 366878"/>
              <a:gd name="connsiteX0" fmla="*/ 115726 w 1700553"/>
              <a:gd name="connsiteY0" fmla="*/ 305211 h 305211"/>
              <a:gd name="connsiteX1" fmla="*/ 1700553 w 1700553"/>
              <a:gd name="connsiteY1" fmla="*/ 153931 h 305211"/>
              <a:gd name="connsiteX2" fmla="*/ 1588975 w 1700553"/>
              <a:gd name="connsiteY2" fmla="*/ 0 h 305211"/>
              <a:gd name="connsiteX3" fmla="*/ 0 w 1700553"/>
              <a:gd name="connsiteY3" fmla="*/ 117417 h 305211"/>
              <a:gd name="connsiteX4" fmla="*/ 115726 w 1700553"/>
              <a:gd name="connsiteY4" fmla="*/ 305211 h 305211"/>
              <a:gd name="connsiteX0" fmla="*/ 115726 w 1700553"/>
              <a:gd name="connsiteY0" fmla="*/ 321895 h 321895"/>
              <a:gd name="connsiteX1" fmla="*/ 1700553 w 1700553"/>
              <a:gd name="connsiteY1" fmla="*/ 170615 h 321895"/>
              <a:gd name="connsiteX2" fmla="*/ 1471607 w 1700553"/>
              <a:gd name="connsiteY2" fmla="*/ 0 h 321895"/>
              <a:gd name="connsiteX3" fmla="*/ 0 w 1700553"/>
              <a:gd name="connsiteY3" fmla="*/ 134101 h 321895"/>
              <a:gd name="connsiteX4" fmla="*/ 115726 w 1700553"/>
              <a:gd name="connsiteY4" fmla="*/ 321895 h 321895"/>
              <a:gd name="connsiteX0" fmla="*/ 115726 w 1581352"/>
              <a:gd name="connsiteY0" fmla="*/ 321895 h 321895"/>
              <a:gd name="connsiteX1" fmla="*/ 1581352 w 1581352"/>
              <a:gd name="connsiteY1" fmla="*/ 210307 h 321895"/>
              <a:gd name="connsiteX2" fmla="*/ 1471607 w 1581352"/>
              <a:gd name="connsiteY2" fmla="*/ 0 h 321895"/>
              <a:gd name="connsiteX3" fmla="*/ 0 w 1581352"/>
              <a:gd name="connsiteY3" fmla="*/ 134101 h 321895"/>
              <a:gd name="connsiteX4" fmla="*/ 115726 w 1581352"/>
              <a:gd name="connsiteY4" fmla="*/ 321895 h 321895"/>
              <a:gd name="connsiteX0" fmla="*/ 92298 w 1557924"/>
              <a:gd name="connsiteY0" fmla="*/ 321895 h 321895"/>
              <a:gd name="connsiteX1" fmla="*/ 1557924 w 1557924"/>
              <a:gd name="connsiteY1" fmla="*/ 210307 h 321895"/>
              <a:gd name="connsiteX2" fmla="*/ 1448179 w 1557924"/>
              <a:gd name="connsiteY2" fmla="*/ 0 h 321895"/>
              <a:gd name="connsiteX3" fmla="*/ 0 w 1557924"/>
              <a:gd name="connsiteY3" fmla="*/ 116473 h 321895"/>
              <a:gd name="connsiteX4" fmla="*/ 92298 w 1557924"/>
              <a:gd name="connsiteY4" fmla="*/ 321895 h 321895"/>
              <a:gd name="connsiteX0" fmla="*/ 152961 w 1557924"/>
              <a:gd name="connsiteY0" fmla="*/ 341247 h 341247"/>
              <a:gd name="connsiteX1" fmla="*/ 1557924 w 1557924"/>
              <a:gd name="connsiteY1" fmla="*/ 210307 h 341247"/>
              <a:gd name="connsiteX2" fmla="*/ 1448179 w 1557924"/>
              <a:gd name="connsiteY2" fmla="*/ 0 h 341247"/>
              <a:gd name="connsiteX3" fmla="*/ 0 w 1557924"/>
              <a:gd name="connsiteY3" fmla="*/ 116473 h 341247"/>
              <a:gd name="connsiteX4" fmla="*/ 152961 w 1557924"/>
              <a:gd name="connsiteY4" fmla="*/ 341247 h 341247"/>
              <a:gd name="connsiteX0" fmla="*/ 135357 w 1557924"/>
              <a:gd name="connsiteY0" fmla="*/ 339493 h 339493"/>
              <a:gd name="connsiteX1" fmla="*/ 1557924 w 1557924"/>
              <a:gd name="connsiteY1" fmla="*/ 210307 h 339493"/>
              <a:gd name="connsiteX2" fmla="*/ 1448179 w 1557924"/>
              <a:gd name="connsiteY2" fmla="*/ 0 h 339493"/>
              <a:gd name="connsiteX3" fmla="*/ 0 w 1557924"/>
              <a:gd name="connsiteY3" fmla="*/ 116473 h 339493"/>
              <a:gd name="connsiteX4" fmla="*/ 135357 w 1557924"/>
              <a:gd name="connsiteY4" fmla="*/ 339493 h 339493"/>
              <a:gd name="connsiteX0" fmla="*/ 109934 w 1532501"/>
              <a:gd name="connsiteY0" fmla="*/ 339493 h 339493"/>
              <a:gd name="connsiteX1" fmla="*/ 1532501 w 1532501"/>
              <a:gd name="connsiteY1" fmla="*/ 210307 h 339493"/>
              <a:gd name="connsiteX2" fmla="*/ 1422756 w 1532501"/>
              <a:gd name="connsiteY2" fmla="*/ 0 h 339493"/>
              <a:gd name="connsiteX3" fmla="*/ 0 w 1532501"/>
              <a:gd name="connsiteY3" fmla="*/ 117343 h 339493"/>
              <a:gd name="connsiteX4" fmla="*/ 109934 w 1532501"/>
              <a:gd name="connsiteY4" fmla="*/ 339493 h 339493"/>
              <a:gd name="connsiteX0" fmla="*/ 133525 w 1556092"/>
              <a:gd name="connsiteY0" fmla="*/ 339493 h 339493"/>
              <a:gd name="connsiteX1" fmla="*/ 1556092 w 1556092"/>
              <a:gd name="connsiteY1" fmla="*/ 210307 h 339493"/>
              <a:gd name="connsiteX2" fmla="*/ 1446347 w 1556092"/>
              <a:gd name="connsiteY2" fmla="*/ 0 h 339493"/>
              <a:gd name="connsiteX3" fmla="*/ 0 w 1556092"/>
              <a:gd name="connsiteY3" fmla="*/ 60098 h 339493"/>
              <a:gd name="connsiteX4" fmla="*/ 133525 w 1556092"/>
              <a:gd name="connsiteY4" fmla="*/ 339493 h 339493"/>
              <a:gd name="connsiteX0" fmla="*/ 133525 w 2343667"/>
              <a:gd name="connsiteY0" fmla="*/ 459688 h 459688"/>
              <a:gd name="connsiteX1" fmla="*/ 1556092 w 2343667"/>
              <a:gd name="connsiteY1" fmla="*/ 330502 h 459688"/>
              <a:gd name="connsiteX2" fmla="*/ 2343667 w 2343667"/>
              <a:gd name="connsiteY2" fmla="*/ 0 h 459688"/>
              <a:gd name="connsiteX3" fmla="*/ 0 w 2343667"/>
              <a:gd name="connsiteY3" fmla="*/ 180293 h 459688"/>
              <a:gd name="connsiteX4" fmla="*/ 133525 w 2343667"/>
              <a:gd name="connsiteY4" fmla="*/ 459688 h 459688"/>
              <a:gd name="connsiteX0" fmla="*/ 133525 w 2391079"/>
              <a:gd name="connsiteY0" fmla="*/ 459688 h 459688"/>
              <a:gd name="connsiteX1" fmla="*/ 2391079 w 2391079"/>
              <a:gd name="connsiteY1" fmla="*/ 322204 h 459688"/>
              <a:gd name="connsiteX2" fmla="*/ 2343667 w 2391079"/>
              <a:gd name="connsiteY2" fmla="*/ 0 h 459688"/>
              <a:gd name="connsiteX3" fmla="*/ 0 w 2391079"/>
              <a:gd name="connsiteY3" fmla="*/ 180293 h 459688"/>
              <a:gd name="connsiteX4" fmla="*/ 133525 w 2391079"/>
              <a:gd name="connsiteY4" fmla="*/ 459688 h 459688"/>
              <a:gd name="connsiteX0" fmla="*/ 159047 w 2391079"/>
              <a:gd name="connsiteY0" fmla="*/ 505482 h 505482"/>
              <a:gd name="connsiteX1" fmla="*/ 2391079 w 2391079"/>
              <a:gd name="connsiteY1" fmla="*/ 322204 h 505482"/>
              <a:gd name="connsiteX2" fmla="*/ 2343667 w 2391079"/>
              <a:gd name="connsiteY2" fmla="*/ 0 h 505482"/>
              <a:gd name="connsiteX3" fmla="*/ 0 w 2391079"/>
              <a:gd name="connsiteY3" fmla="*/ 180293 h 505482"/>
              <a:gd name="connsiteX4" fmla="*/ 159047 w 2391079"/>
              <a:gd name="connsiteY4" fmla="*/ 505482 h 505482"/>
              <a:gd name="connsiteX0" fmla="*/ 159047 w 2391079"/>
              <a:gd name="connsiteY0" fmla="*/ 518659 h 518659"/>
              <a:gd name="connsiteX1" fmla="*/ 2391079 w 2391079"/>
              <a:gd name="connsiteY1" fmla="*/ 335381 h 518659"/>
              <a:gd name="connsiteX2" fmla="*/ 2261507 w 2391079"/>
              <a:gd name="connsiteY2" fmla="*/ 0 h 518659"/>
              <a:gd name="connsiteX3" fmla="*/ 0 w 2391079"/>
              <a:gd name="connsiteY3" fmla="*/ 193470 h 518659"/>
              <a:gd name="connsiteX4" fmla="*/ 159047 w 2391079"/>
              <a:gd name="connsiteY4" fmla="*/ 518659 h 518659"/>
              <a:gd name="connsiteX0" fmla="*/ 159047 w 2513813"/>
              <a:gd name="connsiteY0" fmla="*/ 498511 h 498511"/>
              <a:gd name="connsiteX1" fmla="*/ 2391079 w 2513813"/>
              <a:gd name="connsiteY1" fmla="*/ 315233 h 498511"/>
              <a:gd name="connsiteX2" fmla="*/ 2513813 w 2513813"/>
              <a:gd name="connsiteY2" fmla="*/ 0 h 498511"/>
              <a:gd name="connsiteX3" fmla="*/ 0 w 2513813"/>
              <a:gd name="connsiteY3" fmla="*/ 173322 h 498511"/>
              <a:gd name="connsiteX4" fmla="*/ 159047 w 2513813"/>
              <a:gd name="connsiteY4" fmla="*/ 498511 h 498511"/>
              <a:gd name="connsiteX0" fmla="*/ 159047 w 2547383"/>
              <a:gd name="connsiteY0" fmla="*/ 498511 h 498511"/>
              <a:gd name="connsiteX1" fmla="*/ 2547383 w 2547383"/>
              <a:gd name="connsiteY1" fmla="*/ 252623 h 498511"/>
              <a:gd name="connsiteX2" fmla="*/ 2513813 w 2547383"/>
              <a:gd name="connsiteY2" fmla="*/ 0 h 498511"/>
              <a:gd name="connsiteX3" fmla="*/ 0 w 2547383"/>
              <a:gd name="connsiteY3" fmla="*/ 173322 h 498511"/>
              <a:gd name="connsiteX4" fmla="*/ 159047 w 2547383"/>
              <a:gd name="connsiteY4" fmla="*/ 498511 h 498511"/>
              <a:gd name="connsiteX0" fmla="*/ 164772 w 2553108"/>
              <a:gd name="connsiteY0" fmla="*/ 498511 h 498511"/>
              <a:gd name="connsiteX1" fmla="*/ 2553108 w 2553108"/>
              <a:gd name="connsiteY1" fmla="*/ 252623 h 498511"/>
              <a:gd name="connsiteX2" fmla="*/ 2519538 w 2553108"/>
              <a:gd name="connsiteY2" fmla="*/ 0 h 498511"/>
              <a:gd name="connsiteX3" fmla="*/ 0 w 2553108"/>
              <a:gd name="connsiteY3" fmla="*/ 237627 h 498511"/>
              <a:gd name="connsiteX4" fmla="*/ 164772 w 2553108"/>
              <a:gd name="connsiteY4" fmla="*/ 498511 h 498511"/>
              <a:gd name="connsiteX0" fmla="*/ 102113 w 2553108"/>
              <a:gd name="connsiteY0" fmla="*/ 460662 h 460662"/>
              <a:gd name="connsiteX1" fmla="*/ 2553108 w 2553108"/>
              <a:gd name="connsiteY1" fmla="*/ 252623 h 460662"/>
              <a:gd name="connsiteX2" fmla="*/ 2519538 w 2553108"/>
              <a:gd name="connsiteY2" fmla="*/ 0 h 460662"/>
              <a:gd name="connsiteX3" fmla="*/ 0 w 2553108"/>
              <a:gd name="connsiteY3" fmla="*/ 237627 h 460662"/>
              <a:gd name="connsiteX4" fmla="*/ 102113 w 2553108"/>
              <a:gd name="connsiteY4" fmla="*/ 460662 h 460662"/>
              <a:gd name="connsiteX0" fmla="*/ 102113 w 2553108"/>
              <a:gd name="connsiteY0" fmla="*/ 424537 h 424537"/>
              <a:gd name="connsiteX1" fmla="*/ 2553108 w 2553108"/>
              <a:gd name="connsiteY1" fmla="*/ 216498 h 424537"/>
              <a:gd name="connsiteX2" fmla="*/ 2498106 w 2553108"/>
              <a:gd name="connsiteY2" fmla="*/ 0 h 424537"/>
              <a:gd name="connsiteX3" fmla="*/ 0 w 2553108"/>
              <a:gd name="connsiteY3" fmla="*/ 201502 h 424537"/>
              <a:gd name="connsiteX4" fmla="*/ 102113 w 2553108"/>
              <a:gd name="connsiteY4" fmla="*/ 424537 h 424537"/>
              <a:gd name="connsiteX0" fmla="*/ 90333 w 2553108"/>
              <a:gd name="connsiteY0" fmla="*/ 403402 h 403402"/>
              <a:gd name="connsiteX1" fmla="*/ 2553108 w 2553108"/>
              <a:gd name="connsiteY1" fmla="*/ 216498 h 403402"/>
              <a:gd name="connsiteX2" fmla="*/ 2498106 w 2553108"/>
              <a:gd name="connsiteY2" fmla="*/ 0 h 403402"/>
              <a:gd name="connsiteX3" fmla="*/ 0 w 2553108"/>
              <a:gd name="connsiteY3" fmla="*/ 201502 h 403402"/>
              <a:gd name="connsiteX4" fmla="*/ 90333 w 2553108"/>
              <a:gd name="connsiteY4" fmla="*/ 403402 h 403402"/>
              <a:gd name="connsiteX0" fmla="*/ 60951 w 2523726"/>
              <a:gd name="connsiteY0" fmla="*/ 403402 h 403402"/>
              <a:gd name="connsiteX1" fmla="*/ 2523726 w 2523726"/>
              <a:gd name="connsiteY1" fmla="*/ 216498 h 403402"/>
              <a:gd name="connsiteX2" fmla="*/ 2468724 w 2523726"/>
              <a:gd name="connsiteY2" fmla="*/ 0 h 403402"/>
              <a:gd name="connsiteX3" fmla="*/ 0 w 2523726"/>
              <a:gd name="connsiteY3" fmla="*/ 224392 h 403402"/>
              <a:gd name="connsiteX4" fmla="*/ 60951 w 2523726"/>
              <a:gd name="connsiteY4" fmla="*/ 403402 h 40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3726" h="403402">
                <a:moveTo>
                  <a:pt x="60951" y="403402"/>
                </a:moveTo>
                <a:lnTo>
                  <a:pt x="2523726" y="216498"/>
                </a:lnTo>
                <a:lnTo>
                  <a:pt x="2468724" y="0"/>
                </a:lnTo>
                <a:lnTo>
                  <a:pt x="0" y="224392"/>
                </a:lnTo>
                <a:lnTo>
                  <a:pt x="60951" y="403402"/>
                </a:lnTo>
                <a:close/>
              </a:path>
            </a:pathLst>
          </a:custGeom>
          <a:solidFill>
            <a:schemeClr val="bg1"/>
          </a:solidFill>
          <a:ln>
            <a:noFill/>
          </a:ln>
          <a:effectLst>
            <a:outerShdw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solidFill>
                <a:schemeClr val="accent4"/>
              </a:solidFill>
            </a:endParaRPr>
          </a:p>
        </p:txBody>
      </p:sp>
      <p:sp>
        <p:nvSpPr>
          <p:cNvPr id="19" name="TextBox 9">
            <a:extLst>
              <a:ext uri="{FF2B5EF4-FFF2-40B4-BE49-F238E27FC236}">
                <a16:creationId xmlns:a16="http://schemas.microsoft.com/office/drawing/2014/main" id="{B28FC9AE-A012-429A-BE06-55E8BFBF8DB0}"/>
              </a:ext>
            </a:extLst>
          </p:cNvPr>
          <p:cNvSpPr txBox="1">
            <a:spLocks noChangeArrowheads="1"/>
          </p:cNvSpPr>
          <p:nvPr/>
        </p:nvSpPr>
        <p:spPr bwMode="auto">
          <a:xfrm>
            <a:off x="224576" y="678307"/>
            <a:ext cx="2953988" cy="369332"/>
          </a:xfrm>
          <a:prstGeom prst="rect">
            <a:avLst/>
          </a:prstGeom>
          <a:noFill/>
          <a:ln w="9525">
            <a:noFill/>
            <a:miter lim="800000"/>
            <a:headEnd/>
            <a:tailEnd/>
          </a:ln>
          <a:effectLst/>
        </p:spPr>
        <p:txBody>
          <a:bodyPr wrap="square" lIns="0">
            <a:spAutoFit/>
          </a:bodyPr>
          <a:lstStyle/>
          <a:p>
            <a:pPr marL="3174">
              <a:lnSpc>
                <a:spcPct val="90000"/>
              </a:lnSpc>
              <a:spcBef>
                <a:spcPts val="1200"/>
              </a:spcBef>
              <a:buClr>
                <a:srgbClr val="5C5C5C"/>
              </a:buClr>
              <a:buSzPct val="80000"/>
            </a:pPr>
            <a:r>
              <a:rPr lang="nl-BE" sz="2000" b="1" dirty="0">
                <a:solidFill>
                  <a:srgbClr val="5C2483"/>
                </a:solidFill>
                <a:latin typeface="Amaranth" panose="02000503000000020004" pitchFamily="50" charset="0"/>
                <a:cs typeface="Arial" panose="020B0604020202020204" pitchFamily="34" charset="0"/>
              </a:rPr>
              <a:t>Opbouw &amp; differentiatie</a:t>
            </a:r>
          </a:p>
        </p:txBody>
      </p:sp>
    </p:spTree>
    <p:extLst>
      <p:ext uri="{BB962C8B-B14F-4D97-AF65-F5344CB8AC3E}">
        <p14:creationId xmlns:p14="http://schemas.microsoft.com/office/powerpoint/2010/main" val="8946561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89986FEF-79DE-4104-B261-141B66E5C66E}"/>
              </a:ext>
            </a:extLst>
          </p:cNvPr>
          <p:cNvPicPr>
            <a:picLocks noChangeAspect="1"/>
          </p:cNvPicPr>
          <p:nvPr/>
        </p:nvPicPr>
        <p:blipFill>
          <a:blip r:embed="rId5"/>
          <a:stretch>
            <a:fillRect/>
          </a:stretch>
        </p:blipFill>
        <p:spPr>
          <a:xfrm>
            <a:off x="0" y="-23958"/>
            <a:ext cx="5460086" cy="6891957"/>
          </a:xfrm>
          <a:prstGeom prst="rect">
            <a:avLst/>
          </a:prstGeom>
        </p:spPr>
      </p:pic>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62" name="think-cell Slide" r:id="rId6" imgW="353" imgH="353" progId="TCLayout.ActiveDocument.1">
                  <p:embed/>
                </p:oleObj>
              </mc:Choice>
              <mc:Fallback>
                <p:oleObj name="think-cell Slide" r:id="rId6" imgW="353" imgH="353"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grpSp>
        <p:nvGrpSpPr>
          <p:cNvPr id="3" name="Group 2"/>
          <p:cNvGrpSpPr/>
          <p:nvPr/>
        </p:nvGrpSpPr>
        <p:grpSpPr>
          <a:xfrm>
            <a:off x="4531360" y="-23958"/>
            <a:ext cx="7819666" cy="6881958"/>
            <a:chOff x="3831952" y="0"/>
            <a:chExt cx="9301653" cy="6884275"/>
          </a:xfrm>
          <a:solidFill>
            <a:srgbClr val="5C2483"/>
          </a:solidFill>
        </p:grpSpPr>
        <p:sp>
          <p:nvSpPr>
            <p:cNvPr id="17" name="Freeform: Shape 16"/>
            <p:cNvSpPr/>
            <p:nvPr/>
          </p:nvSpPr>
          <p:spPr>
            <a:xfrm flipH="1">
              <a:off x="3831952" y="0"/>
              <a:ext cx="9301653" cy="6884275"/>
            </a:xfrm>
            <a:custGeom>
              <a:avLst/>
              <a:gdLst>
                <a:gd name="connsiteX0" fmla="*/ 0 w 6768662"/>
                <a:gd name="connsiteY0" fmla="*/ 0 h 6873765"/>
                <a:gd name="connsiteX1" fmla="*/ 6001407 w 6768662"/>
                <a:gd name="connsiteY1" fmla="*/ 0 h 6873765"/>
                <a:gd name="connsiteX2" fmla="*/ 6768662 w 6768662"/>
                <a:gd name="connsiteY2" fmla="*/ 0 h 6873765"/>
                <a:gd name="connsiteX3" fmla="*/ 5570482 w 6768662"/>
                <a:gd name="connsiteY3" fmla="*/ 6873765 h 6873765"/>
                <a:gd name="connsiteX4" fmla="*/ 10510 w 6768662"/>
                <a:gd name="connsiteY4" fmla="*/ 6873765 h 6873765"/>
                <a:gd name="connsiteX5" fmla="*/ 10510 w 6768662"/>
                <a:gd name="connsiteY5" fmla="*/ 0 h 6873765"/>
                <a:gd name="connsiteX6" fmla="*/ 0 w 6768662"/>
                <a:gd name="connsiteY6" fmla="*/ 0 h 6873765"/>
                <a:gd name="connsiteX0" fmla="*/ 0 w 6768662"/>
                <a:gd name="connsiteY0" fmla="*/ 0 h 6873765"/>
                <a:gd name="connsiteX1" fmla="*/ 6001407 w 6768662"/>
                <a:gd name="connsiteY1" fmla="*/ 0 h 6873765"/>
                <a:gd name="connsiteX2" fmla="*/ 6768662 w 6768662"/>
                <a:gd name="connsiteY2" fmla="*/ 0 h 6873765"/>
                <a:gd name="connsiteX3" fmla="*/ 5202620 w 6768662"/>
                <a:gd name="connsiteY3" fmla="*/ 6863255 h 6873765"/>
                <a:gd name="connsiteX4" fmla="*/ 10510 w 6768662"/>
                <a:gd name="connsiteY4" fmla="*/ 6873765 h 6873765"/>
                <a:gd name="connsiteX5" fmla="*/ 10510 w 6768662"/>
                <a:gd name="connsiteY5" fmla="*/ 0 h 6873765"/>
                <a:gd name="connsiteX6" fmla="*/ 0 w 6768662"/>
                <a:gd name="connsiteY6" fmla="*/ 0 h 6873765"/>
                <a:gd name="connsiteX0" fmla="*/ 0 w 6768662"/>
                <a:gd name="connsiteY0" fmla="*/ 0 h 6873765"/>
                <a:gd name="connsiteX1" fmla="*/ 6001407 w 6768662"/>
                <a:gd name="connsiteY1" fmla="*/ 0 h 6873765"/>
                <a:gd name="connsiteX2" fmla="*/ 6768662 w 6768662"/>
                <a:gd name="connsiteY2" fmla="*/ 0 h 6873765"/>
                <a:gd name="connsiteX3" fmla="*/ 5160579 w 6768662"/>
                <a:gd name="connsiteY3" fmla="*/ 6873765 h 6873765"/>
                <a:gd name="connsiteX4" fmla="*/ 10510 w 6768662"/>
                <a:gd name="connsiteY4" fmla="*/ 6873765 h 6873765"/>
                <a:gd name="connsiteX5" fmla="*/ 10510 w 6768662"/>
                <a:gd name="connsiteY5" fmla="*/ 0 h 6873765"/>
                <a:gd name="connsiteX6" fmla="*/ 0 w 6768662"/>
                <a:gd name="connsiteY6" fmla="*/ 0 h 6873765"/>
                <a:gd name="connsiteX0" fmla="*/ 0 w 6768662"/>
                <a:gd name="connsiteY0" fmla="*/ 0 h 6873765"/>
                <a:gd name="connsiteX1" fmla="*/ 6768662 w 6768662"/>
                <a:gd name="connsiteY1" fmla="*/ 0 h 6873765"/>
                <a:gd name="connsiteX2" fmla="*/ 5160579 w 6768662"/>
                <a:gd name="connsiteY2" fmla="*/ 6873765 h 6873765"/>
                <a:gd name="connsiteX3" fmla="*/ 10510 w 6768662"/>
                <a:gd name="connsiteY3" fmla="*/ 6873765 h 6873765"/>
                <a:gd name="connsiteX4" fmla="*/ 10510 w 6768662"/>
                <a:gd name="connsiteY4" fmla="*/ 0 h 6873765"/>
                <a:gd name="connsiteX5" fmla="*/ 0 w 6768662"/>
                <a:gd name="connsiteY5" fmla="*/ 0 h 6873765"/>
                <a:gd name="connsiteX0" fmla="*/ 0 w 6768662"/>
                <a:gd name="connsiteY0" fmla="*/ 0 h 6884275"/>
                <a:gd name="connsiteX1" fmla="*/ 6768662 w 6768662"/>
                <a:gd name="connsiteY1" fmla="*/ 0 h 6884275"/>
                <a:gd name="connsiteX2" fmla="*/ 5500399 w 6768662"/>
                <a:gd name="connsiteY2" fmla="*/ 6884275 h 6884275"/>
                <a:gd name="connsiteX3" fmla="*/ 10510 w 6768662"/>
                <a:gd name="connsiteY3" fmla="*/ 6873765 h 6884275"/>
                <a:gd name="connsiteX4" fmla="*/ 10510 w 6768662"/>
                <a:gd name="connsiteY4" fmla="*/ 0 h 6884275"/>
                <a:gd name="connsiteX5" fmla="*/ 0 w 6768662"/>
                <a:gd name="connsiteY5" fmla="*/ 0 h 6884275"/>
                <a:gd name="connsiteX0" fmla="*/ 0 w 6269334"/>
                <a:gd name="connsiteY0" fmla="*/ 0 h 6884275"/>
                <a:gd name="connsiteX1" fmla="*/ 6269334 w 6269334"/>
                <a:gd name="connsiteY1" fmla="*/ 0 h 6884275"/>
                <a:gd name="connsiteX2" fmla="*/ 5500399 w 6269334"/>
                <a:gd name="connsiteY2" fmla="*/ 6884275 h 6884275"/>
                <a:gd name="connsiteX3" fmla="*/ 10510 w 6269334"/>
                <a:gd name="connsiteY3" fmla="*/ 6873765 h 6884275"/>
                <a:gd name="connsiteX4" fmla="*/ 10510 w 6269334"/>
                <a:gd name="connsiteY4" fmla="*/ 0 h 6884275"/>
                <a:gd name="connsiteX5" fmla="*/ 0 w 6269334"/>
                <a:gd name="connsiteY5" fmla="*/ 0 h 6884275"/>
                <a:gd name="connsiteX0" fmla="*/ 0 w 6137567"/>
                <a:gd name="connsiteY0" fmla="*/ 0 h 6884275"/>
                <a:gd name="connsiteX1" fmla="*/ 6137567 w 6137567"/>
                <a:gd name="connsiteY1" fmla="*/ 0 h 6884275"/>
                <a:gd name="connsiteX2" fmla="*/ 5500399 w 6137567"/>
                <a:gd name="connsiteY2" fmla="*/ 6884275 h 6884275"/>
                <a:gd name="connsiteX3" fmla="*/ 10510 w 6137567"/>
                <a:gd name="connsiteY3" fmla="*/ 6873765 h 6884275"/>
                <a:gd name="connsiteX4" fmla="*/ 10510 w 6137567"/>
                <a:gd name="connsiteY4" fmla="*/ 0 h 6884275"/>
                <a:gd name="connsiteX5" fmla="*/ 0 w 6137567"/>
                <a:gd name="connsiteY5" fmla="*/ 0 h 6884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37567" h="6884275">
                  <a:moveTo>
                    <a:pt x="0" y="0"/>
                  </a:moveTo>
                  <a:lnTo>
                    <a:pt x="6137567" y="0"/>
                  </a:lnTo>
                  <a:lnTo>
                    <a:pt x="5500399" y="6884275"/>
                  </a:lnTo>
                  <a:lnTo>
                    <a:pt x="10510" y="6873765"/>
                  </a:lnTo>
                  <a:lnTo>
                    <a:pt x="10510" y="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b="1" dirty="0"/>
            </a:p>
          </p:txBody>
        </p:sp>
        <p:sp>
          <p:nvSpPr>
            <p:cNvPr id="12" name="TextBox 11"/>
            <p:cNvSpPr txBox="1"/>
            <p:nvPr/>
          </p:nvSpPr>
          <p:spPr>
            <a:xfrm>
              <a:off x="5164508" y="445978"/>
              <a:ext cx="7472669" cy="646331"/>
            </a:xfrm>
            <a:prstGeom prst="rect">
              <a:avLst/>
            </a:prstGeom>
            <a:grpFill/>
          </p:spPr>
          <p:txBody>
            <a:bodyPr wrap="square" rtlCol="0" anchor="b" anchorCtr="0">
              <a:spAutoFit/>
            </a:bodyPr>
            <a:lstStyle/>
            <a:p>
              <a:pPr>
                <a:lnSpc>
                  <a:spcPct val="90000"/>
                </a:lnSpc>
                <a:tabLst>
                  <a:tab pos="1971675" algn="l"/>
                </a:tabLst>
              </a:pPr>
              <a:r>
                <a:rPr lang="nl-BE" sz="4000" dirty="0">
                  <a:solidFill>
                    <a:schemeClr val="bg1"/>
                  </a:solidFill>
                  <a:latin typeface="Amaranth" panose="02000503000000020004" pitchFamily="50" charset="0"/>
                  <a:cs typeface="Arial" panose="020B0604020202020204" pitchFamily="34" charset="0"/>
                </a:rPr>
                <a:t>Overzicht ankers</a:t>
              </a:r>
            </a:p>
          </p:txBody>
        </p:sp>
      </p:grpSp>
      <p:graphicFrame>
        <p:nvGraphicFramePr>
          <p:cNvPr id="15" name="Tabel 1"/>
          <p:cNvGraphicFramePr>
            <a:graphicFrameLocks noGrp="1"/>
          </p:cNvGraphicFramePr>
          <p:nvPr>
            <p:extLst>
              <p:ext uri="{D42A27DB-BD31-4B8C-83A1-F6EECF244321}">
                <p14:modId xmlns:p14="http://schemas.microsoft.com/office/powerpoint/2010/main" val="3938877474"/>
              </p:ext>
            </p:extLst>
          </p:nvPr>
        </p:nvGraphicFramePr>
        <p:xfrm>
          <a:off x="5789540" y="1211525"/>
          <a:ext cx="5774046" cy="4821551"/>
        </p:xfrm>
        <a:graphic>
          <a:graphicData uri="http://schemas.openxmlformats.org/drawingml/2006/table">
            <a:tbl>
              <a:tblPr/>
              <a:tblGrid>
                <a:gridCol w="1899182">
                  <a:extLst>
                    <a:ext uri="{9D8B030D-6E8A-4147-A177-3AD203B41FA5}">
                      <a16:colId xmlns:a16="http://schemas.microsoft.com/office/drawing/2014/main" val="20000"/>
                    </a:ext>
                  </a:extLst>
                </a:gridCol>
                <a:gridCol w="3874864">
                  <a:extLst>
                    <a:ext uri="{9D8B030D-6E8A-4147-A177-3AD203B41FA5}">
                      <a16:colId xmlns:a16="http://schemas.microsoft.com/office/drawing/2014/main" val="20001"/>
                    </a:ext>
                  </a:extLst>
                </a:gridCol>
              </a:tblGrid>
              <a:tr h="291394">
                <a:tc>
                  <a:txBody>
                    <a:bodyPr/>
                    <a:lstStyle/>
                    <a:p>
                      <a:pPr algn="ctr"/>
                      <a:r>
                        <a:rPr lang="nl-BE" sz="2200" b="1" i="0" dirty="0">
                          <a:solidFill>
                            <a:schemeClr val="tx1">
                              <a:lumMod val="75000"/>
                              <a:lumOff val="25000"/>
                            </a:schemeClr>
                          </a:solidFill>
                          <a:latin typeface="+mn-lt"/>
                          <a:cs typeface="Arial" panose="020B0604020202020204" pitchFamily="34" charset="0"/>
                        </a:rPr>
                        <a:t>Periode</a:t>
                      </a:r>
                    </a:p>
                  </a:txBody>
                  <a:tcPr marL="54000" marR="54000" marT="54000" marB="54000" anchor="ctr">
                    <a:lnL>
                      <a:noFill/>
                    </a:lnL>
                    <a:lnR>
                      <a:noFill/>
                    </a:lnR>
                    <a:lnT>
                      <a:noFill/>
                    </a:lnT>
                    <a:lnB w="12700" cap="flat" cmpd="sng" algn="ctr">
                      <a:noFill/>
                      <a:prstDash val="solid"/>
                      <a:round/>
                      <a:headEnd type="none" w="med" len="med"/>
                      <a:tailEnd type="none" w="med" len="med"/>
                    </a:lnB>
                    <a:solidFill>
                      <a:schemeClr val="bg1"/>
                    </a:solidFill>
                  </a:tcPr>
                </a:tc>
                <a:tc>
                  <a:txBody>
                    <a:bodyPr/>
                    <a:lstStyle/>
                    <a:p>
                      <a:pPr algn="l"/>
                      <a:r>
                        <a:rPr lang="nl-BE" sz="2200" b="1" i="0" dirty="0">
                          <a:solidFill>
                            <a:schemeClr val="tx1">
                              <a:lumMod val="75000"/>
                              <a:lumOff val="25000"/>
                            </a:schemeClr>
                          </a:solidFill>
                          <a:latin typeface="+mn-lt"/>
                          <a:cs typeface="Arial" panose="020B0604020202020204" pitchFamily="34" charset="0"/>
                        </a:rPr>
                        <a:t>Ankers </a:t>
                      </a:r>
                    </a:p>
                  </a:txBody>
                  <a:tcPr marL="54000" marR="54000" marT="54000" marB="54000" anchor="ctr">
                    <a:lnL>
                      <a:noFill/>
                    </a:lnL>
                    <a:lnR>
                      <a:noFill/>
                    </a:lnR>
                    <a:lnT>
                      <a:noFill/>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316637">
                <a:tc rowSpan="3">
                  <a:txBody>
                    <a:bodyPr/>
                    <a:lstStyle/>
                    <a:p>
                      <a:pPr algn="ctr"/>
                      <a:r>
                        <a:rPr lang="nl-BE" sz="2200" b="1" dirty="0">
                          <a:solidFill>
                            <a:schemeClr val="bg1"/>
                          </a:solidFill>
                          <a:latin typeface="+mn-lt"/>
                          <a:cs typeface="Arial" panose="020B0604020202020204" pitchFamily="34" charset="0"/>
                        </a:rPr>
                        <a:t>1</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E1668"/>
                    </a:solidFill>
                  </a:tcPr>
                </a:tc>
                <a:tc>
                  <a:txBody>
                    <a:bodyPr/>
                    <a:lstStyle/>
                    <a:p>
                      <a:pPr algn="l"/>
                      <a:r>
                        <a:rPr lang="nl-BE" sz="2200" b="1" dirty="0">
                          <a:solidFill>
                            <a:schemeClr val="bg1"/>
                          </a:solidFill>
                          <a:latin typeface="+mn-lt"/>
                          <a:cs typeface="Arial" panose="020B0604020202020204" pitchFamily="34" charset="0"/>
                        </a:rPr>
                        <a:t>start, herfst </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E1668"/>
                    </a:solidFill>
                  </a:tcPr>
                </a:tc>
                <a:extLst>
                  <a:ext uri="{0D108BD9-81ED-4DB2-BD59-A6C34878D82A}">
                    <a16:rowId xmlns:a16="http://schemas.microsoft.com/office/drawing/2014/main" val="10001"/>
                  </a:ext>
                </a:extLst>
              </a:tr>
              <a:tr h="530384">
                <a:tc vMerge="1">
                  <a:txBody>
                    <a:bodyPr/>
                    <a:lstStyle/>
                    <a:p>
                      <a:pPr algn="ctr"/>
                      <a:endParaRPr lang="nl-BE" sz="6600" b="1" dirty="0">
                        <a:solidFill>
                          <a:schemeClr val="bg1"/>
                        </a:solidFill>
                        <a:latin typeface="Arial" panose="020B0604020202020204" pitchFamily="34" charset="0"/>
                        <a:cs typeface="Arial" panose="020B0604020202020204" pitchFamily="34" charset="0"/>
                      </a:endParaRP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EC008C"/>
                      </a:solidFill>
                      <a:prstDash val="solid"/>
                      <a:round/>
                      <a:headEnd type="none" w="med" len="med"/>
                      <a:tailEnd type="none" w="med" len="med"/>
                    </a:lnT>
                    <a:lnB w="12700" cap="flat" cmpd="sng" algn="ctr">
                      <a:solidFill>
                        <a:srgbClr val="EC008C"/>
                      </a:solidFill>
                      <a:prstDash val="solid"/>
                      <a:round/>
                      <a:headEnd type="none" w="med" len="med"/>
                      <a:tailEnd type="none" w="med" len="med"/>
                    </a:lnB>
                    <a:lnTlToBr w="12700" cmpd="sng">
                      <a:noFill/>
                      <a:prstDash val="solid"/>
                    </a:lnTlToBr>
                    <a:lnBlToTr w="12700" cmpd="sng">
                      <a:noFill/>
                      <a:prstDash val="solid"/>
                    </a:lnBlToTr>
                    <a:solidFill>
                      <a:srgbClr val="EE1668"/>
                    </a:solidFill>
                  </a:tcPr>
                </a:tc>
                <a:tc>
                  <a:txBody>
                    <a:bodyPr/>
                    <a:lstStyle/>
                    <a:p>
                      <a:r>
                        <a:rPr kumimoji="0" lang="nl-BE" sz="2200" b="1" i="0" u="none" strike="noStrike" kern="1200" cap="none" spc="0" normalizeH="0" baseline="0" noProof="0" dirty="0">
                          <a:ln>
                            <a:noFill/>
                          </a:ln>
                          <a:solidFill>
                            <a:prstClr val="white"/>
                          </a:solidFill>
                          <a:effectLst/>
                          <a:uLnTx/>
                          <a:uFillTx/>
                          <a:latin typeface="+mn-lt"/>
                          <a:ea typeface="+mn-ea"/>
                          <a:cs typeface="Arial" panose="020B0604020202020204" pitchFamily="34" charset="0"/>
                        </a:rPr>
                        <a:t>doen alsof, wonen</a:t>
                      </a:r>
                      <a:endParaRPr lang="nl-NL" sz="2200" dirty="0">
                        <a:latin typeface="+mn-lt"/>
                        <a:cs typeface="Arial" panose="020B0604020202020204" pitchFamily="34" charset="0"/>
                      </a:endParaRP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E1668"/>
                    </a:solidFill>
                  </a:tcPr>
                </a:tc>
                <a:extLst>
                  <a:ext uri="{0D108BD9-81ED-4DB2-BD59-A6C34878D82A}">
                    <a16:rowId xmlns:a16="http://schemas.microsoft.com/office/drawing/2014/main" val="530797376"/>
                  </a:ext>
                </a:extLst>
              </a:tr>
              <a:tr h="145732">
                <a:tc vMerge="1">
                  <a:txBody>
                    <a:bodyPr/>
                    <a:lstStyle/>
                    <a:p>
                      <a:pPr algn="ctr"/>
                      <a:endParaRPr lang="nl-BE" sz="6600" b="1" dirty="0">
                        <a:solidFill>
                          <a:schemeClr val="bg1"/>
                        </a:solidFill>
                        <a:latin typeface="Arial" panose="020B0604020202020204" pitchFamily="34" charset="0"/>
                        <a:cs typeface="Arial" panose="020B0604020202020204" pitchFamily="34" charset="0"/>
                      </a:endParaRP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EC008C"/>
                      </a:solidFill>
                      <a:prstDash val="solid"/>
                      <a:round/>
                      <a:headEnd type="none" w="med" len="med"/>
                      <a:tailEnd type="none" w="med" len="med"/>
                    </a:lnT>
                    <a:lnB w="12700" cap="flat" cmpd="sng" algn="ctr">
                      <a:solidFill>
                        <a:srgbClr val="EC008C"/>
                      </a:solidFill>
                      <a:prstDash val="solid"/>
                      <a:round/>
                      <a:headEnd type="none" w="med" len="med"/>
                      <a:tailEnd type="none" w="med" len="med"/>
                    </a:lnB>
                    <a:lnTlToBr w="12700" cmpd="sng">
                      <a:noFill/>
                      <a:prstDash val="solid"/>
                    </a:lnTlToBr>
                    <a:lnBlToTr w="12700" cmpd="sng">
                      <a:noFill/>
                      <a:prstDash val="solid"/>
                    </a:lnBlToTr>
                    <a:solidFill>
                      <a:srgbClr val="EE1668"/>
                    </a:solidFill>
                  </a:tcPr>
                </a:tc>
                <a:tc>
                  <a:txBody>
                    <a:bodyPr/>
                    <a:lstStyle/>
                    <a:p>
                      <a:r>
                        <a:rPr kumimoji="0" lang="nl-BE" sz="2200" b="1" i="0" u="none" strike="noStrike" kern="1200" cap="none" spc="0" normalizeH="0" baseline="0" noProof="0" dirty="0">
                          <a:ln>
                            <a:noFill/>
                          </a:ln>
                          <a:solidFill>
                            <a:prstClr val="white"/>
                          </a:solidFill>
                          <a:effectLst/>
                          <a:uLnTx/>
                          <a:uFillTx/>
                          <a:latin typeface="+mn-lt"/>
                          <a:ea typeface="+mn-ea"/>
                          <a:cs typeface="Arial" panose="020B0604020202020204" pitchFamily="34" charset="0"/>
                        </a:rPr>
                        <a:t>uitvinden, muziek</a:t>
                      </a:r>
                      <a:endParaRPr lang="nl-NL" sz="2200" dirty="0">
                        <a:latin typeface="+mn-lt"/>
                        <a:cs typeface="Arial" panose="020B0604020202020204" pitchFamily="34" charset="0"/>
                      </a:endParaRP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E1668"/>
                    </a:solidFill>
                  </a:tcPr>
                </a:tc>
                <a:extLst>
                  <a:ext uri="{0D108BD9-81ED-4DB2-BD59-A6C34878D82A}">
                    <a16:rowId xmlns:a16="http://schemas.microsoft.com/office/drawing/2014/main" val="1793652649"/>
                  </a:ext>
                </a:extLst>
              </a:tr>
              <a:tr h="316637">
                <a:tc rowSpan="3">
                  <a:txBody>
                    <a:bodyPr/>
                    <a:lstStyle/>
                    <a:p>
                      <a:pPr algn="ctr"/>
                      <a:r>
                        <a:rPr lang="nl-BE" sz="2200" b="1" dirty="0">
                          <a:solidFill>
                            <a:schemeClr val="bg1"/>
                          </a:solidFill>
                          <a:latin typeface="+mn-lt"/>
                          <a:cs typeface="Arial" panose="020B0604020202020204" pitchFamily="34" charset="0"/>
                        </a:rPr>
                        <a:t>2</a:t>
                      </a:r>
                    </a:p>
                  </a:txBody>
                  <a:tcPr marL="54000" marR="54000" marT="54000" marB="5400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a:r>
                        <a:rPr lang="nl-BE" sz="2200" b="1" dirty="0">
                          <a:solidFill>
                            <a:schemeClr val="bg1"/>
                          </a:solidFill>
                          <a:latin typeface="+mn-lt"/>
                          <a:cs typeface="Arial" panose="020B0604020202020204" pitchFamily="34" charset="0"/>
                        </a:rPr>
                        <a:t>lente, winter</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10006"/>
                  </a:ext>
                </a:extLst>
              </a:tr>
              <a:tr h="543829">
                <a:tc vMerge="1">
                  <a:txBody>
                    <a:bodyPr/>
                    <a:lstStyle/>
                    <a:p>
                      <a:endParaRPr lang="nl-NL"/>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BE" sz="2200" b="1" dirty="0">
                          <a:solidFill>
                            <a:schemeClr val="bg1"/>
                          </a:solidFill>
                          <a:latin typeface="+mn-lt"/>
                          <a:cs typeface="Arial" panose="020B0604020202020204" pitchFamily="34" charset="0"/>
                        </a:rPr>
                        <a:t>kunst, communicatie</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3001360537"/>
                  </a:ext>
                </a:extLst>
              </a:tr>
              <a:tr h="316637">
                <a:tc vMerge="1">
                  <a:txBody>
                    <a:bodyPr/>
                    <a:lstStyle/>
                    <a:p>
                      <a:endParaRPr lang="nl-NL"/>
                    </a:p>
                  </a:txBody>
                  <a:tcPr/>
                </a:tc>
                <a:tc>
                  <a:txBody>
                    <a:bodyPr/>
                    <a:lstStyle/>
                    <a:p>
                      <a:r>
                        <a:rPr lang="nl-BE" sz="2200" b="1" dirty="0">
                          <a:solidFill>
                            <a:schemeClr val="bg1"/>
                          </a:solidFill>
                          <a:latin typeface="+mn-lt"/>
                          <a:cs typeface="Arial" panose="020B0604020202020204" pitchFamily="34" charset="0"/>
                        </a:rPr>
                        <a:t>gezondheid, dieren</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754295761"/>
                  </a:ext>
                </a:extLst>
              </a:tr>
              <a:tr h="316637">
                <a:tc rowSpan="3">
                  <a:txBody>
                    <a:bodyPr/>
                    <a:lstStyle/>
                    <a:p>
                      <a:pPr algn="ctr"/>
                      <a:r>
                        <a:rPr lang="nl-BE" sz="2200" b="1" dirty="0">
                          <a:solidFill>
                            <a:schemeClr val="bg1"/>
                          </a:solidFill>
                          <a:latin typeface="+mn-lt"/>
                          <a:cs typeface="Arial" panose="020B0604020202020204" pitchFamily="34" charset="0"/>
                        </a:rPr>
                        <a:t>3</a:t>
                      </a:r>
                    </a:p>
                  </a:txBody>
                  <a:tcPr marL="54000" marR="54000" marT="54000" marB="5400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2200" b="1" i="0" u="none" strike="noStrike" kern="1200" cap="none" spc="0" normalizeH="0" baseline="0" noProof="0" dirty="0">
                          <a:ln>
                            <a:noFill/>
                          </a:ln>
                          <a:solidFill>
                            <a:prstClr val="white"/>
                          </a:solidFill>
                          <a:effectLst/>
                          <a:uLnTx/>
                          <a:uFillTx/>
                          <a:latin typeface="+mn-lt"/>
                          <a:ea typeface="+mn-ea"/>
                          <a:cs typeface="Arial" panose="020B0604020202020204" pitchFamily="34" charset="0"/>
                        </a:rPr>
                        <a:t>afsluiting, avontuur</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val="10011"/>
                  </a:ext>
                </a:extLst>
              </a:tr>
              <a:tr h="543829">
                <a:tc vMerge="1">
                  <a:txBody>
                    <a:bodyPr/>
                    <a:lstStyle/>
                    <a:p>
                      <a:endParaRPr lang="nl-NL"/>
                    </a:p>
                  </a:txBody>
                  <a:tcPr/>
                </a:tc>
                <a:tc>
                  <a:txBody>
                    <a:bodyPr/>
                    <a:lstStyle/>
                    <a:p>
                      <a:r>
                        <a:rPr lang="nl-BE" sz="2200" b="1" dirty="0">
                          <a:solidFill>
                            <a:schemeClr val="bg1"/>
                          </a:solidFill>
                          <a:latin typeface="+mn-lt"/>
                          <a:cs typeface="Arial" panose="020B0604020202020204" pitchFamily="34" charset="0"/>
                        </a:rPr>
                        <a:t>eten &amp; drinken, familie </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val="225879735"/>
                  </a:ext>
                </a:extLst>
              </a:tr>
              <a:tr h="543829">
                <a:tc vMerge="1">
                  <a:txBody>
                    <a:bodyPr/>
                    <a:lstStyle/>
                    <a:p>
                      <a:endParaRPr lang="nl-NL"/>
                    </a:p>
                  </a:txBody>
                  <a:tcPr/>
                </a:tc>
                <a:tc>
                  <a:txBody>
                    <a:bodyPr/>
                    <a:lstStyle/>
                    <a:p>
                      <a:r>
                        <a:rPr lang="nl-BE" sz="2200" b="1" dirty="0">
                          <a:solidFill>
                            <a:schemeClr val="bg1"/>
                          </a:solidFill>
                          <a:latin typeface="+mn-lt"/>
                          <a:cs typeface="Arial" panose="020B0604020202020204" pitchFamily="34" charset="0"/>
                        </a:rPr>
                        <a:t>buiten spelen, water</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val="2022311186"/>
                  </a:ext>
                </a:extLst>
              </a:tr>
            </a:tbl>
          </a:graphicData>
        </a:graphic>
      </p:graphicFrame>
      <p:pic>
        <p:nvPicPr>
          <p:cNvPr id="18" name="Afbeelding 17">
            <a:extLst>
              <a:ext uri="{FF2B5EF4-FFF2-40B4-BE49-F238E27FC236}">
                <a16:creationId xmlns:a16="http://schemas.microsoft.com/office/drawing/2014/main" id="{7BA0C811-94DF-49CC-A264-E44C3C5F803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294831" y="6164016"/>
            <a:ext cx="724228" cy="563044"/>
          </a:xfrm>
          <a:prstGeom prst="rect">
            <a:avLst/>
          </a:prstGeom>
        </p:spPr>
      </p:pic>
      <p:sp>
        <p:nvSpPr>
          <p:cNvPr id="11" name="Freeform 41">
            <a:extLst>
              <a:ext uri="{FF2B5EF4-FFF2-40B4-BE49-F238E27FC236}">
                <a16:creationId xmlns:a16="http://schemas.microsoft.com/office/drawing/2014/main" id="{59B11E75-BD96-42F3-9A58-7C0521D4D903}"/>
              </a:ext>
            </a:extLst>
          </p:cNvPr>
          <p:cNvSpPr/>
          <p:nvPr/>
        </p:nvSpPr>
        <p:spPr>
          <a:xfrm rot="584602">
            <a:off x="-70951" y="307950"/>
            <a:ext cx="3141797" cy="1020274"/>
          </a:xfrm>
          <a:custGeom>
            <a:avLst/>
            <a:gdLst>
              <a:gd name="connsiteX0" fmla="*/ 45720 w 1267097"/>
              <a:gd name="connsiteY0" fmla="*/ 378823 h 378823"/>
              <a:gd name="connsiteX1" fmla="*/ 1267097 w 1267097"/>
              <a:gd name="connsiteY1" fmla="*/ 182880 h 378823"/>
              <a:gd name="connsiteX2" fmla="*/ 1267097 w 1267097"/>
              <a:gd name="connsiteY2" fmla="*/ 0 h 378823"/>
              <a:gd name="connsiteX3" fmla="*/ 0 w 1267097"/>
              <a:gd name="connsiteY3" fmla="*/ 189412 h 378823"/>
              <a:gd name="connsiteX4" fmla="*/ 45720 w 1267097"/>
              <a:gd name="connsiteY4" fmla="*/ 378823 h 378823"/>
              <a:gd name="connsiteX0" fmla="*/ 71845 w 1293222"/>
              <a:gd name="connsiteY0" fmla="*/ 378823 h 378823"/>
              <a:gd name="connsiteX1" fmla="*/ 1293222 w 1293222"/>
              <a:gd name="connsiteY1" fmla="*/ 182880 h 378823"/>
              <a:gd name="connsiteX2" fmla="*/ 1293222 w 1293222"/>
              <a:gd name="connsiteY2" fmla="*/ 0 h 378823"/>
              <a:gd name="connsiteX3" fmla="*/ 0 w 1293222"/>
              <a:gd name="connsiteY3" fmla="*/ 130629 h 378823"/>
              <a:gd name="connsiteX4" fmla="*/ 71845 w 1293222"/>
              <a:gd name="connsiteY4" fmla="*/ 378823 h 378823"/>
              <a:gd name="connsiteX0" fmla="*/ 65313 w 1293222"/>
              <a:gd name="connsiteY0" fmla="*/ 398417 h 398417"/>
              <a:gd name="connsiteX1" fmla="*/ 1293222 w 1293222"/>
              <a:gd name="connsiteY1" fmla="*/ 182880 h 398417"/>
              <a:gd name="connsiteX2" fmla="*/ 1293222 w 1293222"/>
              <a:gd name="connsiteY2" fmla="*/ 0 h 398417"/>
              <a:gd name="connsiteX3" fmla="*/ 0 w 1293222"/>
              <a:gd name="connsiteY3" fmla="*/ 130629 h 398417"/>
              <a:gd name="connsiteX4" fmla="*/ 65313 w 1293222"/>
              <a:gd name="connsiteY4" fmla="*/ 398417 h 398417"/>
              <a:gd name="connsiteX0" fmla="*/ 104663 w 1332572"/>
              <a:gd name="connsiteY0" fmla="*/ 488407 h 488407"/>
              <a:gd name="connsiteX1" fmla="*/ 1332572 w 1332572"/>
              <a:gd name="connsiteY1" fmla="*/ 272870 h 488407"/>
              <a:gd name="connsiteX2" fmla="*/ 1332572 w 1332572"/>
              <a:gd name="connsiteY2" fmla="*/ 89990 h 488407"/>
              <a:gd name="connsiteX3" fmla="*/ 0 w 1332572"/>
              <a:gd name="connsiteY3" fmla="*/ 0 h 488407"/>
              <a:gd name="connsiteX4" fmla="*/ 104663 w 1332572"/>
              <a:gd name="connsiteY4" fmla="*/ 488407 h 488407"/>
              <a:gd name="connsiteX0" fmla="*/ 58754 w 1286663"/>
              <a:gd name="connsiteY0" fmla="*/ 488407 h 488407"/>
              <a:gd name="connsiteX1" fmla="*/ 1286663 w 1286663"/>
              <a:gd name="connsiteY1" fmla="*/ 272870 h 488407"/>
              <a:gd name="connsiteX2" fmla="*/ 1286663 w 1286663"/>
              <a:gd name="connsiteY2" fmla="*/ 89990 h 488407"/>
              <a:gd name="connsiteX3" fmla="*/ 0 w 1286663"/>
              <a:gd name="connsiteY3" fmla="*/ 0 h 488407"/>
              <a:gd name="connsiteX4" fmla="*/ 58754 w 1286663"/>
              <a:gd name="connsiteY4" fmla="*/ 488407 h 488407"/>
              <a:gd name="connsiteX0" fmla="*/ 58754 w 1293221"/>
              <a:gd name="connsiteY0" fmla="*/ 574912 h 574912"/>
              <a:gd name="connsiteX1" fmla="*/ 1286663 w 1293221"/>
              <a:gd name="connsiteY1" fmla="*/ 359375 h 574912"/>
              <a:gd name="connsiteX2" fmla="*/ 1293221 w 1293221"/>
              <a:gd name="connsiteY2" fmla="*/ 0 h 574912"/>
              <a:gd name="connsiteX3" fmla="*/ 0 w 1293221"/>
              <a:gd name="connsiteY3" fmla="*/ 86505 h 574912"/>
              <a:gd name="connsiteX4" fmla="*/ 58754 w 1293221"/>
              <a:gd name="connsiteY4" fmla="*/ 574912 h 574912"/>
              <a:gd name="connsiteX0" fmla="*/ 58754 w 1470298"/>
              <a:gd name="connsiteY0" fmla="*/ 574912 h 574912"/>
              <a:gd name="connsiteX1" fmla="*/ 1470298 w 1470298"/>
              <a:gd name="connsiteY1" fmla="*/ 561083 h 574912"/>
              <a:gd name="connsiteX2" fmla="*/ 1293221 w 1470298"/>
              <a:gd name="connsiteY2" fmla="*/ 0 h 574912"/>
              <a:gd name="connsiteX3" fmla="*/ 0 w 1470298"/>
              <a:gd name="connsiteY3" fmla="*/ 86505 h 574912"/>
              <a:gd name="connsiteX4" fmla="*/ 58754 w 1470298"/>
              <a:gd name="connsiteY4" fmla="*/ 574912 h 574912"/>
              <a:gd name="connsiteX0" fmla="*/ 65313 w 1470298"/>
              <a:gd name="connsiteY0" fmla="*/ 795531 h 795531"/>
              <a:gd name="connsiteX1" fmla="*/ 1470298 w 1470298"/>
              <a:gd name="connsiteY1" fmla="*/ 561083 h 795531"/>
              <a:gd name="connsiteX2" fmla="*/ 1293221 w 1470298"/>
              <a:gd name="connsiteY2" fmla="*/ 0 h 795531"/>
              <a:gd name="connsiteX3" fmla="*/ 0 w 1470298"/>
              <a:gd name="connsiteY3" fmla="*/ 86505 h 795531"/>
              <a:gd name="connsiteX4" fmla="*/ 65313 w 1470298"/>
              <a:gd name="connsiteY4" fmla="*/ 795531 h 795531"/>
              <a:gd name="connsiteX0" fmla="*/ 65313 w 1844126"/>
              <a:gd name="connsiteY0" fmla="*/ 795531 h 795531"/>
              <a:gd name="connsiteX1" fmla="*/ 1844126 w 1844126"/>
              <a:gd name="connsiteY1" fmla="*/ 504352 h 795531"/>
              <a:gd name="connsiteX2" fmla="*/ 1293221 w 1844126"/>
              <a:gd name="connsiteY2" fmla="*/ 0 h 795531"/>
              <a:gd name="connsiteX3" fmla="*/ 0 w 1844126"/>
              <a:gd name="connsiteY3" fmla="*/ 86505 h 795531"/>
              <a:gd name="connsiteX4" fmla="*/ 65313 w 1844126"/>
              <a:gd name="connsiteY4" fmla="*/ 795531 h 795531"/>
              <a:gd name="connsiteX0" fmla="*/ 65313 w 1844126"/>
              <a:gd name="connsiteY0" fmla="*/ 845958 h 845958"/>
              <a:gd name="connsiteX1" fmla="*/ 1844126 w 1844126"/>
              <a:gd name="connsiteY1" fmla="*/ 554779 h 845958"/>
              <a:gd name="connsiteX2" fmla="*/ 1621141 w 1844126"/>
              <a:gd name="connsiteY2" fmla="*/ 0 h 845958"/>
              <a:gd name="connsiteX3" fmla="*/ 0 w 1844126"/>
              <a:gd name="connsiteY3" fmla="*/ 136932 h 845958"/>
              <a:gd name="connsiteX4" fmla="*/ 65313 w 1844126"/>
              <a:gd name="connsiteY4" fmla="*/ 845958 h 845958"/>
              <a:gd name="connsiteX0" fmla="*/ 65313 w 1844126"/>
              <a:gd name="connsiteY0" fmla="*/ 864868 h 864868"/>
              <a:gd name="connsiteX1" fmla="*/ 1844126 w 1844126"/>
              <a:gd name="connsiteY1" fmla="*/ 573689 h 864868"/>
              <a:gd name="connsiteX2" fmla="*/ 1621141 w 1844126"/>
              <a:gd name="connsiteY2" fmla="*/ 0 h 864868"/>
              <a:gd name="connsiteX3" fmla="*/ 0 w 1844126"/>
              <a:gd name="connsiteY3" fmla="*/ 155842 h 864868"/>
              <a:gd name="connsiteX4" fmla="*/ 65313 w 1844126"/>
              <a:gd name="connsiteY4" fmla="*/ 864868 h 864868"/>
              <a:gd name="connsiteX0" fmla="*/ 65313 w 1686724"/>
              <a:gd name="connsiteY0" fmla="*/ 864868 h 864868"/>
              <a:gd name="connsiteX1" fmla="*/ 1686724 w 1686724"/>
              <a:gd name="connsiteY1" fmla="*/ 561082 h 864868"/>
              <a:gd name="connsiteX2" fmla="*/ 1621141 w 1686724"/>
              <a:gd name="connsiteY2" fmla="*/ 0 h 864868"/>
              <a:gd name="connsiteX3" fmla="*/ 0 w 1686724"/>
              <a:gd name="connsiteY3" fmla="*/ 155842 h 864868"/>
              <a:gd name="connsiteX4" fmla="*/ 65313 w 1686724"/>
              <a:gd name="connsiteY4" fmla="*/ 864868 h 864868"/>
              <a:gd name="connsiteX0" fmla="*/ 39079 w 1660490"/>
              <a:gd name="connsiteY0" fmla="*/ 864868 h 864868"/>
              <a:gd name="connsiteX1" fmla="*/ 1660490 w 1660490"/>
              <a:gd name="connsiteY1" fmla="*/ 561082 h 864868"/>
              <a:gd name="connsiteX2" fmla="*/ 1594907 w 1660490"/>
              <a:gd name="connsiteY2" fmla="*/ 0 h 864868"/>
              <a:gd name="connsiteX3" fmla="*/ 0 w 1660490"/>
              <a:gd name="connsiteY3" fmla="*/ 351248 h 864868"/>
              <a:gd name="connsiteX4" fmla="*/ 39079 w 1660490"/>
              <a:gd name="connsiteY4" fmla="*/ 864868 h 864868"/>
              <a:gd name="connsiteX0" fmla="*/ 39079 w 1857243"/>
              <a:gd name="connsiteY0" fmla="*/ 719889 h 719889"/>
              <a:gd name="connsiteX1" fmla="*/ 1660490 w 1857243"/>
              <a:gd name="connsiteY1" fmla="*/ 416103 h 719889"/>
              <a:gd name="connsiteX2" fmla="*/ 1857243 w 1857243"/>
              <a:gd name="connsiteY2" fmla="*/ 0 h 719889"/>
              <a:gd name="connsiteX3" fmla="*/ 0 w 1857243"/>
              <a:gd name="connsiteY3" fmla="*/ 206269 h 719889"/>
              <a:gd name="connsiteX4" fmla="*/ 39079 w 1857243"/>
              <a:gd name="connsiteY4" fmla="*/ 719889 h 719889"/>
              <a:gd name="connsiteX0" fmla="*/ 39079 w 1909709"/>
              <a:gd name="connsiteY0" fmla="*/ 719889 h 719889"/>
              <a:gd name="connsiteX1" fmla="*/ 1909709 w 1909709"/>
              <a:gd name="connsiteY1" fmla="*/ 208090 h 719889"/>
              <a:gd name="connsiteX2" fmla="*/ 1857243 w 1909709"/>
              <a:gd name="connsiteY2" fmla="*/ 0 h 719889"/>
              <a:gd name="connsiteX3" fmla="*/ 0 w 1909709"/>
              <a:gd name="connsiteY3" fmla="*/ 206269 h 719889"/>
              <a:gd name="connsiteX4" fmla="*/ 39079 w 1909709"/>
              <a:gd name="connsiteY4" fmla="*/ 719889 h 719889"/>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206269 h 511876"/>
              <a:gd name="connsiteX4" fmla="*/ 39079 w 1909709"/>
              <a:gd name="connsiteY4" fmla="*/ 511876 h 511876"/>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121173 h 511876"/>
              <a:gd name="connsiteX4" fmla="*/ 39079 w 1909709"/>
              <a:gd name="connsiteY4" fmla="*/ 511876 h 511876"/>
              <a:gd name="connsiteX0" fmla="*/ 39079 w 1857243"/>
              <a:gd name="connsiteY0" fmla="*/ 511876 h 511876"/>
              <a:gd name="connsiteX1" fmla="*/ 1748372 w 1857243"/>
              <a:gd name="connsiteY1" fmla="*/ 309201 h 511876"/>
              <a:gd name="connsiteX2" fmla="*/ 1857243 w 1857243"/>
              <a:gd name="connsiteY2" fmla="*/ 0 h 511876"/>
              <a:gd name="connsiteX3" fmla="*/ 0 w 1857243"/>
              <a:gd name="connsiteY3" fmla="*/ 121173 h 511876"/>
              <a:gd name="connsiteX4" fmla="*/ 39079 w 1857243"/>
              <a:gd name="connsiteY4" fmla="*/ 511876 h 511876"/>
              <a:gd name="connsiteX0" fmla="*/ 39079 w 1748372"/>
              <a:gd name="connsiteY0" fmla="*/ 499237 h 499237"/>
              <a:gd name="connsiteX1" fmla="*/ 1748372 w 1748372"/>
              <a:gd name="connsiteY1" fmla="*/ 296562 h 499237"/>
              <a:gd name="connsiteX2" fmla="*/ 1723965 w 1748372"/>
              <a:gd name="connsiteY2" fmla="*/ 0 h 499237"/>
              <a:gd name="connsiteX3" fmla="*/ 0 w 1748372"/>
              <a:gd name="connsiteY3" fmla="*/ 108534 h 499237"/>
              <a:gd name="connsiteX4" fmla="*/ 39079 w 1748372"/>
              <a:gd name="connsiteY4" fmla="*/ 499237 h 499237"/>
              <a:gd name="connsiteX0" fmla="*/ 95196 w 1748372"/>
              <a:gd name="connsiteY0" fmla="*/ 451841 h 451841"/>
              <a:gd name="connsiteX1" fmla="*/ 1748372 w 1748372"/>
              <a:gd name="connsiteY1" fmla="*/ 296562 h 451841"/>
              <a:gd name="connsiteX2" fmla="*/ 1723965 w 1748372"/>
              <a:gd name="connsiteY2" fmla="*/ 0 h 451841"/>
              <a:gd name="connsiteX3" fmla="*/ 0 w 1748372"/>
              <a:gd name="connsiteY3" fmla="*/ 108534 h 451841"/>
              <a:gd name="connsiteX4" fmla="*/ 95196 w 1748372"/>
              <a:gd name="connsiteY4" fmla="*/ 451841 h 451841"/>
              <a:gd name="connsiteX0" fmla="*/ 95196 w 1723965"/>
              <a:gd name="connsiteY0" fmla="*/ 451841 h 451841"/>
              <a:gd name="connsiteX1" fmla="*/ 1713299 w 1723965"/>
              <a:gd name="connsiteY1" fmla="*/ 315520 h 451841"/>
              <a:gd name="connsiteX2" fmla="*/ 1723965 w 1723965"/>
              <a:gd name="connsiteY2" fmla="*/ 0 h 451841"/>
              <a:gd name="connsiteX3" fmla="*/ 0 w 1723965"/>
              <a:gd name="connsiteY3" fmla="*/ 108534 h 451841"/>
              <a:gd name="connsiteX4" fmla="*/ 95196 w 1723965"/>
              <a:gd name="connsiteY4" fmla="*/ 451841 h 451841"/>
              <a:gd name="connsiteX0" fmla="*/ 95196 w 1713299"/>
              <a:gd name="connsiteY0" fmla="*/ 455001 h 455001"/>
              <a:gd name="connsiteX1" fmla="*/ 1713299 w 1713299"/>
              <a:gd name="connsiteY1" fmla="*/ 318680 h 455001"/>
              <a:gd name="connsiteX2" fmla="*/ 1667848 w 1713299"/>
              <a:gd name="connsiteY2" fmla="*/ 0 h 455001"/>
              <a:gd name="connsiteX3" fmla="*/ 0 w 1713299"/>
              <a:gd name="connsiteY3" fmla="*/ 111694 h 455001"/>
              <a:gd name="connsiteX4" fmla="*/ 95196 w 1713299"/>
              <a:gd name="connsiteY4" fmla="*/ 455001 h 455001"/>
              <a:gd name="connsiteX0" fmla="*/ 67137 w 1685240"/>
              <a:gd name="connsiteY0" fmla="*/ 455001 h 455001"/>
              <a:gd name="connsiteX1" fmla="*/ 1685240 w 1685240"/>
              <a:gd name="connsiteY1" fmla="*/ 318680 h 455001"/>
              <a:gd name="connsiteX2" fmla="*/ 1639789 w 1685240"/>
              <a:gd name="connsiteY2" fmla="*/ 0 h 455001"/>
              <a:gd name="connsiteX3" fmla="*/ 0 w 1685240"/>
              <a:gd name="connsiteY3" fmla="*/ 130652 h 455001"/>
              <a:gd name="connsiteX4" fmla="*/ 67137 w 1685240"/>
              <a:gd name="connsiteY4" fmla="*/ 455001 h 455001"/>
              <a:gd name="connsiteX0" fmla="*/ 67137 w 1667473"/>
              <a:gd name="connsiteY0" fmla="*/ 455001 h 455001"/>
              <a:gd name="connsiteX1" fmla="*/ 1667473 w 1667473"/>
              <a:gd name="connsiteY1" fmla="*/ 242054 h 455001"/>
              <a:gd name="connsiteX2" fmla="*/ 1639789 w 1667473"/>
              <a:gd name="connsiteY2" fmla="*/ 0 h 455001"/>
              <a:gd name="connsiteX3" fmla="*/ 0 w 1667473"/>
              <a:gd name="connsiteY3" fmla="*/ 130652 h 455001"/>
              <a:gd name="connsiteX4" fmla="*/ 67137 w 1667473"/>
              <a:gd name="connsiteY4" fmla="*/ 455001 h 455001"/>
              <a:gd name="connsiteX0" fmla="*/ 100217 w 1700553"/>
              <a:gd name="connsiteY0" fmla="*/ 455001 h 455001"/>
              <a:gd name="connsiteX1" fmla="*/ 1700553 w 1700553"/>
              <a:gd name="connsiteY1" fmla="*/ 242054 h 455001"/>
              <a:gd name="connsiteX2" fmla="*/ 1672869 w 1700553"/>
              <a:gd name="connsiteY2" fmla="*/ 0 h 455001"/>
              <a:gd name="connsiteX3" fmla="*/ 0 w 1700553"/>
              <a:gd name="connsiteY3" fmla="*/ 205540 h 455001"/>
              <a:gd name="connsiteX4" fmla="*/ 100217 w 1700553"/>
              <a:gd name="connsiteY4" fmla="*/ 455001 h 455001"/>
              <a:gd name="connsiteX0" fmla="*/ 100217 w 1700553"/>
              <a:gd name="connsiteY0" fmla="*/ 366878 h 366878"/>
              <a:gd name="connsiteX1" fmla="*/ 1700553 w 1700553"/>
              <a:gd name="connsiteY1" fmla="*/ 153931 h 366878"/>
              <a:gd name="connsiteX2" fmla="*/ 1588975 w 1700553"/>
              <a:gd name="connsiteY2" fmla="*/ 0 h 366878"/>
              <a:gd name="connsiteX3" fmla="*/ 0 w 1700553"/>
              <a:gd name="connsiteY3" fmla="*/ 117417 h 366878"/>
              <a:gd name="connsiteX4" fmla="*/ 100217 w 1700553"/>
              <a:gd name="connsiteY4" fmla="*/ 366878 h 366878"/>
              <a:gd name="connsiteX0" fmla="*/ 115726 w 1700553"/>
              <a:gd name="connsiteY0" fmla="*/ 305211 h 305211"/>
              <a:gd name="connsiteX1" fmla="*/ 1700553 w 1700553"/>
              <a:gd name="connsiteY1" fmla="*/ 153931 h 305211"/>
              <a:gd name="connsiteX2" fmla="*/ 1588975 w 1700553"/>
              <a:gd name="connsiteY2" fmla="*/ 0 h 305211"/>
              <a:gd name="connsiteX3" fmla="*/ 0 w 1700553"/>
              <a:gd name="connsiteY3" fmla="*/ 117417 h 305211"/>
              <a:gd name="connsiteX4" fmla="*/ 115726 w 1700553"/>
              <a:gd name="connsiteY4" fmla="*/ 305211 h 305211"/>
              <a:gd name="connsiteX0" fmla="*/ 115726 w 1700553"/>
              <a:gd name="connsiteY0" fmla="*/ 321895 h 321895"/>
              <a:gd name="connsiteX1" fmla="*/ 1700553 w 1700553"/>
              <a:gd name="connsiteY1" fmla="*/ 170615 h 321895"/>
              <a:gd name="connsiteX2" fmla="*/ 1471607 w 1700553"/>
              <a:gd name="connsiteY2" fmla="*/ 0 h 321895"/>
              <a:gd name="connsiteX3" fmla="*/ 0 w 1700553"/>
              <a:gd name="connsiteY3" fmla="*/ 134101 h 321895"/>
              <a:gd name="connsiteX4" fmla="*/ 115726 w 1700553"/>
              <a:gd name="connsiteY4" fmla="*/ 321895 h 321895"/>
              <a:gd name="connsiteX0" fmla="*/ 115726 w 1581352"/>
              <a:gd name="connsiteY0" fmla="*/ 321895 h 321895"/>
              <a:gd name="connsiteX1" fmla="*/ 1581352 w 1581352"/>
              <a:gd name="connsiteY1" fmla="*/ 210307 h 321895"/>
              <a:gd name="connsiteX2" fmla="*/ 1471607 w 1581352"/>
              <a:gd name="connsiteY2" fmla="*/ 0 h 321895"/>
              <a:gd name="connsiteX3" fmla="*/ 0 w 1581352"/>
              <a:gd name="connsiteY3" fmla="*/ 134101 h 321895"/>
              <a:gd name="connsiteX4" fmla="*/ 115726 w 1581352"/>
              <a:gd name="connsiteY4" fmla="*/ 321895 h 321895"/>
              <a:gd name="connsiteX0" fmla="*/ 92298 w 1557924"/>
              <a:gd name="connsiteY0" fmla="*/ 321895 h 321895"/>
              <a:gd name="connsiteX1" fmla="*/ 1557924 w 1557924"/>
              <a:gd name="connsiteY1" fmla="*/ 210307 h 321895"/>
              <a:gd name="connsiteX2" fmla="*/ 1448179 w 1557924"/>
              <a:gd name="connsiteY2" fmla="*/ 0 h 321895"/>
              <a:gd name="connsiteX3" fmla="*/ 0 w 1557924"/>
              <a:gd name="connsiteY3" fmla="*/ 116473 h 321895"/>
              <a:gd name="connsiteX4" fmla="*/ 92298 w 1557924"/>
              <a:gd name="connsiteY4" fmla="*/ 321895 h 321895"/>
              <a:gd name="connsiteX0" fmla="*/ 152961 w 1557924"/>
              <a:gd name="connsiteY0" fmla="*/ 341247 h 341247"/>
              <a:gd name="connsiteX1" fmla="*/ 1557924 w 1557924"/>
              <a:gd name="connsiteY1" fmla="*/ 210307 h 341247"/>
              <a:gd name="connsiteX2" fmla="*/ 1448179 w 1557924"/>
              <a:gd name="connsiteY2" fmla="*/ 0 h 341247"/>
              <a:gd name="connsiteX3" fmla="*/ 0 w 1557924"/>
              <a:gd name="connsiteY3" fmla="*/ 116473 h 341247"/>
              <a:gd name="connsiteX4" fmla="*/ 152961 w 1557924"/>
              <a:gd name="connsiteY4" fmla="*/ 341247 h 341247"/>
              <a:gd name="connsiteX0" fmla="*/ 135357 w 1557924"/>
              <a:gd name="connsiteY0" fmla="*/ 339493 h 339493"/>
              <a:gd name="connsiteX1" fmla="*/ 1557924 w 1557924"/>
              <a:gd name="connsiteY1" fmla="*/ 210307 h 339493"/>
              <a:gd name="connsiteX2" fmla="*/ 1448179 w 1557924"/>
              <a:gd name="connsiteY2" fmla="*/ 0 h 339493"/>
              <a:gd name="connsiteX3" fmla="*/ 0 w 1557924"/>
              <a:gd name="connsiteY3" fmla="*/ 116473 h 339493"/>
              <a:gd name="connsiteX4" fmla="*/ 135357 w 1557924"/>
              <a:gd name="connsiteY4" fmla="*/ 339493 h 339493"/>
              <a:gd name="connsiteX0" fmla="*/ 109934 w 1532501"/>
              <a:gd name="connsiteY0" fmla="*/ 339493 h 339493"/>
              <a:gd name="connsiteX1" fmla="*/ 1532501 w 1532501"/>
              <a:gd name="connsiteY1" fmla="*/ 210307 h 339493"/>
              <a:gd name="connsiteX2" fmla="*/ 1422756 w 1532501"/>
              <a:gd name="connsiteY2" fmla="*/ 0 h 339493"/>
              <a:gd name="connsiteX3" fmla="*/ 0 w 1532501"/>
              <a:gd name="connsiteY3" fmla="*/ 117343 h 339493"/>
              <a:gd name="connsiteX4" fmla="*/ 109934 w 1532501"/>
              <a:gd name="connsiteY4" fmla="*/ 339493 h 339493"/>
              <a:gd name="connsiteX0" fmla="*/ 133525 w 1556092"/>
              <a:gd name="connsiteY0" fmla="*/ 339493 h 339493"/>
              <a:gd name="connsiteX1" fmla="*/ 1556092 w 1556092"/>
              <a:gd name="connsiteY1" fmla="*/ 210307 h 339493"/>
              <a:gd name="connsiteX2" fmla="*/ 1446347 w 1556092"/>
              <a:gd name="connsiteY2" fmla="*/ 0 h 339493"/>
              <a:gd name="connsiteX3" fmla="*/ 0 w 1556092"/>
              <a:gd name="connsiteY3" fmla="*/ 60098 h 339493"/>
              <a:gd name="connsiteX4" fmla="*/ 133525 w 1556092"/>
              <a:gd name="connsiteY4" fmla="*/ 339493 h 339493"/>
              <a:gd name="connsiteX0" fmla="*/ 133525 w 2343667"/>
              <a:gd name="connsiteY0" fmla="*/ 459688 h 459688"/>
              <a:gd name="connsiteX1" fmla="*/ 1556092 w 2343667"/>
              <a:gd name="connsiteY1" fmla="*/ 330502 h 459688"/>
              <a:gd name="connsiteX2" fmla="*/ 2343667 w 2343667"/>
              <a:gd name="connsiteY2" fmla="*/ 0 h 459688"/>
              <a:gd name="connsiteX3" fmla="*/ 0 w 2343667"/>
              <a:gd name="connsiteY3" fmla="*/ 180293 h 459688"/>
              <a:gd name="connsiteX4" fmla="*/ 133525 w 2343667"/>
              <a:gd name="connsiteY4" fmla="*/ 459688 h 459688"/>
              <a:gd name="connsiteX0" fmla="*/ 133525 w 2391079"/>
              <a:gd name="connsiteY0" fmla="*/ 459688 h 459688"/>
              <a:gd name="connsiteX1" fmla="*/ 2391079 w 2391079"/>
              <a:gd name="connsiteY1" fmla="*/ 322204 h 459688"/>
              <a:gd name="connsiteX2" fmla="*/ 2343667 w 2391079"/>
              <a:gd name="connsiteY2" fmla="*/ 0 h 459688"/>
              <a:gd name="connsiteX3" fmla="*/ 0 w 2391079"/>
              <a:gd name="connsiteY3" fmla="*/ 180293 h 459688"/>
              <a:gd name="connsiteX4" fmla="*/ 133525 w 2391079"/>
              <a:gd name="connsiteY4" fmla="*/ 459688 h 459688"/>
              <a:gd name="connsiteX0" fmla="*/ 159047 w 2391079"/>
              <a:gd name="connsiteY0" fmla="*/ 505482 h 505482"/>
              <a:gd name="connsiteX1" fmla="*/ 2391079 w 2391079"/>
              <a:gd name="connsiteY1" fmla="*/ 322204 h 505482"/>
              <a:gd name="connsiteX2" fmla="*/ 2343667 w 2391079"/>
              <a:gd name="connsiteY2" fmla="*/ 0 h 505482"/>
              <a:gd name="connsiteX3" fmla="*/ 0 w 2391079"/>
              <a:gd name="connsiteY3" fmla="*/ 180293 h 505482"/>
              <a:gd name="connsiteX4" fmla="*/ 159047 w 2391079"/>
              <a:gd name="connsiteY4" fmla="*/ 505482 h 505482"/>
              <a:gd name="connsiteX0" fmla="*/ 159047 w 2391079"/>
              <a:gd name="connsiteY0" fmla="*/ 518659 h 518659"/>
              <a:gd name="connsiteX1" fmla="*/ 2391079 w 2391079"/>
              <a:gd name="connsiteY1" fmla="*/ 335381 h 518659"/>
              <a:gd name="connsiteX2" fmla="*/ 2261507 w 2391079"/>
              <a:gd name="connsiteY2" fmla="*/ 0 h 518659"/>
              <a:gd name="connsiteX3" fmla="*/ 0 w 2391079"/>
              <a:gd name="connsiteY3" fmla="*/ 193470 h 518659"/>
              <a:gd name="connsiteX4" fmla="*/ 159047 w 2391079"/>
              <a:gd name="connsiteY4" fmla="*/ 518659 h 518659"/>
              <a:gd name="connsiteX0" fmla="*/ 159047 w 2513813"/>
              <a:gd name="connsiteY0" fmla="*/ 498511 h 498511"/>
              <a:gd name="connsiteX1" fmla="*/ 2391079 w 2513813"/>
              <a:gd name="connsiteY1" fmla="*/ 315233 h 498511"/>
              <a:gd name="connsiteX2" fmla="*/ 2513813 w 2513813"/>
              <a:gd name="connsiteY2" fmla="*/ 0 h 498511"/>
              <a:gd name="connsiteX3" fmla="*/ 0 w 2513813"/>
              <a:gd name="connsiteY3" fmla="*/ 173322 h 498511"/>
              <a:gd name="connsiteX4" fmla="*/ 159047 w 2513813"/>
              <a:gd name="connsiteY4" fmla="*/ 498511 h 498511"/>
              <a:gd name="connsiteX0" fmla="*/ 159047 w 2547383"/>
              <a:gd name="connsiteY0" fmla="*/ 498511 h 498511"/>
              <a:gd name="connsiteX1" fmla="*/ 2547383 w 2547383"/>
              <a:gd name="connsiteY1" fmla="*/ 252623 h 498511"/>
              <a:gd name="connsiteX2" fmla="*/ 2513813 w 2547383"/>
              <a:gd name="connsiteY2" fmla="*/ 0 h 498511"/>
              <a:gd name="connsiteX3" fmla="*/ 0 w 2547383"/>
              <a:gd name="connsiteY3" fmla="*/ 173322 h 498511"/>
              <a:gd name="connsiteX4" fmla="*/ 159047 w 2547383"/>
              <a:gd name="connsiteY4" fmla="*/ 498511 h 498511"/>
              <a:gd name="connsiteX0" fmla="*/ 164772 w 2553108"/>
              <a:gd name="connsiteY0" fmla="*/ 498511 h 498511"/>
              <a:gd name="connsiteX1" fmla="*/ 2553108 w 2553108"/>
              <a:gd name="connsiteY1" fmla="*/ 252623 h 498511"/>
              <a:gd name="connsiteX2" fmla="*/ 2519538 w 2553108"/>
              <a:gd name="connsiteY2" fmla="*/ 0 h 498511"/>
              <a:gd name="connsiteX3" fmla="*/ 0 w 2553108"/>
              <a:gd name="connsiteY3" fmla="*/ 237627 h 498511"/>
              <a:gd name="connsiteX4" fmla="*/ 164772 w 2553108"/>
              <a:gd name="connsiteY4" fmla="*/ 498511 h 498511"/>
              <a:gd name="connsiteX0" fmla="*/ 102113 w 2553108"/>
              <a:gd name="connsiteY0" fmla="*/ 460662 h 460662"/>
              <a:gd name="connsiteX1" fmla="*/ 2553108 w 2553108"/>
              <a:gd name="connsiteY1" fmla="*/ 252623 h 460662"/>
              <a:gd name="connsiteX2" fmla="*/ 2519538 w 2553108"/>
              <a:gd name="connsiteY2" fmla="*/ 0 h 460662"/>
              <a:gd name="connsiteX3" fmla="*/ 0 w 2553108"/>
              <a:gd name="connsiteY3" fmla="*/ 237627 h 460662"/>
              <a:gd name="connsiteX4" fmla="*/ 102113 w 2553108"/>
              <a:gd name="connsiteY4" fmla="*/ 460662 h 460662"/>
              <a:gd name="connsiteX0" fmla="*/ 102113 w 2553108"/>
              <a:gd name="connsiteY0" fmla="*/ 424537 h 424537"/>
              <a:gd name="connsiteX1" fmla="*/ 2553108 w 2553108"/>
              <a:gd name="connsiteY1" fmla="*/ 216498 h 424537"/>
              <a:gd name="connsiteX2" fmla="*/ 2498106 w 2553108"/>
              <a:gd name="connsiteY2" fmla="*/ 0 h 424537"/>
              <a:gd name="connsiteX3" fmla="*/ 0 w 2553108"/>
              <a:gd name="connsiteY3" fmla="*/ 201502 h 424537"/>
              <a:gd name="connsiteX4" fmla="*/ 102113 w 2553108"/>
              <a:gd name="connsiteY4" fmla="*/ 424537 h 424537"/>
              <a:gd name="connsiteX0" fmla="*/ 90333 w 2553108"/>
              <a:gd name="connsiteY0" fmla="*/ 403402 h 403402"/>
              <a:gd name="connsiteX1" fmla="*/ 2553108 w 2553108"/>
              <a:gd name="connsiteY1" fmla="*/ 216498 h 403402"/>
              <a:gd name="connsiteX2" fmla="*/ 2498106 w 2553108"/>
              <a:gd name="connsiteY2" fmla="*/ 0 h 403402"/>
              <a:gd name="connsiteX3" fmla="*/ 0 w 2553108"/>
              <a:gd name="connsiteY3" fmla="*/ 201502 h 403402"/>
              <a:gd name="connsiteX4" fmla="*/ 90333 w 2553108"/>
              <a:gd name="connsiteY4" fmla="*/ 403402 h 403402"/>
              <a:gd name="connsiteX0" fmla="*/ 60951 w 2523726"/>
              <a:gd name="connsiteY0" fmla="*/ 403402 h 403402"/>
              <a:gd name="connsiteX1" fmla="*/ 2523726 w 2523726"/>
              <a:gd name="connsiteY1" fmla="*/ 216498 h 403402"/>
              <a:gd name="connsiteX2" fmla="*/ 2468724 w 2523726"/>
              <a:gd name="connsiteY2" fmla="*/ 0 h 403402"/>
              <a:gd name="connsiteX3" fmla="*/ 0 w 2523726"/>
              <a:gd name="connsiteY3" fmla="*/ 224392 h 403402"/>
              <a:gd name="connsiteX4" fmla="*/ 60951 w 2523726"/>
              <a:gd name="connsiteY4" fmla="*/ 403402 h 40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3726" h="403402">
                <a:moveTo>
                  <a:pt x="60951" y="403402"/>
                </a:moveTo>
                <a:lnTo>
                  <a:pt x="2523726" y="216498"/>
                </a:lnTo>
                <a:lnTo>
                  <a:pt x="2468724" y="0"/>
                </a:lnTo>
                <a:lnTo>
                  <a:pt x="0" y="224392"/>
                </a:lnTo>
                <a:lnTo>
                  <a:pt x="60951" y="403402"/>
                </a:lnTo>
                <a:close/>
              </a:path>
            </a:pathLst>
          </a:custGeom>
          <a:solidFill>
            <a:schemeClr val="bg1"/>
          </a:solidFill>
          <a:ln>
            <a:noFill/>
          </a:ln>
          <a:effectLst>
            <a:outerShdw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solidFill>
                <a:schemeClr val="accent4"/>
              </a:solidFill>
            </a:endParaRPr>
          </a:p>
        </p:txBody>
      </p:sp>
      <p:sp>
        <p:nvSpPr>
          <p:cNvPr id="13" name="TextBox 9">
            <a:extLst>
              <a:ext uri="{FF2B5EF4-FFF2-40B4-BE49-F238E27FC236}">
                <a16:creationId xmlns:a16="http://schemas.microsoft.com/office/drawing/2014/main" id="{7ED3F563-75B8-4B5F-96C6-8BC51D326467}"/>
              </a:ext>
            </a:extLst>
          </p:cNvPr>
          <p:cNvSpPr txBox="1">
            <a:spLocks noChangeArrowheads="1"/>
          </p:cNvSpPr>
          <p:nvPr/>
        </p:nvSpPr>
        <p:spPr bwMode="auto">
          <a:xfrm>
            <a:off x="224576" y="678307"/>
            <a:ext cx="2953988" cy="369332"/>
          </a:xfrm>
          <a:prstGeom prst="rect">
            <a:avLst/>
          </a:prstGeom>
          <a:noFill/>
          <a:ln w="9525">
            <a:noFill/>
            <a:miter lim="800000"/>
            <a:headEnd/>
            <a:tailEnd/>
          </a:ln>
          <a:effectLst/>
        </p:spPr>
        <p:txBody>
          <a:bodyPr wrap="square" lIns="0">
            <a:spAutoFit/>
          </a:bodyPr>
          <a:lstStyle/>
          <a:p>
            <a:pPr marL="3174">
              <a:lnSpc>
                <a:spcPct val="90000"/>
              </a:lnSpc>
              <a:spcBef>
                <a:spcPts val="1200"/>
              </a:spcBef>
              <a:buClr>
                <a:srgbClr val="5C5C5C"/>
              </a:buClr>
              <a:buSzPct val="80000"/>
            </a:pPr>
            <a:r>
              <a:rPr lang="nl-BE" sz="2000" b="1" dirty="0">
                <a:solidFill>
                  <a:srgbClr val="5C2483"/>
                </a:solidFill>
                <a:latin typeface="Amaranth" panose="02000503000000020004" pitchFamily="50" charset="0"/>
                <a:cs typeface="Arial" panose="020B0604020202020204" pitchFamily="34" charset="0"/>
              </a:rPr>
              <a:t>Opbouw &amp; differentiatie</a:t>
            </a:r>
          </a:p>
        </p:txBody>
      </p:sp>
    </p:spTree>
    <p:extLst>
      <p:ext uri="{BB962C8B-B14F-4D97-AF65-F5344CB8AC3E}">
        <p14:creationId xmlns:p14="http://schemas.microsoft.com/office/powerpoint/2010/main" val="36902950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Afbeelding 39">
            <a:extLst>
              <a:ext uri="{FF2B5EF4-FFF2-40B4-BE49-F238E27FC236}">
                <a16:creationId xmlns:a16="http://schemas.microsoft.com/office/drawing/2014/main" id="{F5EF6F2B-E54D-4105-9745-F25AEB0A7423}"/>
              </a:ext>
            </a:extLst>
          </p:cNvPr>
          <p:cNvPicPr>
            <a:picLocks noChangeAspect="1"/>
          </p:cNvPicPr>
          <p:nvPr/>
        </p:nvPicPr>
        <p:blipFill rotWithShape="1">
          <a:blip r:embed="rId5"/>
          <a:srcRect l="12121" r="-1"/>
          <a:stretch/>
        </p:blipFill>
        <p:spPr>
          <a:xfrm>
            <a:off x="0" y="-23959"/>
            <a:ext cx="8664710" cy="6879020"/>
          </a:xfrm>
          <a:prstGeom prst="rect">
            <a:avLst/>
          </a:prstGeom>
        </p:spPr>
      </p:pic>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83" name="think-cell Slide" r:id="rId6" imgW="353" imgH="353" progId="TCLayout.ActiveDocument.1">
                  <p:embed/>
                </p:oleObj>
              </mc:Choice>
              <mc:Fallback>
                <p:oleObj name="think-cell Slide" r:id="rId6" imgW="353" imgH="353"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grpSp>
        <p:nvGrpSpPr>
          <p:cNvPr id="38" name="Group 37"/>
          <p:cNvGrpSpPr/>
          <p:nvPr/>
        </p:nvGrpSpPr>
        <p:grpSpPr>
          <a:xfrm>
            <a:off x="3789461" y="-26275"/>
            <a:ext cx="8822964" cy="6884275"/>
            <a:chOff x="3723875" y="-10510"/>
            <a:chExt cx="8889715" cy="6884275"/>
          </a:xfrm>
          <a:solidFill>
            <a:srgbClr val="92D050"/>
          </a:solidFill>
        </p:grpSpPr>
        <p:sp>
          <p:nvSpPr>
            <p:cNvPr id="17" name="Freeform: Shape 16"/>
            <p:cNvSpPr/>
            <p:nvPr/>
          </p:nvSpPr>
          <p:spPr>
            <a:xfrm flipH="1">
              <a:off x="3723875" y="-10510"/>
              <a:ext cx="8889715" cy="6884275"/>
            </a:xfrm>
            <a:custGeom>
              <a:avLst/>
              <a:gdLst>
                <a:gd name="connsiteX0" fmla="*/ 0 w 6768662"/>
                <a:gd name="connsiteY0" fmla="*/ 0 h 6873765"/>
                <a:gd name="connsiteX1" fmla="*/ 6001407 w 6768662"/>
                <a:gd name="connsiteY1" fmla="*/ 0 h 6873765"/>
                <a:gd name="connsiteX2" fmla="*/ 6768662 w 6768662"/>
                <a:gd name="connsiteY2" fmla="*/ 0 h 6873765"/>
                <a:gd name="connsiteX3" fmla="*/ 5570482 w 6768662"/>
                <a:gd name="connsiteY3" fmla="*/ 6873765 h 6873765"/>
                <a:gd name="connsiteX4" fmla="*/ 10510 w 6768662"/>
                <a:gd name="connsiteY4" fmla="*/ 6873765 h 6873765"/>
                <a:gd name="connsiteX5" fmla="*/ 10510 w 6768662"/>
                <a:gd name="connsiteY5" fmla="*/ 0 h 6873765"/>
                <a:gd name="connsiteX6" fmla="*/ 0 w 6768662"/>
                <a:gd name="connsiteY6" fmla="*/ 0 h 6873765"/>
                <a:gd name="connsiteX0" fmla="*/ 0 w 6768662"/>
                <a:gd name="connsiteY0" fmla="*/ 0 h 6873765"/>
                <a:gd name="connsiteX1" fmla="*/ 6001407 w 6768662"/>
                <a:gd name="connsiteY1" fmla="*/ 0 h 6873765"/>
                <a:gd name="connsiteX2" fmla="*/ 6768662 w 6768662"/>
                <a:gd name="connsiteY2" fmla="*/ 0 h 6873765"/>
                <a:gd name="connsiteX3" fmla="*/ 5202620 w 6768662"/>
                <a:gd name="connsiteY3" fmla="*/ 6863255 h 6873765"/>
                <a:gd name="connsiteX4" fmla="*/ 10510 w 6768662"/>
                <a:gd name="connsiteY4" fmla="*/ 6873765 h 6873765"/>
                <a:gd name="connsiteX5" fmla="*/ 10510 w 6768662"/>
                <a:gd name="connsiteY5" fmla="*/ 0 h 6873765"/>
                <a:gd name="connsiteX6" fmla="*/ 0 w 6768662"/>
                <a:gd name="connsiteY6" fmla="*/ 0 h 6873765"/>
                <a:gd name="connsiteX0" fmla="*/ 0 w 6768662"/>
                <a:gd name="connsiteY0" fmla="*/ 0 h 6873765"/>
                <a:gd name="connsiteX1" fmla="*/ 6001407 w 6768662"/>
                <a:gd name="connsiteY1" fmla="*/ 0 h 6873765"/>
                <a:gd name="connsiteX2" fmla="*/ 6768662 w 6768662"/>
                <a:gd name="connsiteY2" fmla="*/ 0 h 6873765"/>
                <a:gd name="connsiteX3" fmla="*/ 5160579 w 6768662"/>
                <a:gd name="connsiteY3" fmla="*/ 6873765 h 6873765"/>
                <a:gd name="connsiteX4" fmla="*/ 10510 w 6768662"/>
                <a:gd name="connsiteY4" fmla="*/ 6873765 h 6873765"/>
                <a:gd name="connsiteX5" fmla="*/ 10510 w 6768662"/>
                <a:gd name="connsiteY5" fmla="*/ 0 h 6873765"/>
                <a:gd name="connsiteX6" fmla="*/ 0 w 6768662"/>
                <a:gd name="connsiteY6" fmla="*/ 0 h 6873765"/>
                <a:gd name="connsiteX0" fmla="*/ 0 w 6768662"/>
                <a:gd name="connsiteY0" fmla="*/ 0 h 6873765"/>
                <a:gd name="connsiteX1" fmla="*/ 6768662 w 6768662"/>
                <a:gd name="connsiteY1" fmla="*/ 0 h 6873765"/>
                <a:gd name="connsiteX2" fmla="*/ 5160579 w 6768662"/>
                <a:gd name="connsiteY2" fmla="*/ 6873765 h 6873765"/>
                <a:gd name="connsiteX3" fmla="*/ 10510 w 6768662"/>
                <a:gd name="connsiteY3" fmla="*/ 6873765 h 6873765"/>
                <a:gd name="connsiteX4" fmla="*/ 10510 w 6768662"/>
                <a:gd name="connsiteY4" fmla="*/ 0 h 6873765"/>
                <a:gd name="connsiteX5" fmla="*/ 0 w 6768662"/>
                <a:gd name="connsiteY5" fmla="*/ 0 h 6873765"/>
                <a:gd name="connsiteX0" fmla="*/ 0 w 6768662"/>
                <a:gd name="connsiteY0" fmla="*/ 0 h 6884275"/>
                <a:gd name="connsiteX1" fmla="*/ 6768662 w 6768662"/>
                <a:gd name="connsiteY1" fmla="*/ 0 h 6884275"/>
                <a:gd name="connsiteX2" fmla="*/ 5500399 w 6768662"/>
                <a:gd name="connsiteY2" fmla="*/ 6884275 h 6884275"/>
                <a:gd name="connsiteX3" fmla="*/ 10510 w 6768662"/>
                <a:gd name="connsiteY3" fmla="*/ 6873765 h 6884275"/>
                <a:gd name="connsiteX4" fmla="*/ 10510 w 6768662"/>
                <a:gd name="connsiteY4" fmla="*/ 0 h 6884275"/>
                <a:gd name="connsiteX5" fmla="*/ 0 w 6768662"/>
                <a:gd name="connsiteY5" fmla="*/ 0 h 6884275"/>
                <a:gd name="connsiteX0" fmla="*/ 0 w 6269334"/>
                <a:gd name="connsiteY0" fmla="*/ 0 h 6884275"/>
                <a:gd name="connsiteX1" fmla="*/ 6269334 w 6269334"/>
                <a:gd name="connsiteY1" fmla="*/ 0 h 6884275"/>
                <a:gd name="connsiteX2" fmla="*/ 5500399 w 6269334"/>
                <a:gd name="connsiteY2" fmla="*/ 6884275 h 6884275"/>
                <a:gd name="connsiteX3" fmla="*/ 10510 w 6269334"/>
                <a:gd name="connsiteY3" fmla="*/ 6873765 h 6884275"/>
                <a:gd name="connsiteX4" fmla="*/ 10510 w 6269334"/>
                <a:gd name="connsiteY4" fmla="*/ 0 h 6884275"/>
                <a:gd name="connsiteX5" fmla="*/ 0 w 6269334"/>
                <a:gd name="connsiteY5" fmla="*/ 0 h 6884275"/>
                <a:gd name="connsiteX0" fmla="*/ 0 w 6137567"/>
                <a:gd name="connsiteY0" fmla="*/ 0 h 6884275"/>
                <a:gd name="connsiteX1" fmla="*/ 6137567 w 6137567"/>
                <a:gd name="connsiteY1" fmla="*/ 0 h 6884275"/>
                <a:gd name="connsiteX2" fmla="*/ 5500399 w 6137567"/>
                <a:gd name="connsiteY2" fmla="*/ 6884275 h 6884275"/>
                <a:gd name="connsiteX3" fmla="*/ 10510 w 6137567"/>
                <a:gd name="connsiteY3" fmla="*/ 6873765 h 6884275"/>
                <a:gd name="connsiteX4" fmla="*/ 10510 w 6137567"/>
                <a:gd name="connsiteY4" fmla="*/ 0 h 6884275"/>
                <a:gd name="connsiteX5" fmla="*/ 0 w 6137567"/>
                <a:gd name="connsiteY5" fmla="*/ 0 h 6884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37567" h="6884275">
                  <a:moveTo>
                    <a:pt x="0" y="0"/>
                  </a:moveTo>
                  <a:lnTo>
                    <a:pt x="6137567" y="0"/>
                  </a:lnTo>
                  <a:lnTo>
                    <a:pt x="5500399" y="6884275"/>
                  </a:lnTo>
                  <a:lnTo>
                    <a:pt x="10510" y="6873765"/>
                  </a:lnTo>
                  <a:lnTo>
                    <a:pt x="10510" y="0"/>
                  </a:lnTo>
                  <a:lnTo>
                    <a:pt x="0" y="0"/>
                  </a:lnTo>
                  <a:close/>
                </a:path>
              </a:pathLst>
            </a:custGeom>
            <a:solidFill>
              <a:srgbClr val="5C24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1" i="0" u="none" strike="noStrike" kern="1200" cap="none" spc="0" normalizeH="0" baseline="0" noProof="0" dirty="0">
                <a:ln>
                  <a:noFill/>
                </a:ln>
                <a:solidFill>
                  <a:prstClr val="white"/>
                </a:solidFill>
                <a:effectLst/>
                <a:uLnTx/>
                <a:uFillTx/>
                <a:latin typeface="Calibri"/>
                <a:ea typeface="+mn-ea"/>
                <a:cs typeface="+mn-cs"/>
              </a:endParaRPr>
            </a:p>
          </p:txBody>
        </p:sp>
        <p:sp>
          <p:nvSpPr>
            <p:cNvPr id="12" name="TextBox 11"/>
            <p:cNvSpPr txBox="1"/>
            <p:nvPr/>
          </p:nvSpPr>
          <p:spPr>
            <a:xfrm>
              <a:off x="4496120" y="368587"/>
              <a:ext cx="5558668" cy="646331"/>
            </a:xfrm>
            <a:prstGeom prst="rect">
              <a:avLst/>
            </a:prstGeom>
            <a:noFill/>
          </p:spPr>
          <p:txBody>
            <a:bodyPr wrap="square" rtlCol="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tab pos="1971675" algn="l"/>
                </a:tabLst>
                <a:defRPr/>
              </a:pPr>
              <a:r>
                <a:rPr kumimoji="0" lang="nl-BE" sz="4000" b="0" i="0" u="none" strike="noStrike" kern="1200" cap="none" spc="0" normalizeH="0" baseline="0" noProof="0" dirty="0">
                  <a:ln>
                    <a:noFill/>
                  </a:ln>
                  <a:solidFill>
                    <a:prstClr val="white"/>
                  </a:solidFill>
                  <a:effectLst/>
                  <a:uLnTx/>
                  <a:uFillTx/>
                  <a:latin typeface="Amaranth" panose="02000503000000020004" pitchFamily="50" charset="0"/>
                  <a:cs typeface="Arial" panose="020B0604020202020204" pitchFamily="34" charset="0"/>
                </a:rPr>
                <a:t>Opbouw van een anker</a:t>
              </a:r>
            </a:p>
          </p:txBody>
        </p:sp>
        <p:grpSp>
          <p:nvGrpSpPr>
            <p:cNvPr id="36" name="Group 35"/>
            <p:cNvGrpSpPr/>
            <p:nvPr/>
          </p:nvGrpSpPr>
          <p:grpSpPr>
            <a:xfrm>
              <a:off x="5383050" y="1762294"/>
              <a:ext cx="6411874" cy="1379831"/>
              <a:chOff x="5383050" y="1762294"/>
              <a:chExt cx="6411874" cy="1379831"/>
            </a:xfrm>
            <a:grpFill/>
          </p:grpSpPr>
          <p:grpSp>
            <p:nvGrpSpPr>
              <p:cNvPr id="6" name="Group 5"/>
              <p:cNvGrpSpPr/>
              <p:nvPr/>
            </p:nvGrpSpPr>
            <p:grpSpPr>
              <a:xfrm>
                <a:off x="5383050" y="2161357"/>
                <a:ext cx="2348146" cy="819807"/>
                <a:chOff x="5761422" y="2434626"/>
                <a:chExt cx="2348146" cy="819807"/>
              </a:xfrm>
              <a:grpFill/>
            </p:grpSpPr>
            <p:sp>
              <p:nvSpPr>
                <p:cNvPr id="2" name="Callout: Down Arrow 1"/>
                <p:cNvSpPr/>
                <p:nvPr/>
              </p:nvSpPr>
              <p:spPr>
                <a:xfrm>
                  <a:off x="5806130" y="2434626"/>
                  <a:ext cx="2303438" cy="819807"/>
                </a:xfrm>
                <a:prstGeom prst="downArrowCallou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prstClr val="white"/>
                    </a:solidFill>
                    <a:effectLst/>
                    <a:uLnTx/>
                    <a:uFillTx/>
                    <a:latin typeface="Calibri"/>
                    <a:ea typeface="+mn-ea"/>
                    <a:cs typeface="+mn-cs"/>
                  </a:endParaRPr>
                </a:p>
              </p:txBody>
            </p:sp>
            <p:sp>
              <p:nvSpPr>
                <p:cNvPr id="19" name="TextBox 18"/>
                <p:cNvSpPr txBox="1"/>
                <p:nvPr/>
              </p:nvSpPr>
              <p:spPr>
                <a:xfrm>
                  <a:off x="5761422" y="2513112"/>
                  <a:ext cx="2317434" cy="424732"/>
                </a:xfrm>
                <a:prstGeom prst="rect">
                  <a:avLst/>
                </a:prstGeom>
                <a:noFill/>
              </p:spPr>
              <p:txBody>
                <a:bodyPr wrap="square" rtlCol="0" anchor="b"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tab pos="1971675" algn="l"/>
                    </a:tabLst>
                    <a:defRPr/>
                  </a:pPr>
                  <a:r>
                    <a:rPr kumimoji="0" lang="nl-BE" sz="2400" b="1" i="0" u="none" strike="noStrike" kern="1200" cap="none" spc="0" normalizeH="0" baseline="0" noProof="0" dirty="0">
                      <a:ln>
                        <a:noFill/>
                      </a:ln>
                      <a:solidFill>
                        <a:srgbClr val="5C2483"/>
                      </a:solidFill>
                      <a:effectLst/>
                      <a:uLnTx/>
                      <a:uFillTx/>
                      <a:latin typeface="+mj-lt"/>
                      <a:ea typeface="+mn-ea"/>
                      <a:cs typeface="Arial" panose="020B0604020202020204" pitchFamily="34" charset="0"/>
                    </a:rPr>
                    <a:t>KENNISMAKING </a:t>
                  </a:r>
                </a:p>
              </p:txBody>
            </p:sp>
          </p:grpSp>
          <p:sp>
            <p:nvSpPr>
              <p:cNvPr id="21" name="Rechthoek 10"/>
              <p:cNvSpPr/>
              <p:nvPr/>
            </p:nvSpPr>
            <p:spPr>
              <a:xfrm>
                <a:off x="7964196" y="1762294"/>
                <a:ext cx="3830728" cy="1379831"/>
              </a:xfrm>
              <a:prstGeom prst="round1Rect">
                <a:avLst/>
              </a:prstGeom>
              <a:noFill/>
              <a:ln>
                <a:solidFill>
                  <a:schemeClr val="bg1"/>
                </a:solidFill>
              </a:ln>
            </p:spPr>
            <p:txBody>
              <a:bodyPr wrap="square" lIns="116806" tIns="58403" rIns="116806" bIns="58403">
                <a:spAutoFit/>
              </a:bodyPr>
              <a:lstStyle/>
              <a:p>
                <a:pPr marR="0" lvl="0" algn="l" defTabSz="1042744" rtl="0" eaLnBrk="1" fontAlgn="auto" latinLnBrk="0" hangingPunct="1">
                  <a:lnSpc>
                    <a:spcPct val="100000"/>
                  </a:lnSpc>
                  <a:spcBef>
                    <a:spcPts val="0"/>
                  </a:spcBef>
                  <a:spcAft>
                    <a:spcPts val="0"/>
                  </a:spcAft>
                  <a:buClrTx/>
                  <a:buSzTx/>
                  <a:tabLst/>
                  <a:defRPr/>
                </a:pPr>
                <a:r>
                  <a:rPr kumimoji="0" lang="nl-BE" b="1" i="0" u="none" strike="noStrike" kern="1200" cap="none" spc="0" normalizeH="0" baseline="0" noProof="0" dirty="0">
                    <a:ln>
                      <a:noFill/>
                    </a:ln>
                    <a:solidFill>
                      <a:prstClr val="white"/>
                    </a:solidFill>
                    <a:effectLst/>
                    <a:uLnTx/>
                    <a:uFillTx/>
                    <a:ea typeface="+mn-ea"/>
                    <a:cs typeface="Arial" panose="020B0604020202020204" pitchFamily="34" charset="0"/>
                  </a:rPr>
                  <a:t>Oriëntatie</a:t>
                </a:r>
              </a:p>
              <a:p>
                <a:pPr marL="285750" lvl="0" indent="-285750" defTabSz="1042744">
                  <a:buFont typeface="Arial" panose="020B0604020202020204" pitchFamily="34" charset="0"/>
                  <a:buChar char="•"/>
                  <a:defRPr/>
                </a:pPr>
                <a:r>
                  <a:rPr lang="nl-BE" sz="1600" dirty="0">
                    <a:solidFill>
                      <a:prstClr val="white"/>
                    </a:solidFill>
                    <a:cs typeface="Arial" panose="020B0604020202020204" pitchFamily="34" charset="0"/>
                  </a:rPr>
                  <a:t>Kennismaking met anker </a:t>
                </a:r>
              </a:p>
              <a:p>
                <a:pPr marL="285750" lvl="0" indent="-285750" defTabSz="1042744">
                  <a:buFont typeface="Arial" panose="020B0604020202020204" pitchFamily="34" charset="0"/>
                  <a:buChar char="•"/>
                  <a:defRPr/>
                </a:pPr>
                <a:r>
                  <a:rPr lang="nl-BE" sz="1600" dirty="0">
                    <a:solidFill>
                      <a:prstClr val="white"/>
                    </a:solidFill>
                    <a:cs typeface="Arial" panose="020B0604020202020204" pitchFamily="34" charset="0"/>
                  </a:rPr>
                  <a:t>Verkennen van centraal probleem</a:t>
                </a:r>
              </a:p>
              <a:p>
                <a:pPr marL="285750" lvl="0" indent="-285750" defTabSz="1042744">
                  <a:buFont typeface="Arial" panose="020B0604020202020204" pitchFamily="34" charset="0"/>
                  <a:buChar char="•"/>
                  <a:defRPr/>
                </a:pPr>
                <a:r>
                  <a:rPr lang="nl-BE" sz="1600" dirty="0">
                    <a:solidFill>
                      <a:prstClr val="white"/>
                    </a:solidFill>
                    <a:cs typeface="Arial" panose="020B0604020202020204" pitchFamily="34" charset="0"/>
                  </a:rPr>
                  <a:t>Pre-teaching</a:t>
                </a:r>
              </a:p>
              <a:p>
                <a:pPr marL="285750" lvl="0" indent="-285750" defTabSz="1042744">
                  <a:buFont typeface="Arial" panose="020B0604020202020204" pitchFamily="34" charset="0"/>
                  <a:buChar char="•"/>
                  <a:defRPr/>
                </a:pPr>
                <a:r>
                  <a:rPr lang="nl-BE" sz="1600" dirty="0">
                    <a:solidFill>
                      <a:prstClr val="white"/>
                    </a:solidFill>
                    <a:cs typeface="Arial" panose="020B0604020202020204" pitchFamily="34" charset="0"/>
                  </a:rPr>
                  <a:t>Aan de slag met het ankerverhaal </a:t>
                </a:r>
              </a:p>
            </p:txBody>
          </p:sp>
        </p:grpSp>
        <p:grpSp>
          <p:nvGrpSpPr>
            <p:cNvPr id="37" name="Group 36"/>
            <p:cNvGrpSpPr/>
            <p:nvPr/>
          </p:nvGrpSpPr>
          <p:grpSpPr>
            <a:xfrm>
              <a:off x="5427758" y="3273819"/>
              <a:ext cx="6362336" cy="1174270"/>
              <a:chOff x="5427758" y="3158205"/>
              <a:chExt cx="6362336" cy="1174270"/>
            </a:xfrm>
            <a:grpFill/>
          </p:grpSpPr>
          <p:grpSp>
            <p:nvGrpSpPr>
              <p:cNvPr id="24" name="Group 23"/>
              <p:cNvGrpSpPr/>
              <p:nvPr/>
            </p:nvGrpSpPr>
            <p:grpSpPr>
              <a:xfrm>
                <a:off x="5427758" y="3158205"/>
                <a:ext cx="2276732" cy="1066166"/>
                <a:chOff x="5806130" y="1970536"/>
                <a:chExt cx="2276732" cy="1066166"/>
              </a:xfrm>
              <a:grpFill/>
            </p:grpSpPr>
            <p:sp>
              <p:nvSpPr>
                <p:cNvPr id="25" name="Callout: Down Arrow 24"/>
                <p:cNvSpPr/>
                <p:nvPr/>
              </p:nvSpPr>
              <p:spPr>
                <a:xfrm>
                  <a:off x="5806130" y="2010079"/>
                  <a:ext cx="2276732" cy="1026623"/>
                </a:xfrm>
                <a:prstGeom prst="downArrowCallou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prstClr val="white"/>
                    </a:solidFill>
                    <a:effectLst/>
                    <a:uLnTx/>
                    <a:uFillTx/>
                    <a:latin typeface="Calibri"/>
                    <a:ea typeface="+mn-ea"/>
                    <a:cs typeface="+mn-cs"/>
                  </a:endParaRPr>
                </a:p>
              </p:txBody>
            </p:sp>
            <p:sp>
              <p:nvSpPr>
                <p:cNvPr id="26" name="TextBox 25"/>
                <p:cNvSpPr txBox="1"/>
                <p:nvPr/>
              </p:nvSpPr>
              <p:spPr>
                <a:xfrm>
                  <a:off x="5859740" y="1970536"/>
                  <a:ext cx="2080912" cy="757130"/>
                </a:xfrm>
                <a:prstGeom prst="rect">
                  <a:avLst/>
                </a:prstGeom>
                <a:noFill/>
              </p:spPr>
              <p:txBody>
                <a:bodyPr wrap="square" rtlCol="0" anchor="b"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tab pos="1971675" algn="l"/>
                    </a:tabLst>
                    <a:defRPr/>
                  </a:pPr>
                  <a:r>
                    <a:rPr kumimoji="0" lang="nl-BE" sz="2400" b="1" i="0" u="none" strike="noStrike" kern="1200" cap="none" spc="0" normalizeH="0" baseline="0" noProof="0" dirty="0">
                      <a:ln>
                        <a:noFill/>
                      </a:ln>
                      <a:solidFill>
                        <a:srgbClr val="5C2483"/>
                      </a:solidFill>
                      <a:effectLst/>
                      <a:uLnTx/>
                      <a:uFillTx/>
                      <a:latin typeface="+mj-lt"/>
                      <a:ea typeface="+mn-ea"/>
                      <a:cs typeface="Arial" panose="020B0604020202020204" pitchFamily="34" charset="0"/>
                    </a:rPr>
                    <a:t>ANKERTHEMA 1 of 2</a:t>
                  </a:r>
                  <a:endParaRPr kumimoji="0" lang="nl-BE" b="1" i="0" u="none" strike="noStrike" kern="1200" cap="none" spc="0" normalizeH="0" baseline="0" noProof="0" dirty="0">
                    <a:ln>
                      <a:noFill/>
                    </a:ln>
                    <a:solidFill>
                      <a:srgbClr val="5C2483"/>
                    </a:solidFill>
                    <a:effectLst/>
                    <a:uLnTx/>
                    <a:uFillTx/>
                    <a:latin typeface="+mj-lt"/>
                    <a:ea typeface="+mn-ea"/>
                    <a:cs typeface="Arial" panose="020B0604020202020204" pitchFamily="34" charset="0"/>
                  </a:endParaRPr>
                </a:p>
              </p:txBody>
            </p:sp>
          </p:grpSp>
          <p:sp>
            <p:nvSpPr>
              <p:cNvPr id="34" name="Rechthoek 10"/>
              <p:cNvSpPr/>
              <p:nvPr/>
            </p:nvSpPr>
            <p:spPr>
              <a:xfrm>
                <a:off x="7964195" y="3198866"/>
                <a:ext cx="3825899" cy="1133609"/>
              </a:xfrm>
              <a:prstGeom prst="rect">
                <a:avLst/>
              </a:prstGeom>
              <a:noFill/>
              <a:ln>
                <a:solidFill>
                  <a:schemeClr val="bg1"/>
                </a:solidFill>
              </a:ln>
            </p:spPr>
            <p:txBody>
              <a:bodyPr wrap="square" lIns="116806" tIns="58403" rIns="116806" bIns="58403">
                <a:spAutoFit/>
              </a:bodyPr>
              <a:lstStyle/>
              <a:p>
                <a:pPr marL="0" marR="0" lvl="0" indent="0" algn="l" defTabSz="1042744" rtl="0" eaLnBrk="1" fontAlgn="auto" latinLnBrk="0" hangingPunct="1">
                  <a:lnSpc>
                    <a:spcPct val="100000"/>
                  </a:lnSpc>
                  <a:spcBef>
                    <a:spcPts val="0"/>
                  </a:spcBef>
                  <a:spcAft>
                    <a:spcPts val="0"/>
                  </a:spcAft>
                  <a:buClrTx/>
                  <a:buSzTx/>
                  <a:buFontTx/>
                  <a:buNone/>
                  <a:tabLst/>
                  <a:defRPr/>
                </a:pPr>
                <a:r>
                  <a:rPr kumimoji="0" lang="nl-BE" b="1" i="0" u="none" strike="noStrike" kern="1200" cap="none" spc="0" normalizeH="0" baseline="0" noProof="0" dirty="0">
                    <a:ln>
                      <a:noFill/>
                    </a:ln>
                    <a:solidFill>
                      <a:prstClr val="white"/>
                    </a:solidFill>
                    <a:effectLst/>
                    <a:uLnTx/>
                    <a:uFillTx/>
                    <a:ea typeface="+mn-ea"/>
                    <a:cs typeface="Arial" panose="020B0604020202020204" pitchFamily="34" charset="0"/>
                  </a:rPr>
                  <a:t>Verbreden &amp; verdiepen </a:t>
                </a:r>
              </a:p>
              <a:p>
                <a:pPr marL="285750" lvl="0" indent="-285750" defTabSz="1042744">
                  <a:buFont typeface="Arial" panose="020B0604020202020204" pitchFamily="34" charset="0"/>
                  <a:buChar char="•"/>
                  <a:defRPr/>
                </a:pPr>
                <a:r>
                  <a:rPr lang="nl-BE" sz="1600" dirty="0">
                    <a:solidFill>
                      <a:prstClr val="white"/>
                    </a:solidFill>
                    <a:cs typeface="Arial" panose="020B0604020202020204" pitchFamily="34" charset="0"/>
                  </a:rPr>
                  <a:t>Keuze uit twee ankerthema’s</a:t>
                </a:r>
              </a:p>
              <a:p>
                <a:pPr marL="285750" lvl="0" indent="-285750" defTabSz="1042744">
                  <a:buFont typeface="Arial" panose="020B0604020202020204" pitchFamily="34" charset="0"/>
                  <a:buChar char="•"/>
                  <a:defRPr/>
                </a:pPr>
                <a:r>
                  <a:rPr lang="nl-BE" sz="1600" dirty="0">
                    <a:solidFill>
                      <a:prstClr val="white"/>
                    </a:solidFill>
                    <a:cs typeface="Arial" panose="020B0604020202020204" pitchFamily="34" charset="0"/>
                  </a:rPr>
                  <a:t>Accent op onderzoeken van probleem of op ontwerpen</a:t>
                </a:r>
              </a:p>
            </p:txBody>
          </p:sp>
        </p:grpSp>
        <p:grpSp>
          <p:nvGrpSpPr>
            <p:cNvPr id="10" name="Group 9"/>
            <p:cNvGrpSpPr/>
            <p:nvPr/>
          </p:nvGrpSpPr>
          <p:grpSpPr>
            <a:xfrm>
              <a:off x="5427758" y="4963019"/>
              <a:ext cx="2276733" cy="525518"/>
              <a:chOff x="5427758" y="4689750"/>
              <a:chExt cx="2276733" cy="525518"/>
            </a:xfrm>
            <a:grpFill/>
          </p:grpSpPr>
          <p:sp>
            <p:nvSpPr>
              <p:cNvPr id="9" name="Rectangle 8"/>
              <p:cNvSpPr/>
              <p:nvPr/>
            </p:nvSpPr>
            <p:spPr>
              <a:xfrm>
                <a:off x="5427758" y="4689750"/>
                <a:ext cx="2276733" cy="5255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prstClr val="white"/>
                  </a:solidFill>
                  <a:effectLst/>
                  <a:uLnTx/>
                  <a:uFillTx/>
                  <a:latin typeface="Calibri"/>
                  <a:ea typeface="+mn-ea"/>
                  <a:cs typeface="+mn-cs"/>
                </a:endParaRPr>
              </a:p>
            </p:txBody>
          </p:sp>
          <p:sp>
            <p:nvSpPr>
              <p:cNvPr id="31" name="TextBox 30"/>
              <p:cNvSpPr txBox="1"/>
              <p:nvPr/>
            </p:nvSpPr>
            <p:spPr>
              <a:xfrm>
                <a:off x="5565142" y="4760374"/>
                <a:ext cx="1881161" cy="424732"/>
              </a:xfrm>
              <a:prstGeom prst="rect">
                <a:avLst/>
              </a:prstGeom>
              <a:noFill/>
            </p:spPr>
            <p:txBody>
              <a:bodyPr wrap="square" rtlCol="0" anchor="b"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tab pos="1971675" algn="l"/>
                  </a:tabLst>
                  <a:defRPr/>
                </a:pPr>
                <a:r>
                  <a:rPr kumimoji="0" lang="nl-BE" sz="2400" b="1" i="0" u="none" strike="noStrike" kern="1200" cap="none" spc="0" normalizeH="0" baseline="0" noProof="0" dirty="0">
                    <a:ln>
                      <a:noFill/>
                    </a:ln>
                    <a:solidFill>
                      <a:srgbClr val="5C2483"/>
                    </a:solidFill>
                    <a:effectLst/>
                    <a:uLnTx/>
                    <a:uFillTx/>
                    <a:latin typeface="+mj-lt"/>
                    <a:ea typeface="+mn-ea"/>
                    <a:cs typeface="Arial" panose="020B0604020202020204" pitchFamily="34" charset="0"/>
                  </a:rPr>
                  <a:t>AFRONDING</a:t>
                </a:r>
              </a:p>
            </p:txBody>
          </p:sp>
        </p:grpSp>
      </p:grpSp>
      <p:sp>
        <p:nvSpPr>
          <p:cNvPr id="29" name="Tekstvak 28">
            <a:extLst>
              <a:ext uri="{FF2B5EF4-FFF2-40B4-BE49-F238E27FC236}">
                <a16:creationId xmlns:a16="http://schemas.microsoft.com/office/drawing/2014/main" id="{A8BCE530-B571-47C1-BB20-FE33335E8468}"/>
              </a:ext>
            </a:extLst>
          </p:cNvPr>
          <p:cNvSpPr txBox="1"/>
          <p:nvPr/>
        </p:nvSpPr>
        <p:spPr>
          <a:xfrm>
            <a:off x="7010320" y="835877"/>
            <a:ext cx="3763182" cy="461665"/>
          </a:xfrm>
          <a:prstGeom prst="rect">
            <a:avLst/>
          </a:prstGeom>
          <a:noFill/>
        </p:spPr>
        <p:txBody>
          <a:bodyPr wrap="square" rtlCol="0">
            <a:spAutoFit/>
          </a:bodyPr>
          <a:lstStyle/>
          <a:p>
            <a:r>
              <a:rPr lang="nl-NL" sz="2400" dirty="0">
                <a:solidFill>
                  <a:schemeClr val="bg1"/>
                </a:solidFill>
              </a:rPr>
              <a:t>Elk anker duurt 3 of 4 weken </a:t>
            </a:r>
          </a:p>
        </p:txBody>
      </p:sp>
      <p:sp>
        <p:nvSpPr>
          <p:cNvPr id="7" name="Tekstvak 6">
            <a:extLst>
              <a:ext uri="{FF2B5EF4-FFF2-40B4-BE49-F238E27FC236}">
                <a16:creationId xmlns:a16="http://schemas.microsoft.com/office/drawing/2014/main" id="{3DD105D7-00F6-447E-81AA-F83D16153AC0}"/>
              </a:ext>
            </a:extLst>
          </p:cNvPr>
          <p:cNvSpPr txBox="1"/>
          <p:nvPr/>
        </p:nvSpPr>
        <p:spPr>
          <a:xfrm>
            <a:off x="4506083" y="2251778"/>
            <a:ext cx="803585" cy="369332"/>
          </a:xfrm>
          <a:prstGeom prst="rect">
            <a:avLst/>
          </a:prstGeom>
          <a:noFill/>
        </p:spPr>
        <p:txBody>
          <a:bodyPr wrap="square" rtlCol="0">
            <a:spAutoFit/>
          </a:bodyPr>
          <a:lstStyle/>
          <a:p>
            <a:r>
              <a:rPr lang="nl-NL" dirty="0">
                <a:solidFill>
                  <a:schemeClr val="bg1"/>
                </a:solidFill>
              </a:rPr>
              <a:t>FASE 1</a:t>
            </a:r>
          </a:p>
        </p:txBody>
      </p:sp>
      <p:sp>
        <p:nvSpPr>
          <p:cNvPr id="32" name="Tekstvak 31">
            <a:extLst>
              <a:ext uri="{FF2B5EF4-FFF2-40B4-BE49-F238E27FC236}">
                <a16:creationId xmlns:a16="http://schemas.microsoft.com/office/drawing/2014/main" id="{339D4023-7937-4C0C-A460-A4024F39D39C}"/>
              </a:ext>
            </a:extLst>
          </p:cNvPr>
          <p:cNvSpPr txBox="1"/>
          <p:nvPr/>
        </p:nvSpPr>
        <p:spPr>
          <a:xfrm>
            <a:off x="4477214" y="3618152"/>
            <a:ext cx="803585" cy="369332"/>
          </a:xfrm>
          <a:prstGeom prst="rect">
            <a:avLst/>
          </a:prstGeom>
          <a:noFill/>
        </p:spPr>
        <p:txBody>
          <a:bodyPr wrap="square" rtlCol="0">
            <a:spAutoFit/>
          </a:bodyPr>
          <a:lstStyle/>
          <a:p>
            <a:r>
              <a:rPr lang="nl-NL" dirty="0">
                <a:solidFill>
                  <a:schemeClr val="bg1"/>
                </a:solidFill>
              </a:rPr>
              <a:t>FASE 2</a:t>
            </a:r>
          </a:p>
        </p:txBody>
      </p:sp>
      <p:sp>
        <p:nvSpPr>
          <p:cNvPr id="33" name="Tekstvak 32">
            <a:extLst>
              <a:ext uri="{FF2B5EF4-FFF2-40B4-BE49-F238E27FC236}">
                <a16:creationId xmlns:a16="http://schemas.microsoft.com/office/drawing/2014/main" id="{8F74A81F-AE30-470F-8FAD-EC5D7E2C6CE7}"/>
              </a:ext>
            </a:extLst>
          </p:cNvPr>
          <p:cNvSpPr txBox="1"/>
          <p:nvPr/>
        </p:nvSpPr>
        <p:spPr>
          <a:xfrm>
            <a:off x="4506082" y="5045578"/>
            <a:ext cx="803585" cy="369332"/>
          </a:xfrm>
          <a:prstGeom prst="rect">
            <a:avLst/>
          </a:prstGeom>
          <a:noFill/>
        </p:spPr>
        <p:txBody>
          <a:bodyPr wrap="square" rtlCol="0">
            <a:spAutoFit/>
          </a:bodyPr>
          <a:lstStyle/>
          <a:p>
            <a:r>
              <a:rPr lang="nl-NL" dirty="0">
                <a:solidFill>
                  <a:schemeClr val="bg1"/>
                </a:solidFill>
              </a:rPr>
              <a:t>FASE 3</a:t>
            </a:r>
          </a:p>
        </p:txBody>
      </p:sp>
      <p:sp>
        <p:nvSpPr>
          <p:cNvPr id="41" name="Rechthoek 10">
            <a:extLst>
              <a:ext uri="{FF2B5EF4-FFF2-40B4-BE49-F238E27FC236}">
                <a16:creationId xmlns:a16="http://schemas.microsoft.com/office/drawing/2014/main" id="{2913A20B-E44E-466C-A6B9-450946790251}"/>
              </a:ext>
            </a:extLst>
          </p:cNvPr>
          <p:cNvSpPr/>
          <p:nvPr/>
        </p:nvSpPr>
        <p:spPr>
          <a:xfrm flipV="1">
            <a:off x="7997943" y="4500314"/>
            <a:ext cx="3803286" cy="1502941"/>
          </a:xfrm>
          <a:prstGeom prst="round1Rect">
            <a:avLst/>
          </a:prstGeom>
          <a:noFill/>
          <a:ln>
            <a:solidFill>
              <a:schemeClr val="bg1"/>
            </a:solidFill>
          </a:ln>
        </p:spPr>
        <p:txBody>
          <a:bodyPr wrap="square" lIns="116806" tIns="58403" rIns="116806" bIns="58403">
            <a:spAutoFit/>
            <a:scene3d>
              <a:camera prst="orthographicFront">
                <a:rot lat="0" lon="0" rev="10800000"/>
              </a:camera>
              <a:lightRig rig="threePt" dir="t"/>
            </a:scene3d>
          </a:bodyPr>
          <a:lstStyle/>
          <a:p>
            <a:pPr lvl="0" defTabSz="1042744">
              <a:defRPr/>
            </a:pPr>
            <a:r>
              <a:rPr lang="nl-BE" sz="1500" dirty="0">
                <a:solidFill>
                  <a:prstClr val="white"/>
                </a:solidFill>
                <a:cs typeface="Arial" panose="020B0604020202020204" pitchFamily="34" charset="0"/>
              </a:rPr>
              <a:t>  </a:t>
            </a:r>
          </a:p>
          <a:p>
            <a:pPr lvl="0" defTabSz="1042744">
              <a:defRPr/>
            </a:pPr>
            <a:endParaRPr lang="nl-BE" sz="1500" dirty="0">
              <a:solidFill>
                <a:prstClr val="white"/>
              </a:solidFill>
              <a:cs typeface="Arial" panose="020B0604020202020204" pitchFamily="34" charset="0"/>
            </a:endParaRPr>
          </a:p>
          <a:p>
            <a:pPr lvl="0" defTabSz="1042744">
              <a:defRPr/>
            </a:pPr>
            <a:endParaRPr lang="nl-BE" sz="1500" dirty="0">
              <a:solidFill>
                <a:prstClr val="white"/>
              </a:solidFill>
              <a:cs typeface="Arial" panose="020B0604020202020204" pitchFamily="34" charset="0"/>
            </a:endParaRPr>
          </a:p>
          <a:p>
            <a:pPr lvl="0" defTabSz="1042744">
              <a:defRPr/>
            </a:pPr>
            <a:endParaRPr lang="nl-BE" sz="1500" dirty="0">
              <a:solidFill>
                <a:prstClr val="white"/>
              </a:solidFill>
              <a:cs typeface="Arial" panose="020B0604020202020204" pitchFamily="34" charset="0"/>
            </a:endParaRPr>
          </a:p>
          <a:p>
            <a:pPr lvl="0" defTabSz="1042744">
              <a:defRPr/>
            </a:pPr>
            <a:endParaRPr lang="nl-BE" sz="1500" dirty="0">
              <a:solidFill>
                <a:prstClr val="white"/>
              </a:solidFill>
              <a:cs typeface="Arial" panose="020B0604020202020204" pitchFamily="34" charset="0"/>
            </a:endParaRPr>
          </a:p>
          <a:p>
            <a:pPr lvl="0" defTabSz="1042744">
              <a:defRPr/>
            </a:pPr>
            <a:endParaRPr lang="nl-BE" sz="1500" dirty="0">
              <a:solidFill>
                <a:prstClr val="white"/>
              </a:solidFill>
              <a:cs typeface="Arial" panose="020B0604020202020204" pitchFamily="34" charset="0"/>
            </a:endParaRPr>
          </a:p>
        </p:txBody>
      </p:sp>
      <p:sp>
        <p:nvSpPr>
          <p:cNvPr id="3" name="Tekstvak 2">
            <a:extLst>
              <a:ext uri="{FF2B5EF4-FFF2-40B4-BE49-F238E27FC236}">
                <a16:creationId xmlns:a16="http://schemas.microsoft.com/office/drawing/2014/main" id="{9A42CE55-CB34-4555-A59E-2D13F8DE3196}"/>
              </a:ext>
            </a:extLst>
          </p:cNvPr>
          <p:cNvSpPr txBox="1"/>
          <p:nvPr/>
        </p:nvSpPr>
        <p:spPr>
          <a:xfrm>
            <a:off x="7997942" y="4551371"/>
            <a:ext cx="3753891" cy="1631216"/>
          </a:xfrm>
          <a:prstGeom prst="rect">
            <a:avLst/>
          </a:prstGeom>
          <a:noFill/>
        </p:spPr>
        <p:txBody>
          <a:bodyPr wrap="square" rtlCol="0">
            <a:spAutoFit/>
          </a:bodyPr>
          <a:lstStyle/>
          <a:p>
            <a:r>
              <a:rPr lang="nl-NL" b="1" dirty="0">
                <a:solidFill>
                  <a:schemeClr val="bg1"/>
                </a:solidFill>
              </a:rPr>
              <a:t>Reflecteren &amp; presenteren </a:t>
            </a:r>
          </a:p>
          <a:p>
            <a:pPr marL="285750" lvl="0" indent="-285750" defTabSz="1042744">
              <a:buFont typeface="Arial" panose="020B0604020202020204" pitchFamily="34" charset="0"/>
              <a:buChar char="•"/>
              <a:defRPr/>
            </a:pPr>
            <a:r>
              <a:rPr lang="nl-BE" sz="1600" dirty="0">
                <a:solidFill>
                  <a:prstClr val="white"/>
                </a:solidFill>
                <a:cs typeface="Arial" panose="020B0604020202020204" pitchFamily="34" charset="0"/>
              </a:rPr>
              <a:t>Terug kijken op ervaringen en ontdekkingen in een presentatie, collage, voorstelling</a:t>
            </a:r>
          </a:p>
          <a:p>
            <a:pPr marL="285750" lvl="0" indent="-285750" defTabSz="1042744">
              <a:buFont typeface="Arial" panose="020B0604020202020204" pitchFamily="34" charset="0"/>
              <a:buChar char="•"/>
              <a:defRPr/>
            </a:pPr>
            <a:r>
              <a:rPr lang="nl-BE" sz="1600" dirty="0">
                <a:solidFill>
                  <a:prstClr val="white"/>
                </a:solidFill>
                <a:cs typeface="Arial" panose="020B0604020202020204" pitchFamily="34" charset="0"/>
              </a:rPr>
              <a:t>Oplossen van het centraal probleem</a:t>
            </a:r>
          </a:p>
          <a:p>
            <a:endParaRPr lang="nl-NL" dirty="0">
              <a:solidFill>
                <a:schemeClr val="bg1"/>
              </a:solidFill>
            </a:endParaRPr>
          </a:p>
        </p:txBody>
      </p:sp>
      <p:pic>
        <p:nvPicPr>
          <p:cNvPr id="39" name="Afbeelding 38">
            <a:extLst>
              <a:ext uri="{FF2B5EF4-FFF2-40B4-BE49-F238E27FC236}">
                <a16:creationId xmlns:a16="http://schemas.microsoft.com/office/drawing/2014/main" id="{D00DEFBC-98DD-4771-B96D-EF11A8471D5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294831" y="6164016"/>
            <a:ext cx="724228" cy="563044"/>
          </a:xfrm>
          <a:prstGeom prst="rect">
            <a:avLst/>
          </a:prstGeom>
        </p:spPr>
      </p:pic>
      <p:sp>
        <p:nvSpPr>
          <p:cNvPr id="30" name="Freeform 41">
            <a:extLst>
              <a:ext uri="{FF2B5EF4-FFF2-40B4-BE49-F238E27FC236}">
                <a16:creationId xmlns:a16="http://schemas.microsoft.com/office/drawing/2014/main" id="{410947FF-6083-4190-804E-E28ABB461781}"/>
              </a:ext>
            </a:extLst>
          </p:cNvPr>
          <p:cNvSpPr/>
          <p:nvPr/>
        </p:nvSpPr>
        <p:spPr>
          <a:xfrm rot="584602">
            <a:off x="-70951" y="307950"/>
            <a:ext cx="3141797" cy="1020274"/>
          </a:xfrm>
          <a:custGeom>
            <a:avLst/>
            <a:gdLst>
              <a:gd name="connsiteX0" fmla="*/ 45720 w 1267097"/>
              <a:gd name="connsiteY0" fmla="*/ 378823 h 378823"/>
              <a:gd name="connsiteX1" fmla="*/ 1267097 w 1267097"/>
              <a:gd name="connsiteY1" fmla="*/ 182880 h 378823"/>
              <a:gd name="connsiteX2" fmla="*/ 1267097 w 1267097"/>
              <a:gd name="connsiteY2" fmla="*/ 0 h 378823"/>
              <a:gd name="connsiteX3" fmla="*/ 0 w 1267097"/>
              <a:gd name="connsiteY3" fmla="*/ 189412 h 378823"/>
              <a:gd name="connsiteX4" fmla="*/ 45720 w 1267097"/>
              <a:gd name="connsiteY4" fmla="*/ 378823 h 378823"/>
              <a:gd name="connsiteX0" fmla="*/ 71845 w 1293222"/>
              <a:gd name="connsiteY0" fmla="*/ 378823 h 378823"/>
              <a:gd name="connsiteX1" fmla="*/ 1293222 w 1293222"/>
              <a:gd name="connsiteY1" fmla="*/ 182880 h 378823"/>
              <a:gd name="connsiteX2" fmla="*/ 1293222 w 1293222"/>
              <a:gd name="connsiteY2" fmla="*/ 0 h 378823"/>
              <a:gd name="connsiteX3" fmla="*/ 0 w 1293222"/>
              <a:gd name="connsiteY3" fmla="*/ 130629 h 378823"/>
              <a:gd name="connsiteX4" fmla="*/ 71845 w 1293222"/>
              <a:gd name="connsiteY4" fmla="*/ 378823 h 378823"/>
              <a:gd name="connsiteX0" fmla="*/ 65313 w 1293222"/>
              <a:gd name="connsiteY0" fmla="*/ 398417 h 398417"/>
              <a:gd name="connsiteX1" fmla="*/ 1293222 w 1293222"/>
              <a:gd name="connsiteY1" fmla="*/ 182880 h 398417"/>
              <a:gd name="connsiteX2" fmla="*/ 1293222 w 1293222"/>
              <a:gd name="connsiteY2" fmla="*/ 0 h 398417"/>
              <a:gd name="connsiteX3" fmla="*/ 0 w 1293222"/>
              <a:gd name="connsiteY3" fmla="*/ 130629 h 398417"/>
              <a:gd name="connsiteX4" fmla="*/ 65313 w 1293222"/>
              <a:gd name="connsiteY4" fmla="*/ 398417 h 398417"/>
              <a:gd name="connsiteX0" fmla="*/ 104663 w 1332572"/>
              <a:gd name="connsiteY0" fmla="*/ 488407 h 488407"/>
              <a:gd name="connsiteX1" fmla="*/ 1332572 w 1332572"/>
              <a:gd name="connsiteY1" fmla="*/ 272870 h 488407"/>
              <a:gd name="connsiteX2" fmla="*/ 1332572 w 1332572"/>
              <a:gd name="connsiteY2" fmla="*/ 89990 h 488407"/>
              <a:gd name="connsiteX3" fmla="*/ 0 w 1332572"/>
              <a:gd name="connsiteY3" fmla="*/ 0 h 488407"/>
              <a:gd name="connsiteX4" fmla="*/ 104663 w 1332572"/>
              <a:gd name="connsiteY4" fmla="*/ 488407 h 488407"/>
              <a:gd name="connsiteX0" fmla="*/ 58754 w 1286663"/>
              <a:gd name="connsiteY0" fmla="*/ 488407 h 488407"/>
              <a:gd name="connsiteX1" fmla="*/ 1286663 w 1286663"/>
              <a:gd name="connsiteY1" fmla="*/ 272870 h 488407"/>
              <a:gd name="connsiteX2" fmla="*/ 1286663 w 1286663"/>
              <a:gd name="connsiteY2" fmla="*/ 89990 h 488407"/>
              <a:gd name="connsiteX3" fmla="*/ 0 w 1286663"/>
              <a:gd name="connsiteY3" fmla="*/ 0 h 488407"/>
              <a:gd name="connsiteX4" fmla="*/ 58754 w 1286663"/>
              <a:gd name="connsiteY4" fmla="*/ 488407 h 488407"/>
              <a:gd name="connsiteX0" fmla="*/ 58754 w 1293221"/>
              <a:gd name="connsiteY0" fmla="*/ 574912 h 574912"/>
              <a:gd name="connsiteX1" fmla="*/ 1286663 w 1293221"/>
              <a:gd name="connsiteY1" fmla="*/ 359375 h 574912"/>
              <a:gd name="connsiteX2" fmla="*/ 1293221 w 1293221"/>
              <a:gd name="connsiteY2" fmla="*/ 0 h 574912"/>
              <a:gd name="connsiteX3" fmla="*/ 0 w 1293221"/>
              <a:gd name="connsiteY3" fmla="*/ 86505 h 574912"/>
              <a:gd name="connsiteX4" fmla="*/ 58754 w 1293221"/>
              <a:gd name="connsiteY4" fmla="*/ 574912 h 574912"/>
              <a:gd name="connsiteX0" fmla="*/ 58754 w 1470298"/>
              <a:gd name="connsiteY0" fmla="*/ 574912 h 574912"/>
              <a:gd name="connsiteX1" fmla="*/ 1470298 w 1470298"/>
              <a:gd name="connsiteY1" fmla="*/ 561083 h 574912"/>
              <a:gd name="connsiteX2" fmla="*/ 1293221 w 1470298"/>
              <a:gd name="connsiteY2" fmla="*/ 0 h 574912"/>
              <a:gd name="connsiteX3" fmla="*/ 0 w 1470298"/>
              <a:gd name="connsiteY3" fmla="*/ 86505 h 574912"/>
              <a:gd name="connsiteX4" fmla="*/ 58754 w 1470298"/>
              <a:gd name="connsiteY4" fmla="*/ 574912 h 574912"/>
              <a:gd name="connsiteX0" fmla="*/ 65313 w 1470298"/>
              <a:gd name="connsiteY0" fmla="*/ 795531 h 795531"/>
              <a:gd name="connsiteX1" fmla="*/ 1470298 w 1470298"/>
              <a:gd name="connsiteY1" fmla="*/ 561083 h 795531"/>
              <a:gd name="connsiteX2" fmla="*/ 1293221 w 1470298"/>
              <a:gd name="connsiteY2" fmla="*/ 0 h 795531"/>
              <a:gd name="connsiteX3" fmla="*/ 0 w 1470298"/>
              <a:gd name="connsiteY3" fmla="*/ 86505 h 795531"/>
              <a:gd name="connsiteX4" fmla="*/ 65313 w 1470298"/>
              <a:gd name="connsiteY4" fmla="*/ 795531 h 795531"/>
              <a:gd name="connsiteX0" fmla="*/ 65313 w 1844126"/>
              <a:gd name="connsiteY0" fmla="*/ 795531 h 795531"/>
              <a:gd name="connsiteX1" fmla="*/ 1844126 w 1844126"/>
              <a:gd name="connsiteY1" fmla="*/ 504352 h 795531"/>
              <a:gd name="connsiteX2" fmla="*/ 1293221 w 1844126"/>
              <a:gd name="connsiteY2" fmla="*/ 0 h 795531"/>
              <a:gd name="connsiteX3" fmla="*/ 0 w 1844126"/>
              <a:gd name="connsiteY3" fmla="*/ 86505 h 795531"/>
              <a:gd name="connsiteX4" fmla="*/ 65313 w 1844126"/>
              <a:gd name="connsiteY4" fmla="*/ 795531 h 795531"/>
              <a:gd name="connsiteX0" fmla="*/ 65313 w 1844126"/>
              <a:gd name="connsiteY0" fmla="*/ 845958 h 845958"/>
              <a:gd name="connsiteX1" fmla="*/ 1844126 w 1844126"/>
              <a:gd name="connsiteY1" fmla="*/ 554779 h 845958"/>
              <a:gd name="connsiteX2" fmla="*/ 1621141 w 1844126"/>
              <a:gd name="connsiteY2" fmla="*/ 0 h 845958"/>
              <a:gd name="connsiteX3" fmla="*/ 0 w 1844126"/>
              <a:gd name="connsiteY3" fmla="*/ 136932 h 845958"/>
              <a:gd name="connsiteX4" fmla="*/ 65313 w 1844126"/>
              <a:gd name="connsiteY4" fmla="*/ 845958 h 845958"/>
              <a:gd name="connsiteX0" fmla="*/ 65313 w 1844126"/>
              <a:gd name="connsiteY0" fmla="*/ 864868 h 864868"/>
              <a:gd name="connsiteX1" fmla="*/ 1844126 w 1844126"/>
              <a:gd name="connsiteY1" fmla="*/ 573689 h 864868"/>
              <a:gd name="connsiteX2" fmla="*/ 1621141 w 1844126"/>
              <a:gd name="connsiteY2" fmla="*/ 0 h 864868"/>
              <a:gd name="connsiteX3" fmla="*/ 0 w 1844126"/>
              <a:gd name="connsiteY3" fmla="*/ 155842 h 864868"/>
              <a:gd name="connsiteX4" fmla="*/ 65313 w 1844126"/>
              <a:gd name="connsiteY4" fmla="*/ 864868 h 864868"/>
              <a:gd name="connsiteX0" fmla="*/ 65313 w 1686724"/>
              <a:gd name="connsiteY0" fmla="*/ 864868 h 864868"/>
              <a:gd name="connsiteX1" fmla="*/ 1686724 w 1686724"/>
              <a:gd name="connsiteY1" fmla="*/ 561082 h 864868"/>
              <a:gd name="connsiteX2" fmla="*/ 1621141 w 1686724"/>
              <a:gd name="connsiteY2" fmla="*/ 0 h 864868"/>
              <a:gd name="connsiteX3" fmla="*/ 0 w 1686724"/>
              <a:gd name="connsiteY3" fmla="*/ 155842 h 864868"/>
              <a:gd name="connsiteX4" fmla="*/ 65313 w 1686724"/>
              <a:gd name="connsiteY4" fmla="*/ 864868 h 864868"/>
              <a:gd name="connsiteX0" fmla="*/ 39079 w 1660490"/>
              <a:gd name="connsiteY0" fmla="*/ 864868 h 864868"/>
              <a:gd name="connsiteX1" fmla="*/ 1660490 w 1660490"/>
              <a:gd name="connsiteY1" fmla="*/ 561082 h 864868"/>
              <a:gd name="connsiteX2" fmla="*/ 1594907 w 1660490"/>
              <a:gd name="connsiteY2" fmla="*/ 0 h 864868"/>
              <a:gd name="connsiteX3" fmla="*/ 0 w 1660490"/>
              <a:gd name="connsiteY3" fmla="*/ 351248 h 864868"/>
              <a:gd name="connsiteX4" fmla="*/ 39079 w 1660490"/>
              <a:gd name="connsiteY4" fmla="*/ 864868 h 864868"/>
              <a:gd name="connsiteX0" fmla="*/ 39079 w 1857243"/>
              <a:gd name="connsiteY0" fmla="*/ 719889 h 719889"/>
              <a:gd name="connsiteX1" fmla="*/ 1660490 w 1857243"/>
              <a:gd name="connsiteY1" fmla="*/ 416103 h 719889"/>
              <a:gd name="connsiteX2" fmla="*/ 1857243 w 1857243"/>
              <a:gd name="connsiteY2" fmla="*/ 0 h 719889"/>
              <a:gd name="connsiteX3" fmla="*/ 0 w 1857243"/>
              <a:gd name="connsiteY3" fmla="*/ 206269 h 719889"/>
              <a:gd name="connsiteX4" fmla="*/ 39079 w 1857243"/>
              <a:gd name="connsiteY4" fmla="*/ 719889 h 719889"/>
              <a:gd name="connsiteX0" fmla="*/ 39079 w 1909709"/>
              <a:gd name="connsiteY0" fmla="*/ 719889 h 719889"/>
              <a:gd name="connsiteX1" fmla="*/ 1909709 w 1909709"/>
              <a:gd name="connsiteY1" fmla="*/ 208090 h 719889"/>
              <a:gd name="connsiteX2" fmla="*/ 1857243 w 1909709"/>
              <a:gd name="connsiteY2" fmla="*/ 0 h 719889"/>
              <a:gd name="connsiteX3" fmla="*/ 0 w 1909709"/>
              <a:gd name="connsiteY3" fmla="*/ 206269 h 719889"/>
              <a:gd name="connsiteX4" fmla="*/ 39079 w 1909709"/>
              <a:gd name="connsiteY4" fmla="*/ 719889 h 719889"/>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206269 h 511876"/>
              <a:gd name="connsiteX4" fmla="*/ 39079 w 1909709"/>
              <a:gd name="connsiteY4" fmla="*/ 511876 h 511876"/>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121173 h 511876"/>
              <a:gd name="connsiteX4" fmla="*/ 39079 w 1909709"/>
              <a:gd name="connsiteY4" fmla="*/ 511876 h 511876"/>
              <a:gd name="connsiteX0" fmla="*/ 39079 w 1857243"/>
              <a:gd name="connsiteY0" fmla="*/ 511876 h 511876"/>
              <a:gd name="connsiteX1" fmla="*/ 1748372 w 1857243"/>
              <a:gd name="connsiteY1" fmla="*/ 309201 h 511876"/>
              <a:gd name="connsiteX2" fmla="*/ 1857243 w 1857243"/>
              <a:gd name="connsiteY2" fmla="*/ 0 h 511876"/>
              <a:gd name="connsiteX3" fmla="*/ 0 w 1857243"/>
              <a:gd name="connsiteY3" fmla="*/ 121173 h 511876"/>
              <a:gd name="connsiteX4" fmla="*/ 39079 w 1857243"/>
              <a:gd name="connsiteY4" fmla="*/ 511876 h 511876"/>
              <a:gd name="connsiteX0" fmla="*/ 39079 w 1748372"/>
              <a:gd name="connsiteY0" fmla="*/ 499237 h 499237"/>
              <a:gd name="connsiteX1" fmla="*/ 1748372 w 1748372"/>
              <a:gd name="connsiteY1" fmla="*/ 296562 h 499237"/>
              <a:gd name="connsiteX2" fmla="*/ 1723965 w 1748372"/>
              <a:gd name="connsiteY2" fmla="*/ 0 h 499237"/>
              <a:gd name="connsiteX3" fmla="*/ 0 w 1748372"/>
              <a:gd name="connsiteY3" fmla="*/ 108534 h 499237"/>
              <a:gd name="connsiteX4" fmla="*/ 39079 w 1748372"/>
              <a:gd name="connsiteY4" fmla="*/ 499237 h 499237"/>
              <a:gd name="connsiteX0" fmla="*/ 95196 w 1748372"/>
              <a:gd name="connsiteY0" fmla="*/ 451841 h 451841"/>
              <a:gd name="connsiteX1" fmla="*/ 1748372 w 1748372"/>
              <a:gd name="connsiteY1" fmla="*/ 296562 h 451841"/>
              <a:gd name="connsiteX2" fmla="*/ 1723965 w 1748372"/>
              <a:gd name="connsiteY2" fmla="*/ 0 h 451841"/>
              <a:gd name="connsiteX3" fmla="*/ 0 w 1748372"/>
              <a:gd name="connsiteY3" fmla="*/ 108534 h 451841"/>
              <a:gd name="connsiteX4" fmla="*/ 95196 w 1748372"/>
              <a:gd name="connsiteY4" fmla="*/ 451841 h 451841"/>
              <a:gd name="connsiteX0" fmla="*/ 95196 w 1723965"/>
              <a:gd name="connsiteY0" fmla="*/ 451841 h 451841"/>
              <a:gd name="connsiteX1" fmla="*/ 1713299 w 1723965"/>
              <a:gd name="connsiteY1" fmla="*/ 315520 h 451841"/>
              <a:gd name="connsiteX2" fmla="*/ 1723965 w 1723965"/>
              <a:gd name="connsiteY2" fmla="*/ 0 h 451841"/>
              <a:gd name="connsiteX3" fmla="*/ 0 w 1723965"/>
              <a:gd name="connsiteY3" fmla="*/ 108534 h 451841"/>
              <a:gd name="connsiteX4" fmla="*/ 95196 w 1723965"/>
              <a:gd name="connsiteY4" fmla="*/ 451841 h 451841"/>
              <a:gd name="connsiteX0" fmla="*/ 95196 w 1713299"/>
              <a:gd name="connsiteY0" fmla="*/ 455001 h 455001"/>
              <a:gd name="connsiteX1" fmla="*/ 1713299 w 1713299"/>
              <a:gd name="connsiteY1" fmla="*/ 318680 h 455001"/>
              <a:gd name="connsiteX2" fmla="*/ 1667848 w 1713299"/>
              <a:gd name="connsiteY2" fmla="*/ 0 h 455001"/>
              <a:gd name="connsiteX3" fmla="*/ 0 w 1713299"/>
              <a:gd name="connsiteY3" fmla="*/ 111694 h 455001"/>
              <a:gd name="connsiteX4" fmla="*/ 95196 w 1713299"/>
              <a:gd name="connsiteY4" fmla="*/ 455001 h 455001"/>
              <a:gd name="connsiteX0" fmla="*/ 67137 w 1685240"/>
              <a:gd name="connsiteY0" fmla="*/ 455001 h 455001"/>
              <a:gd name="connsiteX1" fmla="*/ 1685240 w 1685240"/>
              <a:gd name="connsiteY1" fmla="*/ 318680 h 455001"/>
              <a:gd name="connsiteX2" fmla="*/ 1639789 w 1685240"/>
              <a:gd name="connsiteY2" fmla="*/ 0 h 455001"/>
              <a:gd name="connsiteX3" fmla="*/ 0 w 1685240"/>
              <a:gd name="connsiteY3" fmla="*/ 130652 h 455001"/>
              <a:gd name="connsiteX4" fmla="*/ 67137 w 1685240"/>
              <a:gd name="connsiteY4" fmla="*/ 455001 h 455001"/>
              <a:gd name="connsiteX0" fmla="*/ 67137 w 1667473"/>
              <a:gd name="connsiteY0" fmla="*/ 455001 h 455001"/>
              <a:gd name="connsiteX1" fmla="*/ 1667473 w 1667473"/>
              <a:gd name="connsiteY1" fmla="*/ 242054 h 455001"/>
              <a:gd name="connsiteX2" fmla="*/ 1639789 w 1667473"/>
              <a:gd name="connsiteY2" fmla="*/ 0 h 455001"/>
              <a:gd name="connsiteX3" fmla="*/ 0 w 1667473"/>
              <a:gd name="connsiteY3" fmla="*/ 130652 h 455001"/>
              <a:gd name="connsiteX4" fmla="*/ 67137 w 1667473"/>
              <a:gd name="connsiteY4" fmla="*/ 455001 h 455001"/>
              <a:gd name="connsiteX0" fmla="*/ 100217 w 1700553"/>
              <a:gd name="connsiteY0" fmla="*/ 455001 h 455001"/>
              <a:gd name="connsiteX1" fmla="*/ 1700553 w 1700553"/>
              <a:gd name="connsiteY1" fmla="*/ 242054 h 455001"/>
              <a:gd name="connsiteX2" fmla="*/ 1672869 w 1700553"/>
              <a:gd name="connsiteY2" fmla="*/ 0 h 455001"/>
              <a:gd name="connsiteX3" fmla="*/ 0 w 1700553"/>
              <a:gd name="connsiteY3" fmla="*/ 205540 h 455001"/>
              <a:gd name="connsiteX4" fmla="*/ 100217 w 1700553"/>
              <a:gd name="connsiteY4" fmla="*/ 455001 h 455001"/>
              <a:gd name="connsiteX0" fmla="*/ 100217 w 1700553"/>
              <a:gd name="connsiteY0" fmla="*/ 366878 h 366878"/>
              <a:gd name="connsiteX1" fmla="*/ 1700553 w 1700553"/>
              <a:gd name="connsiteY1" fmla="*/ 153931 h 366878"/>
              <a:gd name="connsiteX2" fmla="*/ 1588975 w 1700553"/>
              <a:gd name="connsiteY2" fmla="*/ 0 h 366878"/>
              <a:gd name="connsiteX3" fmla="*/ 0 w 1700553"/>
              <a:gd name="connsiteY3" fmla="*/ 117417 h 366878"/>
              <a:gd name="connsiteX4" fmla="*/ 100217 w 1700553"/>
              <a:gd name="connsiteY4" fmla="*/ 366878 h 366878"/>
              <a:gd name="connsiteX0" fmla="*/ 115726 w 1700553"/>
              <a:gd name="connsiteY0" fmla="*/ 305211 h 305211"/>
              <a:gd name="connsiteX1" fmla="*/ 1700553 w 1700553"/>
              <a:gd name="connsiteY1" fmla="*/ 153931 h 305211"/>
              <a:gd name="connsiteX2" fmla="*/ 1588975 w 1700553"/>
              <a:gd name="connsiteY2" fmla="*/ 0 h 305211"/>
              <a:gd name="connsiteX3" fmla="*/ 0 w 1700553"/>
              <a:gd name="connsiteY3" fmla="*/ 117417 h 305211"/>
              <a:gd name="connsiteX4" fmla="*/ 115726 w 1700553"/>
              <a:gd name="connsiteY4" fmla="*/ 305211 h 305211"/>
              <a:gd name="connsiteX0" fmla="*/ 115726 w 1700553"/>
              <a:gd name="connsiteY0" fmla="*/ 321895 h 321895"/>
              <a:gd name="connsiteX1" fmla="*/ 1700553 w 1700553"/>
              <a:gd name="connsiteY1" fmla="*/ 170615 h 321895"/>
              <a:gd name="connsiteX2" fmla="*/ 1471607 w 1700553"/>
              <a:gd name="connsiteY2" fmla="*/ 0 h 321895"/>
              <a:gd name="connsiteX3" fmla="*/ 0 w 1700553"/>
              <a:gd name="connsiteY3" fmla="*/ 134101 h 321895"/>
              <a:gd name="connsiteX4" fmla="*/ 115726 w 1700553"/>
              <a:gd name="connsiteY4" fmla="*/ 321895 h 321895"/>
              <a:gd name="connsiteX0" fmla="*/ 115726 w 1581352"/>
              <a:gd name="connsiteY0" fmla="*/ 321895 h 321895"/>
              <a:gd name="connsiteX1" fmla="*/ 1581352 w 1581352"/>
              <a:gd name="connsiteY1" fmla="*/ 210307 h 321895"/>
              <a:gd name="connsiteX2" fmla="*/ 1471607 w 1581352"/>
              <a:gd name="connsiteY2" fmla="*/ 0 h 321895"/>
              <a:gd name="connsiteX3" fmla="*/ 0 w 1581352"/>
              <a:gd name="connsiteY3" fmla="*/ 134101 h 321895"/>
              <a:gd name="connsiteX4" fmla="*/ 115726 w 1581352"/>
              <a:gd name="connsiteY4" fmla="*/ 321895 h 321895"/>
              <a:gd name="connsiteX0" fmla="*/ 92298 w 1557924"/>
              <a:gd name="connsiteY0" fmla="*/ 321895 h 321895"/>
              <a:gd name="connsiteX1" fmla="*/ 1557924 w 1557924"/>
              <a:gd name="connsiteY1" fmla="*/ 210307 h 321895"/>
              <a:gd name="connsiteX2" fmla="*/ 1448179 w 1557924"/>
              <a:gd name="connsiteY2" fmla="*/ 0 h 321895"/>
              <a:gd name="connsiteX3" fmla="*/ 0 w 1557924"/>
              <a:gd name="connsiteY3" fmla="*/ 116473 h 321895"/>
              <a:gd name="connsiteX4" fmla="*/ 92298 w 1557924"/>
              <a:gd name="connsiteY4" fmla="*/ 321895 h 321895"/>
              <a:gd name="connsiteX0" fmla="*/ 152961 w 1557924"/>
              <a:gd name="connsiteY0" fmla="*/ 341247 h 341247"/>
              <a:gd name="connsiteX1" fmla="*/ 1557924 w 1557924"/>
              <a:gd name="connsiteY1" fmla="*/ 210307 h 341247"/>
              <a:gd name="connsiteX2" fmla="*/ 1448179 w 1557924"/>
              <a:gd name="connsiteY2" fmla="*/ 0 h 341247"/>
              <a:gd name="connsiteX3" fmla="*/ 0 w 1557924"/>
              <a:gd name="connsiteY3" fmla="*/ 116473 h 341247"/>
              <a:gd name="connsiteX4" fmla="*/ 152961 w 1557924"/>
              <a:gd name="connsiteY4" fmla="*/ 341247 h 341247"/>
              <a:gd name="connsiteX0" fmla="*/ 135357 w 1557924"/>
              <a:gd name="connsiteY0" fmla="*/ 339493 h 339493"/>
              <a:gd name="connsiteX1" fmla="*/ 1557924 w 1557924"/>
              <a:gd name="connsiteY1" fmla="*/ 210307 h 339493"/>
              <a:gd name="connsiteX2" fmla="*/ 1448179 w 1557924"/>
              <a:gd name="connsiteY2" fmla="*/ 0 h 339493"/>
              <a:gd name="connsiteX3" fmla="*/ 0 w 1557924"/>
              <a:gd name="connsiteY3" fmla="*/ 116473 h 339493"/>
              <a:gd name="connsiteX4" fmla="*/ 135357 w 1557924"/>
              <a:gd name="connsiteY4" fmla="*/ 339493 h 339493"/>
              <a:gd name="connsiteX0" fmla="*/ 109934 w 1532501"/>
              <a:gd name="connsiteY0" fmla="*/ 339493 h 339493"/>
              <a:gd name="connsiteX1" fmla="*/ 1532501 w 1532501"/>
              <a:gd name="connsiteY1" fmla="*/ 210307 h 339493"/>
              <a:gd name="connsiteX2" fmla="*/ 1422756 w 1532501"/>
              <a:gd name="connsiteY2" fmla="*/ 0 h 339493"/>
              <a:gd name="connsiteX3" fmla="*/ 0 w 1532501"/>
              <a:gd name="connsiteY3" fmla="*/ 117343 h 339493"/>
              <a:gd name="connsiteX4" fmla="*/ 109934 w 1532501"/>
              <a:gd name="connsiteY4" fmla="*/ 339493 h 339493"/>
              <a:gd name="connsiteX0" fmla="*/ 133525 w 1556092"/>
              <a:gd name="connsiteY0" fmla="*/ 339493 h 339493"/>
              <a:gd name="connsiteX1" fmla="*/ 1556092 w 1556092"/>
              <a:gd name="connsiteY1" fmla="*/ 210307 h 339493"/>
              <a:gd name="connsiteX2" fmla="*/ 1446347 w 1556092"/>
              <a:gd name="connsiteY2" fmla="*/ 0 h 339493"/>
              <a:gd name="connsiteX3" fmla="*/ 0 w 1556092"/>
              <a:gd name="connsiteY3" fmla="*/ 60098 h 339493"/>
              <a:gd name="connsiteX4" fmla="*/ 133525 w 1556092"/>
              <a:gd name="connsiteY4" fmla="*/ 339493 h 339493"/>
              <a:gd name="connsiteX0" fmla="*/ 133525 w 2343667"/>
              <a:gd name="connsiteY0" fmla="*/ 459688 h 459688"/>
              <a:gd name="connsiteX1" fmla="*/ 1556092 w 2343667"/>
              <a:gd name="connsiteY1" fmla="*/ 330502 h 459688"/>
              <a:gd name="connsiteX2" fmla="*/ 2343667 w 2343667"/>
              <a:gd name="connsiteY2" fmla="*/ 0 h 459688"/>
              <a:gd name="connsiteX3" fmla="*/ 0 w 2343667"/>
              <a:gd name="connsiteY3" fmla="*/ 180293 h 459688"/>
              <a:gd name="connsiteX4" fmla="*/ 133525 w 2343667"/>
              <a:gd name="connsiteY4" fmla="*/ 459688 h 459688"/>
              <a:gd name="connsiteX0" fmla="*/ 133525 w 2391079"/>
              <a:gd name="connsiteY0" fmla="*/ 459688 h 459688"/>
              <a:gd name="connsiteX1" fmla="*/ 2391079 w 2391079"/>
              <a:gd name="connsiteY1" fmla="*/ 322204 h 459688"/>
              <a:gd name="connsiteX2" fmla="*/ 2343667 w 2391079"/>
              <a:gd name="connsiteY2" fmla="*/ 0 h 459688"/>
              <a:gd name="connsiteX3" fmla="*/ 0 w 2391079"/>
              <a:gd name="connsiteY3" fmla="*/ 180293 h 459688"/>
              <a:gd name="connsiteX4" fmla="*/ 133525 w 2391079"/>
              <a:gd name="connsiteY4" fmla="*/ 459688 h 459688"/>
              <a:gd name="connsiteX0" fmla="*/ 159047 w 2391079"/>
              <a:gd name="connsiteY0" fmla="*/ 505482 h 505482"/>
              <a:gd name="connsiteX1" fmla="*/ 2391079 w 2391079"/>
              <a:gd name="connsiteY1" fmla="*/ 322204 h 505482"/>
              <a:gd name="connsiteX2" fmla="*/ 2343667 w 2391079"/>
              <a:gd name="connsiteY2" fmla="*/ 0 h 505482"/>
              <a:gd name="connsiteX3" fmla="*/ 0 w 2391079"/>
              <a:gd name="connsiteY3" fmla="*/ 180293 h 505482"/>
              <a:gd name="connsiteX4" fmla="*/ 159047 w 2391079"/>
              <a:gd name="connsiteY4" fmla="*/ 505482 h 505482"/>
              <a:gd name="connsiteX0" fmla="*/ 159047 w 2391079"/>
              <a:gd name="connsiteY0" fmla="*/ 518659 h 518659"/>
              <a:gd name="connsiteX1" fmla="*/ 2391079 w 2391079"/>
              <a:gd name="connsiteY1" fmla="*/ 335381 h 518659"/>
              <a:gd name="connsiteX2" fmla="*/ 2261507 w 2391079"/>
              <a:gd name="connsiteY2" fmla="*/ 0 h 518659"/>
              <a:gd name="connsiteX3" fmla="*/ 0 w 2391079"/>
              <a:gd name="connsiteY3" fmla="*/ 193470 h 518659"/>
              <a:gd name="connsiteX4" fmla="*/ 159047 w 2391079"/>
              <a:gd name="connsiteY4" fmla="*/ 518659 h 518659"/>
              <a:gd name="connsiteX0" fmla="*/ 159047 w 2513813"/>
              <a:gd name="connsiteY0" fmla="*/ 498511 h 498511"/>
              <a:gd name="connsiteX1" fmla="*/ 2391079 w 2513813"/>
              <a:gd name="connsiteY1" fmla="*/ 315233 h 498511"/>
              <a:gd name="connsiteX2" fmla="*/ 2513813 w 2513813"/>
              <a:gd name="connsiteY2" fmla="*/ 0 h 498511"/>
              <a:gd name="connsiteX3" fmla="*/ 0 w 2513813"/>
              <a:gd name="connsiteY3" fmla="*/ 173322 h 498511"/>
              <a:gd name="connsiteX4" fmla="*/ 159047 w 2513813"/>
              <a:gd name="connsiteY4" fmla="*/ 498511 h 498511"/>
              <a:gd name="connsiteX0" fmla="*/ 159047 w 2547383"/>
              <a:gd name="connsiteY0" fmla="*/ 498511 h 498511"/>
              <a:gd name="connsiteX1" fmla="*/ 2547383 w 2547383"/>
              <a:gd name="connsiteY1" fmla="*/ 252623 h 498511"/>
              <a:gd name="connsiteX2" fmla="*/ 2513813 w 2547383"/>
              <a:gd name="connsiteY2" fmla="*/ 0 h 498511"/>
              <a:gd name="connsiteX3" fmla="*/ 0 w 2547383"/>
              <a:gd name="connsiteY3" fmla="*/ 173322 h 498511"/>
              <a:gd name="connsiteX4" fmla="*/ 159047 w 2547383"/>
              <a:gd name="connsiteY4" fmla="*/ 498511 h 498511"/>
              <a:gd name="connsiteX0" fmla="*/ 164772 w 2553108"/>
              <a:gd name="connsiteY0" fmla="*/ 498511 h 498511"/>
              <a:gd name="connsiteX1" fmla="*/ 2553108 w 2553108"/>
              <a:gd name="connsiteY1" fmla="*/ 252623 h 498511"/>
              <a:gd name="connsiteX2" fmla="*/ 2519538 w 2553108"/>
              <a:gd name="connsiteY2" fmla="*/ 0 h 498511"/>
              <a:gd name="connsiteX3" fmla="*/ 0 w 2553108"/>
              <a:gd name="connsiteY3" fmla="*/ 237627 h 498511"/>
              <a:gd name="connsiteX4" fmla="*/ 164772 w 2553108"/>
              <a:gd name="connsiteY4" fmla="*/ 498511 h 498511"/>
              <a:gd name="connsiteX0" fmla="*/ 102113 w 2553108"/>
              <a:gd name="connsiteY0" fmla="*/ 460662 h 460662"/>
              <a:gd name="connsiteX1" fmla="*/ 2553108 w 2553108"/>
              <a:gd name="connsiteY1" fmla="*/ 252623 h 460662"/>
              <a:gd name="connsiteX2" fmla="*/ 2519538 w 2553108"/>
              <a:gd name="connsiteY2" fmla="*/ 0 h 460662"/>
              <a:gd name="connsiteX3" fmla="*/ 0 w 2553108"/>
              <a:gd name="connsiteY3" fmla="*/ 237627 h 460662"/>
              <a:gd name="connsiteX4" fmla="*/ 102113 w 2553108"/>
              <a:gd name="connsiteY4" fmla="*/ 460662 h 460662"/>
              <a:gd name="connsiteX0" fmla="*/ 102113 w 2553108"/>
              <a:gd name="connsiteY0" fmla="*/ 424537 h 424537"/>
              <a:gd name="connsiteX1" fmla="*/ 2553108 w 2553108"/>
              <a:gd name="connsiteY1" fmla="*/ 216498 h 424537"/>
              <a:gd name="connsiteX2" fmla="*/ 2498106 w 2553108"/>
              <a:gd name="connsiteY2" fmla="*/ 0 h 424537"/>
              <a:gd name="connsiteX3" fmla="*/ 0 w 2553108"/>
              <a:gd name="connsiteY3" fmla="*/ 201502 h 424537"/>
              <a:gd name="connsiteX4" fmla="*/ 102113 w 2553108"/>
              <a:gd name="connsiteY4" fmla="*/ 424537 h 424537"/>
              <a:gd name="connsiteX0" fmla="*/ 90333 w 2553108"/>
              <a:gd name="connsiteY0" fmla="*/ 403402 h 403402"/>
              <a:gd name="connsiteX1" fmla="*/ 2553108 w 2553108"/>
              <a:gd name="connsiteY1" fmla="*/ 216498 h 403402"/>
              <a:gd name="connsiteX2" fmla="*/ 2498106 w 2553108"/>
              <a:gd name="connsiteY2" fmla="*/ 0 h 403402"/>
              <a:gd name="connsiteX3" fmla="*/ 0 w 2553108"/>
              <a:gd name="connsiteY3" fmla="*/ 201502 h 403402"/>
              <a:gd name="connsiteX4" fmla="*/ 90333 w 2553108"/>
              <a:gd name="connsiteY4" fmla="*/ 403402 h 403402"/>
              <a:gd name="connsiteX0" fmla="*/ 60951 w 2523726"/>
              <a:gd name="connsiteY0" fmla="*/ 403402 h 403402"/>
              <a:gd name="connsiteX1" fmla="*/ 2523726 w 2523726"/>
              <a:gd name="connsiteY1" fmla="*/ 216498 h 403402"/>
              <a:gd name="connsiteX2" fmla="*/ 2468724 w 2523726"/>
              <a:gd name="connsiteY2" fmla="*/ 0 h 403402"/>
              <a:gd name="connsiteX3" fmla="*/ 0 w 2523726"/>
              <a:gd name="connsiteY3" fmla="*/ 224392 h 403402"/>
              <a:gd name="connsiteX4" fmla="*/ 60951 w 2523726"/>
              <a:gd name="connsiteY4" fmla="*/ 403402 h 40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3726" h="403402">
                <a:moveTo>
                  <a:pt x="60951" y="403402"/>
                </a:moveTo>
                <a:lnTo>
                  <a:pt x="2523726" y="216498"/>
                </a:lnTo>
                <a:lnTo>
                  <a:pt x="2468724" y="0"/>
                </a:lnTo>
                <a:lnTo>
                  <a:pt x="0" y="224392"/>
                </a:lnTo>
                <a:lnTo>
                  <a:pt x="60951" y="403402"/>
                </a:lnTo>
                <a:close/>
              </a:path>
            </a:pathLst>
          </a:custGeom>
          <a:solidFill>
            <a:schemeClr val="bg1"/>
          </a:solidFill>
          <a:ln>
            <a:noFill/>
          </a:ln>
          <a:effectLst>
            <a:outerShdw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solidFill>
                <a:schemeClr val="accent4"/>
              </a:solidFill>
            </a:endParaRPr>
          </a:p>
        </p:txBody>
      </p:sp>
      <p:sp>
        <p:nvSpPr>
          <p:cNvPr id="35" name="TextBox 9">
            <a:extLst>
              <a:ext uri="{FF2B5EF4-FFF2-40B4-BE49-F238E27FC236}">
                <a16:creationId xmlns:a16="http://schemas.microsoft.com/office/drawing/2014/main" id="{AACF36CB-728B-4908-9382-D32F1577DE59}"/>
              </a:ext>
            </a:extLst>
          </p:cNvPr>
          <p:cNvSpPr txBox="1">
            <a:spLocks noChangeArrowheads="1"/>
          </p:cNvSpPr>
          <p:nvPr/>
        </p:nvSpPr>
        <p:spPr bwMode="auto">
          <a:xfrm>
            <a:off x="224576" y="678307"/>
            <a:ext cx="2953988" cy="369332"/>
          </a:xfrm>
          <a:prstGeom prst="rect">
            <a:avLst/>
          </a:prstGeom>
          <a:noFill/>
          <a:ln w="9525">
            <a:noFill/>
            <a:miter lim="800000"/>
            <a:headEnd/>
            <a:tailEnd/>
          </a:ln>
          <a:effectLst/>
        </p:spPr>
        <p:txBody>
          <a:bodyPr wrap="square" lIns="0">
            <a:spAutoFit/>
          </a:bodyPr>
          <a:lstStyle/>
          <a:p>
            <a:pPr marL="3174">
              <a:lnSpc>
                <a:spcPct val="90000"/>
              </a:lnSpc>
              <a:spcBef>
                <a:spcPts val="1200"/>
              </a:spcBef>
              <a:buClr>
                <a:srgbClr val="5C5C5C"/>
              </a:buClr>
              <a:buSzPct val="80000"/>
            </a:pPr>
            <a:r>
              <a:rPr lang="nl-BE" sz="2000" b="1" dirty="0">
                <a:solidFill>
                  <a:srgbClr val="5C2483"/>
                </a:solidFill>
                <a:latin typeface="Amaranth" panose="02000503000000020004" pitchFamily="50" charset="0"/>
                <a:cs typeface="Arial" panose="020B0604020202020204" pitchFamily="34" charset="0"/>
              </a:rPr>
              <a:t>Opbouw &amp; differentiatie</a:t>
            </a:r>
          </a:p>
        </p:txBody>
      </p:sp>
    </p:spTree>
    <p:extLst>
      <p:ext uri="{BB962C8B-B14F-4D97-AF65-F5344CB8AC3E}">
        <p14:creationId xmlns:p14="http://schemas.microsoft.com/office/powerpoint/2010/main" val="21680912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5" name="Rechthoek 24">
            <a:extLst>
              <a:ext uri="{FF2B5EF4-FFF2-40B4-BE49-F238E27FC236}">
                <a16:creationId xmlns:a16="http://schemas.microsoft.com/office/drawing/2014/main" id="{E71006F1-4611-48F5-B20E-110F620629EC}"/>
              </a:ext>
            </a:extLst>
          </p:cNvPr>
          <p:cNvSpPr/>
          <p:nvPr/>
        </p:nvSpPr>
        <p:spPr>
          <a:xfrm>
            <a:off x="0" y="1598971"/>
            <a:ext cx="12192000" cy="4544315"/>
          </a:xfrm>
          <a:prstGeom prst="rect">
            <a:avLst/>
          </a:prstGeom>
          <a:solidFill>
            <a:srgbClr val="5C2483"/>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5" name="Object 4"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56" name="think-cell Slide" r:id="rId6" imgW="353" imgH="353" progId="TCLayout.ActiveDocument.1">
                  <p:embed/>
                </p:oleObj>
              </mc:Choice>
              <mc:Fallback>
                <p:oleObj name="think-cell Slide" r:id="rId6" imgW="353" imgH="353"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9" name="TextBox 11">
            <a:extLst>
              <a:ext uri="{FF2B5EF4-FFF2-40B4-BE49-F238E27FC236}">
                <a16:creationId xmlns:a16="http://schemas.microsoft.com/office/drawing/2014/main" id="{5E26A374-3A6C-4A2A-BF33-A83E7B76D642}"/>
              </a:ext>
            </a:extLst>
          </p:cNvPr>
          <p:cNvSpPr txBox="1"/>
          <p:nvPr/>
        </p:nvSpPr>
        <p:spPr>
          <a:xfrm>
            <a:off x="530629" y="591778"/>
            <a:ext cx="9231432" cy="646331"/>
          </a:xfrm>
          <a:prstGeom prst="rect">
            <a:avLst/>
          </a:prstGeom>
          <a:noFill/>
        </p:spPr>
        <p:txBody>
          <a:bodyPr wrap="square" rtlCol="0" anchor="b" anchorCtr="0">
            <a:spAutoFit/>
          </a:bodyPr>
          <a:lstStyle/>
          <a:p>
            <a:pPr>
              <a:lnSpc>
                <a:spcPct val="90000"/>
              </a:lnSpc>
              <a:tabLst>
                <a:tab pos="1971675" algn="l"/>
              </a:tabLst>
            </a:pPr>
            <a:r>
              <a:rPr lang="nl-BE" sz="4000" dirty="0">
                <a:solidFill>
                  <a:srgbClr val="5C2483"/>
                </a:solidFill>
                <a:latin typeface="Amaranth" panose="02000503000000020004" pitchFamily="50" charset="0"/>
                <a:cs typeface="Arial" panose="020B0604020202020204" pitchFamily="34" charset="0"/>
              </a:rPr>
              <a:t>Differentiatie voor ieder kind</a:t>
            </a:r>
          </a:p>
        </p:txBody>
      </p:sp>
      <p:pic>
        <p:nvPicPr>
          <p:cNvPr id="15" name="Afbeelding 14" descr="Lijnpijl: curve rechtsom">
            <a:extLst>
              <a:ext uri="{FF2B5EF4-FFF2-40B4-BE49-F238E27FC236}">
                <a16:creationId xmlns:a16="http://schemas.microsoft.com/office/drawing/2014/main" id="{787F1D3F-E986-4437-BF6B-F2CABD32A38D}"/>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13337721">
            <a:off x="10403416" y="3138169"/>
            <a:ext cx="827975" cy="827975"/>
          </a:xfrm>
          <a:prstGeom prst="rect">
            <a:avLst/>
          </a:prstGeom>
        </p:spPr>
      </p:pic>
      <p:sp>
        <p:nvSpPr>
          <p:cNvPr id="16" name="Tekstvak 15">
            <a:extLst>
              <a:ext uri="{FF2B5EF4-FFF2-40B4-BE49-F238E27FC236}">
                <a16:creationId xmlns:a16="http://schemas.microsoft.com/office/drawing/2014/main" id="{DD8147DC-2F5B-4C41-9A75-391841ECD92E}"/>
              </a:ext>
            </a:extLst>
          </p:cNvPr>
          <p:cNvSpPr txBox="1"/>
          <p:nvPr/>
        </p:nvSpPr>
        <p:spPr>
          <a:xfrm>
            <a:off x="8348152" y="2606361"/>
            <a:ext cx="2796025" cy="523220"/>
          </a:xfrm>
          <a:prstGeom prst="rect">
            <a:avLst/>
          </a:prstGeom>
          <a:noFill/>
        </p:spPr>
        <p:txBody>
          <a:bodyPr wrap="square" rtlCol="0">
            <a:spAutoFit/>
          </a:bodyPr>
          <a:lstStyle/>
          <a:p>
            <a:r>
              <a:rPr lang="nl-NL" sz="1400" dirty="0">
                <a:solidFill>
                  <a:schemeClr val="bg1"/>
                </a:solidFill>
              </a:rPr>
              <a:t>Ook aandacht voor VVE-doelgroep en taalzwakke kinderen</a:t>
            </a:r>
          </a:p>
        </p:txBody>
      </p:sp>
      <p:sp>
        <p:nvSpPr>
          <p:cNvPr id="17" name="Rechthoek 16">
            <a:extLst>
              <a:ext uri="{FF2B5EF4-FFF2-40B4-BE49-F238E27FC236}">
                <a16:creationId xmlns:a16="http://schemas.microsoft.com/office/drawing/2014/main" id="{AEACB3E7-4670-43FF-8256-5CA1436F1EA1}"/>
              </a:ext>
            </a:extLst>
          </p:cNvPr>
          <p:cNvSpPr/>
          <p:nvPr/>
        </p:nvSpPr>
        <p:spPr>
          <a:xfrm>
            <a:off x="-258042" y="1922788"/>
            <a:ext cx="2666179" cy="430887"/>
          </a:xfrm>
          <a:prstGeom prst="rect">
            <a:avLst/>
          </a:prstGeom>
        </p:spPr>
        <p:txBody>
          <a:bodyPr wrap="none" numCol="1">
            <a:spAutoFit/>
          </a:bodyPr>
          <a:lstStyle>
            <a:defPPr>
              <a:defRPr lang="nl-NL" alt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3"/>
            <a:r>
              <a:rPr lang="nl-NL" altLang="nl-NL" sz="2200" dirty="0">
                <a:solidFill>
                  <a:schemeClr val="bg1"/>
                </a:solidFill>
                <a:latin typeface="Calibri" panose="020F0502020204030204" pitchFamily="34" charset="0"/>
                <a:cs typeface="Calibri" panose="020F0502020204030204" pitchFamily="34" charset="0"/>
              </a:rPr>
              <a:t>Uitdaging</a:t>
            </a:r>
          </a:p>
        </p:txBody>
      </p:sp>
      <p:sp>
        <p:nvSpPr>
          <p:cNvPr id="19" name="Rechthoek 18">
            <a:extLst>
              <a:ext uri="{FF2B5EF4-FFF2-40B4-BE49-F238E27FC236}">
                <a16:creationId xmlns:a16="http://schemas.microsoft.com/office/drawing/2014/main" id="{38776AF1-6D20-4464-9B55-74670810001F}"/>
              </a:ext>
            </a:extLst>
          </p:cNvPr>
          <p:cNvSpPr/>
          <p:nvPr/>
        </p:nvSpPr>
        <p:spPr>
          <a:xfrm>
            <a:off x="1091109" y="2606361"/>
            <a:ext cx="758541" cy="430887"/>
          </a:xfrm>
          <a:prstGeom prst="rect">
            <a:avLst/>
          </a:prstGeom>
        </p:spPr>
        <p:txBody>
          <a:bodyPr wrap="none" numCol="1">
            <a:spAutoFit/>
          </a:bodyPr>
          <a:lstStyle>
            <a:defPPr>
              <a:defRPr lang="nl-NL" alt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nl-NL" altLang="nl-NL" sz="2200" dirty="0">
                <a:solidFill>
                  <a:schemeClr val="bg1"/>
                </a:solidFill>
                <a:cs typeface="Arial" panose="020B0604020202020204" pitchFamily="34" charset="0"/>
              </a:rPr>
              <a:t>Basis</a:t>
            </a:r>
          </a:p>
        </p:txBody>
      </p:sp>
      <p:sp>
        <p:nvSpPr>
          <p:cNvPr id="20" name="Rechthoek 19">
            <a:extLst>
              <a:ext uri="{FF2B5EF4-FFF2-40B4-BE49-F238E27FC236}">
                <a16:creationId xmlns:a16="http://schemas.microsoft.com/office/drawing/2014/main" id="{A6FCE8E7-ABDD-4430-AE48-A93F5F5A778C}"/>
              </a:ext>
            </a:extLst>
          </p:cNvPr>
          <p:cNvSpPr/>
          <p:nvPr/>
        </p:nvSpPr>
        <p:spPr>
          <a:xfrm>
            <a:off x="1069405" y="3296204"/>
            <a:ext cx="1662250" cy="430887"/>
          </a:xfrm>
          <a:prstGeom prst="rect">
            <a:avLst/>
          </a:prstGeom>
        </p:spPr>
        <p:txBody>
          <a:bodyPr wrap="none" numCol="1">
            <a:spAutoFit/>
          </a:bodyPr>
          <a:lstStyle>
            <a:defPPr>
              <a:defRPr lang="nl-NL" alt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nl-NL" altLang="nl-NL" sz="2200" dirty="0">
                <a:solidFill>
                  <a:schemeClr val="bg1"/>
                </a:solidFill>
                <a:cs typeface="Arial" panose="020B0604020202020204" pitchFamily="34" charset="0"/>
              </a:rPr>
              <a:t>Intensivering</a:t>
            </a:r>
          </a:p>
        </p:txBody>
      </p:sp>
      <p:sp>
        <p:nvSpPr>
          <p:cNvPr id="22" name="Rechthoek 12">
            <a:extLst>
              <a:ext uri="{FF2B5EF4-FFF2-40B4-BE49-F238E27FC236}">
                <a16:creationId xmlns:a16="http://schemas.microsoft.com/office/drawing/2014/main" id="{A0B717C4-027A-494E-BCE4-1B67C321D5CD}"/>
              </a:ext>
            </a:extLst>
          </p:cNvPr>
          <p:cNvSpPr/>
          <p:nvPr/>
        </p:nvSpPr>
        <p:spPr>
          <a:xfrm>
            <a:off x="4479863" y="5776422"/>
            <a:ext cx="3232274" cy="313916"/>
          </a:xfrm>
          <a:prstGeom prst="rect">
            <a:avLst/>
          </a:prstGeom>
        </p:spPr>
        <p:txBody>
          <a:bodyPr wrap="square" lIns="91424" tIns="45712" rIns="91424" bIns="45712">
            <a:spAutoFit/>
          </a:bodyPr>
          <a:lstStyle/>
          <a:p>
            <a:pPr algn="ctr" fontAlgn="ctr">
              <a:lnSpc>
                <a:spcPct val="90000"/>
              </a:lnSpc>
            </a:pPr>
            <a:r>
              <a:rPr lang="nl-BE" sz="1600" dirty="0">
                <a:solidFill>
                  <a:schemeClr val="bg1"/>
                </a:solidFill>
                <a:cs typeface="Arial" panose="020B0604020202020204" pitchFamily="34" charset="0"/>
              </a:rPr>
              <a:t>Activiteitenboek Communicatie </a:t>
            </a:r>
          </a:p>
        </p:txBody>
      </p:sp>
      <p:pic>
        <p:nvPicPr>
          <p:cNvPr id="28" name="Afbeelding 27">
            <a:extLst>
              <a:ext uri="{FF2B5EF4-FFF2-40B4-BE49-F238E27FC236}">
                <a16:creationId xmlns:a16="http://schemas.microsoft.com/office/drawing/2014/main" id="{B3C1C40A-03C0-4E79-AD4B-47BA6636C710}"/>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0000">
                        <a14:foregroundMark x1="19355" y1="18966" x2="77419" y2="79310"/>
                      </a14:backgroundRemoval>
                    </a14:imgEffect>
                  </a14:imgLayer>
                </a14:imgProps>
              </a:ext>
            </a:extLst>
          </a:blip>
          <a:stretch>
            <a:fillRect/>
          </a:stretch>
        </p:blipFill>
        <p:spPr>
          <a:xfrm>
            <a:off x="516179" y="1875216"/>
            <a:ext cx="590550" cy="552450"/>
          </a:xfrm>
          <a:prstGeom prst="rect">
            <a:avLst/>
          </a:prstGeom>
        </p:spPr>
      </p:pic>
      <p:pic>
        <p:nvPicPr>
          <p:cNvPr id="31" name="Afbeelding 30">
            <a:extLst>
              <a:ext uri="{FF2B5EF4-FFF2-40B4-BE49-F238E27FC236}">
                <a16:creationId xmlns:a16="http://schemas.microsoft.com/office/drawing/2014/main" id="{6A251331-7636-450E-B394-72A2FC9CA860}"/>
              </a:ext>
            </a:extLst>
          </p:cNvPr>
          <p:cNvPicPr>
            <a:picLocks noChangeAspect="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Lst>
          </a:blip>
          <a:stretch>
            <a:fillRect/>
          </a:stretch>
        </p:blipFill>
        <p:spPr>
          <a:xfrm>
            <a:off x="500559" y="2532330"/>
            <a:ext cx="590550" cy="600075"/>
          </a:xfrm>
          <a:prstGeom prst="rect">
            <a:avLst/>
          </a:prstGeom>
        </p:spPr>
      </p:pic>
      <p:pic>
        <p:nvPicPr>
          <p:cNvPr id="32" name="Afbeelding 31">
            <a:extLst>
              <a:ext uri="{FF2B5EF4-FFF2-40B4-BE49-F238E27FC236}">
                <a16:creationId xmlns:a16="http://schemas.microsoft.com/office/drawing/2014/main" id="{91B48A88-EE71-4DC0-B911-0C33201EB7B3}"/>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foregroundMark x1="14516" y1="17742" x2="67742" y2="77419"/>
                      </a14:backgroundRemoval>
                    </a14:imgEffect>
                  </a14:imgLayer>
                </a14:imgProps>
              </a:ext>
            </a:extLst>
          </a:blip>
          <a:stretch>
            <a:fillRect/>
          </a:stretch>
        </p:blipFill>
        <p:spPr>
          <a:xfrm>
            <a:off x="516179" y="3215943"/>
            <a:ext cx="590550" cy="590550"/>
          </a:xfrm>
          <a:prstGeom prst="rect">
            <a:avLst/>
          </a:prstGeom>
        </p:spPr>
      </p:pic>
      <p:pic>
        <p:nvPicPr>
          <p:cNvPr id="2" name="Afbeelding 1">
            <a:extLst>
              <a:ext uri="{FF2B5EF4-FFF2-40B4-BE49-F238E27FC236}">
                <a16:creationId xmlns:a16="http://schemas.microsoft.com/office/drawing/2014/main" id="{616D63D4-E977-4449-9115-A27541949490}"/>
              </a:ext>
            </a:extLst>
          </p:cNvPr>
          <p:cNvPicPr>
            <a:picLocks noChangeAspect="1"/>
          </p:cNvPicPr>
          <p:nvPr/>
        </p:nvPicPr>
        <p:blipFill>
          <a:blip r:embed="rId16"/>
          <a:stretch>
            <a:fillRect/>
          </a:stretch>
        </p:blipFill>
        <p:spPr>
          <a:xfrm>
            <a:off x="3767628" y="2770909"/>
            <a:ext cx="2088802" cy="2960538"/>
          </a:xfrm>
          <a:prstGeom prst="rect">
            <a:avLst/>
          </a:prstGeom>
        </p:spPr>
      </p:pic>
      <p:pic>
        <p:nvPicPr>
          <p:cNvPr id="3" name="Afbeelding 2">
            <a:extLst>
              <a:ext uri="{FF2B5EF4-FFF2-40B4-BE49-F238E27FC236}">
                <a16:creationId xmlns:a16="http://schemas.microsoft.com/office/drawing/2014/main" id="{70E32173-26E9-45DB-AB08-0CD9D68DF463}"/>
              </a:ext>
            </a:extLst>
          </p:cNvPr>
          <p:cNvPicPr>
            <a:picLocks noChangeAspect="1"/>
          </p:cNvPicPr>
          <p:nvPr/>
        </p:nvPicPr>
        <p:blipFill>
          <a:blip r:embed="rId17"/>
          <a:stretch>
            <a:fillRect/>
          </a:stretch>
        </p:blipFill>
        <p:spPr>
          <a:xfrm>
            <a:off x="5856431" y="2770909"/>
            <a:ext cx="2087560" cy="2960537"/>
          </a:xfrm>
          <a:prstGeom prst="rect">
            <a:avLst/>
          </a:prstGeom>
        </p:spPr>
      </p:pic>
      <p:pic>
        <p:nvPicPr>
          <p:cNvPr id="4" name="Afbeelding 3">
            <a:extLst>
              <a:ext uri="{FF2B5EF4-FFF2-40B4-BE49-F238E27FC236}">
                <a16:creationId xmlns:a16="http://schemas.microsoft.com/office/drawing/2014/main" id="{7B5F946C-5A2B-4E7C-8753-C3CBC799586D}"/>
              </a:ext>
            </a:extLst>
          </p:cNvPr>
          <p:cNvPicPr>
            <a:picLocks noChangeAspect="1"/>
          </p:cNvPicPr>
          <p:nvPr/>
        </p:nvPicPr>
        <p:blipFill>
          <a:blip r:embed="rId18"/>
          <a:stretch>
            <a:fillRect/>
          </a:stretch>
        </p:blipFill>
        <p:spPr>
          <a:xfrm>
            <a:off x="8444194" y="3238742"/>
            <a:ext cx="1920166" cy="3461136"/>
          </a:xfrm>
          <a:prstGeom prst="rect">
            <a:avLst/>
          </a:prstGeom>
        </p:spPr>
      </p:pic>
      <p:pic>
        <p:nvPicPr>
          <p:cNvPr id="33" name="Afbeelding 32" descr="Lijnpijl: curve rechtsom">
            <a:extLst>
              <a:ext uri="{FF2B5EF4-FFF2-40B4-BE49-F238E27FC236}">
                <a16:creationId xmlns:a16="http://schemas.microsoft.com/office/drawing/2014/main" id="{6425E668-EA5B-46CF-82E9-B38A70F18C1A}"/>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16200000">
            <a:off x="2911089" y="5194150"/>
            <a:ext cx="827975" cy="827975"/>
          </a:xfrm>
          <a:prstGeom prst="rect">
            <a:avLst/>
          </a:prstGeom>
        </p:spPr>
      </p:pic>
      <p:pic>
        <p:nvPicPr>
          <p:cNvPr id="6" name="Afbeelding 5">
            <a:extLst>
              <a:ext uri="{FF2B5EF4-FFF2-40B4-BE49-F238E27FC236}">
                <a16:creationId xmlns:a16="http://schemas.microsoft.com/office/drawing/2014/main" id="{C5378962-C92F-4825-95C6-608665112282}"/>
              </a:ext>
            </a:extLst>
          </p:cNvPr>
          <p:cNvPicPr>
            <a:picLocks noChangeAspect="1"/>
          </p:cNvPicPr>
          <p:nvPr/>
        </p:nvPicPr>
        <p:blipFill>
          <a:blip r:embed="rId19"/>
          <a:stretch>
            <a:fillRect/>
          </a:stretch>
        </p:blipFill>
        <p:spPr>
          <a:xfrm>
            <a:off x="1211256" y="4065679"/>
            <a:ext cx="1457258" cy="2636163"/>
          </a:xfrm>
          <a:prstGeom prst="rect">
            <a:avLst/>
          </a:prstGeom>
        </p:spPr>
      </p:pic>
      <p:pic>
        <p:nvPicPr>
          <p:cNvPr id="26" name="Afbeelding 25">
            <a:extLst>
              <a:ext uri="{FF2B5EF4-FFF2-40B4-BE49-F238E27FC236}">
                <a16:creationId xmlns:a16="http://schemas.microsoft.com/office/drawing/2014/main" id="{616F8B46-4D30-464B-B7E7-6AF646FE3482}"/>
              </a:ext>
            </a:extLst>
          </p:cNvPr>
          <p:cNvPicPr>
            <a:picLocks noChangeAspect="1"/>
          </p:cNvPicPr>
          <p:nvPr/>
        </p:nvPicPr>
        <p:blipFill>
          <a:blip r:embed="rId20" cstate="hqprint">
            <a:extLst>
              <a:ext uri="{28A0092B-C50C-407E-A947-70E740481C1C}">
                <a14:useLocalDpi xmlns:a14="http://schemas.microsoft.com/office/drawing/2010/main" val="0"/>
              </a:ext>
            </a:extLst>
          </a:blip>
          <a:stretch>
            <a:fillRect/>
          </a:stretch>
        </p:blipFill>
        <p:spPr>
          <a:xfrm>
            <a:off x="11232036" y="6143286"/>
            <a:ext cx="661508" cy="556592"/>
          </a:xfrm>
          <a:prstGeom prst="rect">
            <a:avLst/>
          </a:prstGeom>
        </p:spPr>
      </p:pic>
      <p:sp>
        <p:nvSpPr>
          <p:cNvPr id="36" name="Freeform 41">
            <a:extLst>
              <a:ext uri="{FF2B5EF4-FFF2-40B4-BE49-F238E27FC236}">
                <a16:creationId xmlns:a16="http://schemas.microsoft.com/office/drawing/2014/main" id="{58F87DAA-19C0-4A76-95C0-DAD48D77D1FD}"/>
              </a:ext>
            </a:extLst>
          </p:cNvPr>
          <p:cNvSpPr/>
          <p:nvPr/>
        </p:nvSpPr>
        <p:spPr>
          <a:xfrm rot="845560">
            <a:off x="9576400" y="404873"/>
            <a:ext cx="2794225" cy="997712"/>
          </a:xfrm>
          <a:custGeom>
            <a:avLst/>
            <a:gdLst>
              <a:gd name="connsiteX0" fmla="*/ 45720 w 1267097"/>
              <a:gd name="connsiteY0" fmla="*/ 378823 h 378823"/>
              <a:gd name="connsiteX1" fmla="*/ 1267097 w 1267097"/>
              <a:gd name="connsiteY1" fmla="*/ 182880 h 378823"/>
              <a:gd name="connsiteX2" fmla="*/ 1267097 w 1267097"/>
              <a:gd name="connsiteY2" fmla="*/ 0 h 378823"/>
              <a:gd name="connsiteX3" fmla="*/ 0 w 1267097"/>
              <a:gd name="connsiteY3" fmla="*/ 189412 h 378823"/>
              <a:gd name="connsiteX4" fmla="*/ 45720 w 1267097"/>
              <a:gd name="connsiteY4" fmla="*/ 378823 h 378823"/>
              <a:gd name="connsiteX0" fmla="*/ 71845 w 1293222"/>
              <a:gd name="connsiteY0" fmla="*/ 378823 h 378823"/>
              <a:gd name="connsiteX1" fmla="*/ 1293222 w 1293222"/>
              <a:gd name="connsiteY1" fmla="*/ 182880 h 378823"/>
              <a:gd name="connsiteX2" fmla="*/ 1293222 w 1293222"/>
              <a:gd name="connsiteY2" fmla="*/ 0 h 378823"/>
              <a:gd name="connsiteX3" fmla="*/ 0 w 1293222"/>
              <a:gd name="connsiteY3" fmla="*/ 130629 h 378823"/>
              <a:gd name="connsiteX4" fmla="*/ 71845 w 1293222"/>
              <a:gd name="connsiteY4" fmla="*/ 378823 h 378823"/>
              <a:gd name="connsiteX0" fmla="*/ 65313 w 1293222"/>
              <a:gd name="connsiteY0" fmla="*/ 398417 h 398417"/>
              <a:gd name="connsiteX1" fmla="*/ 1293222 w 1293222"/>
              <a:gd name="connsiteY1" fmla="*/ 182880 h 398417"/>
              <a:gd name="connsiteX2" fmla="*/ 1293222 w 1293222"/>
              <a:gd name="connsiteY2" fmla="*/ 0 h 398417"/>
              <a:gd name="connsiteX3" fmla="*/ 0 w 1293222"/>
              <a:gd name="connsiteY3" fmla="*/ 130629 h 398417"/>
              <a:gd name="connsiteX4" fmla="*/ 65313 w 1293222"/>
              <a:gd name="connsiteY4" fmla="*/ 398417 h 398417"/>
              <a:gd name="connsiteX0" fmla="*/ 104663 w 1332572"/>
              <a:gd name="connsiteY0" fmla="*/ 488407 h 488407"/>
              <a:gd name="connsiteX1" fmla="*/ 1332572 w 1332572"/>
              <a:gd name="connsiteY1" fmla="*/ 272870 h 488407"/>
              <a:gd name="connsiteX2" fmla="*/ 1332572 w 1332572"/>
              <a:gd name="connsiteY2" fmla="*/ 89990 h 488407"/>
              <a:gd name="connsiteX3" fmla="*/ 0 w 1332572"/>
              <a:gd name="connsiteY3" fmla="*/ 0 h 488407"/>
              <a:gd name="connsiteX4" fmla="*/ 104663 w 1332572"/>
              <a:gd name="connsiteY4" fmla="*/ 488407 h 488407"/>
              <a:gd name="connsiteX0" fmla="*/ 58754 w 1286663"/>
              <a:gd name="connsiteY0" fmla="*/ 488407 h 488407"/>
              <a:gd name="connsiteX1" fmla="*/ 1286663 w 1286663"/>
              <a:gd name="connsiteY1" fmla="*/ 272870 h 488407"/>
              <a:gd name="connsiteX2" fmla="*/ 1286663 w 1286663"/>
              <a:gd name="connsiteY2" fmla="*/ 89990 h 488407"/>
              <a:gd name="connsiteX3" fmla="*/ 0 w 1286663"/>
              <a:gd name="connsiteY3" fmla="*/ 0 h 488407"/>
              <a:gd name="connsiteX4" fmla="*/ 58754 w 1286663"/>
              <a:gd name="connsiteY4" fmla="*/ 488407 h 488407"/>
              <a:gd name="connsiteX0" fmla="*/ 58754 w 1293221"/>
              <a:gd name="connsiteY0" fmla="*/ 574912 h 574912"/>
              <a:gd name="connsiteX1" fmla="*/ 1286663 w 1293221"/>
              <a:gd name="connsiteY1" fmla="*/ 359375 h 574912"/>
              <a:gd name="connsiteX2" fmla="*/ 1293221 w 1293221"/>
              <a:gd name="connsiteY2" fmla="*/ 0 h 574912"/>
              <a:gd name="connsiteX3" fmla="*/ 0 w 1293221"/>
              <a:gd name="connsiteY3" fmla="*/ 86505 h 574912"/>
              <a:gd name="connsiteX4" fmla="*/ 58754 w 1293221"/>
              <a:gd name="connsiteY4" fmla="*/ 574912 h 574912"/>
              <a:gd name="connsiteX0" fmla="*/ 58754 w 1470298"/>
              <a:gd name="connsiteY0" fmla="*/ 574912 h 574912"/>
              <a:gd name="connsiteX1" fmla="*/ 1470298 w 1470298"/>
              <a:gd name="connsiteY1" fmla="*/ 561083 h 574912"/>
              <a:gd name="connsiteX2" fmla="*/ 1293221 w 1470298"/>
              <a:gd name="connsiteY2" fmla="*/ 0 h 574912"/>
              <a:gd name="connsiteX3" fmla="*/ 0 w 1470298"/>
              <a:gd name="connsiteY3" fmla="*/ 86505 h 574912"/>
              <a:gd name="connsiteX4" fmla="*/ 58754 w 1470298"/>
              <a:gd name="connsiteY4" fmla="*/ 574912 h 574912"/>
              <a:gd name="connsiteX0" fmla="*/ 65313 w 1470298"/>
              <a:gd name="connsiteY0" fmla="*/ 795531 h 795531"/>
              <a:gd name="connsiteX1" fmla="*/ 1470298 w 1470298"/>
              <a:gd name="connsiteY1" fmla="*/ 561083 h 795531"/>
              <a:gd name="connsiteX2" fmla="*/ 1293221 w 1470298"/>
              <a:gd name="connsiteY2" fmla="*/ 0 h 795531"/>
              <a:gd name="connsiteX3" fmla="*/ 0 w 1470298"/>
              <a:gd name="connsiteY3" fmla="*/ 86505 h 795531"/>
              <a:gd name="connsiteX4" fmla="*/ 65313 w 1470298"/>
              <a:gd name="connsiteY4" fmla="*/ 795531 h 795531"/>
              <a:gd name="connsiteX0" fmla="*/ 65313 w 1844126"/>
              <a:gd name="connsiteY0" fmla="*/ 795531 h 795531"/>
              <a:gd name="connsiteX1" fmla="*/ 1844126 w 1844126"/>
              <a:gd name="connsiteY1" fmla="*/ 504352 h 795531"/>
              <a:gd name="connsiteX2" fmla="*/ 1293221 w 1844126"/>
              <a:gd name="connsiteY2" fmla="*/ 0 h 795531"/>
              <a:gd name="connsiteX3" fmla="*/ 0 w 1844126"/>
              <a:gd name="connsiteY3" fmla="*/ 86505 h 795531"/>
              <a:gd name="connsiteX4" fmla="*/ 65313 w 1844126"/>
              <a:gd name="connsiteY4" fmla="*/ 795531 h 795531"/>
              <a:gd name="connsiteX0" fmla="*/ 65313 w 1844126"/>
              <a:gd name="connsiteY0" fmla="*/ 845958 h 845958"/>
              <a:gd name="connsiteX1" fmla="*/ 1844126 w 1844126"/>
              <a:gd name="connsiteY1" fmla="*/ 554779 h 845958"/>
              <a:gd name="connsiteX2" fmla="*/ 1621141 w 1844126"/>
              <a:gd name="connsiteY2" fmla="*/ 0 h 845958"/>
              <a:gd name="connsiteX3" fmla="*/ 0 w 1844126"/>
              <a:gd name="connsiteY3" fmla="*/ 136932 h 845958"/>
              <a:gd name="connsiteX4" fmla="*/ 65313 w 1844126"/>
              <a:gd name="connsiteY4" fmla="*/ 845958 h 845958"/>
              <a:gd name="connsiteX0" fmla="*/ 65313 w 1844126"/>
              <a:gd name="connsiteY0" fmla="*/ 864868 h 864868"/>
              <a:gd name="connsiteX1" fmla="*/ 1844126 w 1844126"/>
              <a:gd name="connsiteY1" fmla="*/ 573689 h 864868"/>
              <a:gd name="connsiteX2" fmla="*/ 1621141 w 1844126"/>
              <a:gd name="connsiteY2" fmla="*/ 0 h 864868"/>
              <a:gd name="connsiteX3" fmla="*/ 0 w 1844126"/>
              <a:gd name="connsiteY3" fmla="*/ 155842 h 864868"/>
              <a:gd name="connsiteX4" fmla="*/ 65313 w 1844126"/>
              <a:gd name="connsiteY4" fmla="*/ 864868 h 864868"/>
              <a:gd name="connsiteX0" fmla="*/ 65313 w 1686724"/>
              <a:gd name="connsiteY0" fmla="*/ 864868 h 864868"/>
              <a:gd name="connsiteX1" fmla="*/ 1686724 w 1686724"/>
              <a:gd name="connsiteY1" fmla="*/ 561082 h 864868"/>
              <a:gd name="connsiteX2" fmla="*/ 1621141 w 1686724"/>
              <a:gd name="connsiteY2" fmla="*/ 0 h 864868"/>
              <a:gd name="connsiteX3" fmla="*/ 0 w 1686724"/>
              <a:gd name="connsiteY3" fmla="*/ 155842 h 864868"/>
              <a:gd name="connsiteX4" fmla="*/ 65313 w 1686724"/>
              <a:gd name="connsiteY4" fmla="*/ 864868 h 864868"/>
              <a:gd name="connsiteX0" fmla="*/ 39079 w 1660490"/>
              <a:gd name="connsiteY0" fmla="*/ 864868 h 864868"/>
              <a:gd name="connsiteX1" fmla="*/ 1660490 w 1660490"/>
              <a:gd name="connsiteY1" fmla="*/ 561082 h 864868"/>
              <a:gd name="connsiteX2" fmla="*/ 1594907 w 1660490"/>
              <a:gd name="connsiteY2" fmla="*/ 0 h 864868"/>
              <a:gd name="connsiteX3" fmla="*/ 0 w 1660490"/>
              <a:gd name="connsiteY3" fmla="*/ 351248 h 864868"/>
              <a:gd name="connsiteX4" fmla="*/ 39079 w 1660490"/>
              <a:gd name="connsiteY4" fmla="*/ 864868 h 864868"/>
              <a:gd name="connsiteX0" fmla="*/ 39079 w 1857243"/>
              <a:gd name="connsiteY0" fmla="*/ 719889 h 719889"/>
              <a:gd name="connsiteX1" fmla="*/ 1660490 w 1857243"/>
              <a:gd name="connsiteY1" fmla="*/ 416103 h 719889"/>
              <a:gd name="connsiteX2" fmla="*/ 1857243 w 1857243"/>
              <a:gd name="connsiteY2" fmla="*/ 0 h 719889"/>
              <a:gd name="connsiteX3" fmla="*/ 0 w 1857243"/>
              <a:gd name="connsiteY3" fmla="*/ 206269 h 719889"/>
              <a:gd name="connsiteX4" fmla="*/ 39079 w 1857243"/>
              <a:gd name="connsiteY4" fmla="*/ 719889 h 719889"/>
              <a:gd name="connsiteX0" fmla="*/ 39079 w 1909709"/>
              <a:gd name="connsiteY0" fmla="*/ 719889 h 719889"/>
              <a:gd name="connsiteX1" fmla="*/ 1909709 w 1909709"/>
              <a:gd name="connsiteY1" fmla="*/ 208090 h 719889"/>
              <a:gd name="connsiteX2" fmla="*/ 1857243 w 1909709"/>
              <a:gd name="connsiteY2" fmla="*/ 0 h 719889"/>
              <a:gd name="connsiteX3" fmla="*/ 0 w 1909709"/>
              <a:gd name="connsiteY3" fmla="*/ 206269 h 719889"/>
              <a:gd name="connsiteX4" fmla="*/ 39079 w 1909709"/>
              <a:gd name="connsiteY4" fmla="*/ 719889 h 719889"/>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206269 h 511876"/>
              <a:gd name="connsiteX4" fmla="*/ 39079 w 1909709"/>
              <a:gd name="connsiteY4" fmla="*/ 511876 h 511876"/>
              <a:gd name="connsiteX0" fmla="*/ 39079 w 1909709"/>
              <a:gd name="connsiteY0" fmla="*/ 511876 h 511876"/>
              <a:gd name="connsiteX1" fmla="*/ 1909709 w 1909709"/>
              <a:gd name="connsiteY1" fmla="*/ 208090 h 511876"/>
              <a:gd name="connsiteX2" fmla="*/ 1857243 w 1909709"/>
              <a:gd name="connsiteY2" fmla="*/ 0 h 511876"/>
              <a:gd name="connsiteX3" fmla="*/ 0 w 1909709"/>
              <a:gd name="connsiteY3" fmla="*/ 121173 h 511876"/>
              <a:gd name="connsiteX4" fmla="*/ 39079 w 1909709"/>
              <a:gd name="connsiteY4" fmla="*/ 511876 h 511876"/>
              <a:gd name="connsiteX0" fmla="*/ 39079 w 1857243"/>
              <a:gd name="connsiteY0" fmla="*/ 511876 h 511876"/>
              <a:gd name="connsiteX1" fmla="*/ 1748372 w 1857243"/>
              <a:gd name="connsiteY1" fmla="*/ 309201 h 511876"/>
              <a:gd name="connsiteX2" fmla="*/ 1857243 w 1857243"/>
              <a:gd name="connsiteY2" fmla="*/ 0 h 511876"/>
              <a:gd name="connsiteX3" fmla="*/ 0 w 1857243"/>
              <a:gd name="connsiteY3" fmla="*/ 121173 h 511876"/>
              <a:gd name="connsiteX4" fmla="*/ 39079 w 1857243"/>
              <a:gd name="connsiteY4" fmla="*/ 511876 h 511876"/>
              <a:gd name="connsiteX0" fmla="*/ 39079 w 1748372"/>
              <a:gd name="connsiteY0" fmla="*/ 499237 h 499237"/>
              <a:gd name="connsiteX1" fmla="*/ 1748372 w 1748372"/>
              <a:gd name="connsiteY1" fmla="*/ 296562 h 499237"/>
              <a:gd name="connsiteX2" fmla="*/ 1723965 w 1748372"/>
              <a:gd name="connsiteY2" fmla="*/ 0 h 499237"/>
              <a:gd name="connsiteX3" fmla="*/ 0 w 1748372"/>
              <a:gd name="connsiteY3" fmla="*/ 108534 h 499237"/>
              <a:gd name="connsiteX4" fmla="*/ 39079 w 1748372"/>
              <a:gd name="connsiteY4" fmla="*/ 499237 h 499237"/>
              <a:gd name="connsiteX0" fmla="*/ 95196 w 1748372"/>
              <a:gd name="connsiteY0" fmla="*/ 451841 h 451841"/>
              <a:gd name="connsiteX1" fmla="*/ 1748372 w 1748372"/>
              <a:gd name="connsiteY1" fmla="*/ 296562 h 451841"/>
              <a:gd name="connsiteX2" fmla="*/ 1723965 w 1748372"/>
              <a:gd name="connsiteY2" fmla="*/ 0 h 451841"/>
              <a:gd name="connsiteX3" fmla="*/ 0 w 1748372"/>
              <a:gd name="connsiteY3" fmla="*/ 108534 h 451841"/>
              <a:gd name="connsiteX4" fmla="*/ 95196 w 1748372"/>
              <a:gd name="connsiteY4" fmla="*/ 451841 h 451841"/>
              <a:gd name="connsiteX0" fmla="*/ 95196 w 1723965"/>
              <a:gd name="connsiteY0" fmla="*/ 451841 h 451841"/>
              <a:gd name="connsiteX1" fmla="*/ 1713299 w 1723965"/>
              <a:gd name="connsiteY1" fmla="*/ 315520 h 451841"/>
              <a:gd name="connsiteX2" fmla="*/ 1723965 w 1723965"/>
              <a:gd name="connsiteY2" fmla="*/ 0 h 451841"/>
              <a:gd name="connsiteX3" fmla="*/ 0 w 1723965"/>
              <a:gd name="connsiteY3" fmla="*/ 108534 h 451841"/>
              <a:gd name="connsiteX4" fmla="*/ 95196 w 1723965"/>
              <a:gd name="connsiteY4" fmla="*/ 451841 h 451841"/>
              <a:gd name="connsiteX0" fmla="*/ 95196 w 1713299"/>
              <a:gd name="connsiteY0" fmla="*/ 455001 h 455001"/>
              <a:gd name="connsiteX1" fmla="*/ 1713299 w 1713299"/>
              <a:gd name="connsiteY1" fmla="*/ 318680 h 455001"/>
              <a:gd name="connsiteX2" fmla="*/ 1667848 w 1713299"/>
              <a:gd name="connsiteY2" fmla="*/ 0 h 455001"/>
              <a:gd name="connsiteX3" fmla="*/ 0 w 1713299"/>
              <a:gd name="connsiteY3" fmla="*/ 111694 h 455001"/>
              <a:gd name="connsiteX4" fmla="*/ 95196 w 1713299"/>
              <a:gd name="connsiteY4" fmla="*/ 455001 h 455001"/>
              <a:gd name="connsiteX0" fmla="*/ 67137 w 1685240"/>
              <a:gd name="connsiteY0" fmla="*/ 455001 h 455001"/>
              <a:gd name="connsiteX1" fmla="*/ 1685240 w 1685240"/>
              <a:gd name="connsiteY1" fmla="*/ 318680 h 455001"/>
              <a:gd name="connsiteX2" fmla="*/ 1639789 w 1685240"/>
              <a:gd name="connsiteY2" fmla="*/ 0 h 455001"/>
              <a:gd name="connsiteX3" fmla="*/ 0 w 1685240"/>
              <a:gd name="connsiteY3" fmla="*/ 130652 h 455001"/>
              <a:gd name="connsiteX4" fmla="*/ 67137 w 1685240"/>
              <a:gd name="connsiteY4" fmla="*/ 455001 h 455001"/>
              <a:gd name="connsiteX0" fmla="*/ 67137 w 1667473"/>
              <a:gd name="connsiteY0" fmla="*/ 455001 h 455001"/>
              <a:gd name="connsiteX1" fmla="*/ 1667473 w 1667473"/>
              <a:gd name="connsiteY1" fmla="*/ 242054 h 455001"/>
              <a:gd name="connsiteX2" fmla="*/ 1639789 w 1667473"/>
              <a:gd name="connsiteY2" fmla="*/ 0 h 455001"/>
              <a:gd name="connsiteX3" fmla="*/ 0 w 1667473"/>
              <a:gd name="connsiteY3" fmla="*/ 130652 h 455001"/>
              <a:gd name="connsiteX4" fmla="*/ 67137 w 1667473"/>
              <a:gd name="connsiteY4" fmla="*/ 455001 h 455001"/>
              <a:gd name="connsiteX0" fmla="*/ 100217 w 1700553"/>
              <a:gd name="connsiteY0" fmla="*/ 455001 h 455001"/>
              <a:gd name="connsiteX1" fmla="*/ 1700553 w 1700553"/>
              <a:gd name="connsiteY1" fmla="*/ 242054 h 455001"/>
              <a:gd name="connsiteX2" fmla="*/ 1672869 w 1700553"/>
              <a:gd name="connsiteY2" fmla="*/ 0 h 455001"/>
              <a:gd name="connsiteX3" fmla="*/ 0 w 1700553"/>
              <a:gd name="connsiteY3" fmla="*/ 205540 h 455001"/>
              <a:gd name="connsiteX4" fmla="*/ 100217 w 1700553"/>
              <a:gd name="connsiteY4" fmla="*/ 455001 h 455001"/>
              <a:gd name="connsiteX0" fmla="*/ 100217 w 1700553"/>
              <a:gd name="connsiteY0" fmla="*/ 366878 h 366878"/>
              <a:gd name="connsiteX1" fmla="*/ 1700553 w 1700553"/>
              <a:gd name="connsiteY1" fmla="*/ 153931 h 366878"/>
              <a:gd name="connsiteX2" fmla="*/ 1588975 w 1700553"/>
              <a:gd name="connsiteY2" fmla="*/ 0 h 366878"/>
              <a:gd name="connsiteX3" fmla="*/ 0 w 1700553"/>
              <a:gd name="connsiteY3" fmla="*/ 117417 h 366878"/>
              <a:gd name="connsiteX4" fmla="*/ 100217 w 1700553"/>
              <a:gd name="connsiteY4" fmla="*/ 366878 h 366878"/>
              <a:gd name="connsiteX0" fmla="*/ 115726 w 1700553"/>
              <a:gd name="connsiteY0" fmla="*/ 305211 h 305211"/>
              <a:gd name="connsiteX1" fmla="*/ 1700553 w 1700553"/>
              <a:gd name="connsiteY1" fmla="*/ 153931 h 305211"/>
              <a:gd name="connsiteX2" fmla="*/ 1588975 w 1700553"/>
              <a:gd name="connsiteY2" fmla="*/ 0 h 305211"/>
              <a:gd name="connsiteX3" fmla="*/ 0 w 1700553"/>
              <a:gd name="connsiteY3" fmla="*/ 117417 h 305211"/>
              <a:gd name="connsiteX4" fmla="*/ 115726 w 1700553"/>
              <a:gd name="connsiteY4" fmla="*/ 305211 h 305211"/>
              <a:gd name="connsiteX0" fmla="*/ 115726 w 1700553"/>
              <a:gd name="connsiteY0" fmla="*/ 321895 h 321895"/>
              <a:gd name="connsiteX1" fmla="*/ 1700553 w 1700553"/>
              <a:gd name="connsiteY1" fmla="*/ 170615 h 321895"/>
              <a:gd name="connsiteX2" fmla="*/ 1471607 w 1700553"/>
              <a:gd name="connsiteY2" fmla="*/ 0 h 321895"/>
              <a:gd name="connsiteX3" fmla="*/ 0 w 1700553"/>
              <a:gd name="connsiteY3" fmla="*/ 134101 h 321895"/>
              <a:gd name="connsiteX4" fmla="*/ 115726 w 1700553"/>
              <a:gd name="connsiteY4" fmla="*/ 321895 h 321895"/>
              <a:gd name="connsiteX0" fmla="*/ 115726 w 1581352"/>
              <a:gd name="connsiteY0" fmla="*/ 321895 h 321895"/>
              <a:gd name="connsiteX1" fmla="*/ 1581352 w 1581352"/>
              <a:gd name="connsiteY1" fmla="*/ 210307 h 321895"/>
              <a:gd name="connsiteX2" fmla="*/ 1471607 w 1581352"/>
              <a:gd name="connsiteY2" fmla="*/ 0 h 321895"/>
              <a:gd name="connsiteX3" fmla="*/ 0 w 1581352"/>
              <a:gd name="connsiteY3" fmla="*/ 134101 h 321895"/>
              <a:gd name="connsiteX4" fmla="*/ 115726 w 1581352"/>
              <a:gd name="connsiteY4" fmla="*/ 321895 h 321895"/>
              <a:gd name="connsiteX0" fmla="*/ 92298 w 1557924"/>
              <a:gd name="connsiteY0" fmla="*/ 321895 h 321895"/>
              <a:gd name="connsiteX1" fmla="*/ 1557924 w 1557924"/>
              <a:gd name="connsiteY1" fmla="*/ 210307 h 321895"/>
              <a:gd name="connsiteX2" fmla="*/ 1448179 w 1557924"/>
              <a:gd name="connsiteY2" fmla="*/ 0 h 321895"/>
              <a:gd name="connsiteX3" fmla="*/ 0 w 1557924"/>
              <a:gd name="connsiteY3" fmla="*/ 116473 h 321895"/>
              <a:gd name="connsiteX4" fmla="*/ 92298 w 1557924"/>
              <a:gd name="connsiteY4" fmla="*/ 321895 h 321895"/>
              <a:gd name="connsiteX0" fmla="*/ 152961 w 1557924"/>
              <a:gd name="connsiteY0" fmla="*/ 341247 h 341247"/>
              <a:gd name="connsiteX1" fmla="*/ 1557924 w 1557924"/>
              <a:gd name="connsiteY1" fmla="*/ 210307 h 341247"/>
              <a:gd name="connsiteX2" fmla="*/ 1448179 w 1557924"/>
              <a:gd name="connsiteY2" fmla="*/ 0 h 341247"/>
              <a:gd name="connsiteX3" fmla="*/ 0 w 1557924"/>
              <a:gd name="connsiteY3" fmla="*/ 116473 h 341247"/>
              <a:gd name="connsiteX4" fmla="*/ 152961 w 1557924"/>
              <a:gd name="connsiteY4" fmla="*/ 341247 h 341247"/>
              <a:gd name="connsiteX0" fmla="*/ 135357 w 1557924"/>
              <a:gd name="connsiteY0" fmla="*/ 339493 h 339493"/>
              <a:gd name="connsiteX1" fmla="*/ 1557924 w 1557924"/>
              <a:gd name="connsiteY1" fmla="*/ 210307 h 339493"/>
              <a:gd name="connsiteX2" fmla="*/ 1448179 w 1557924"/>
              <a:gd name="connsiteY2" fmla="*/ 0 h 339493"/>
              <a:gd name="connsiteX3" fmla="*/ 0 w 1557924"/>
              <a:gd name="connsiteY3" fmla="*/ 116473 h 339493"/>
              <a:gd name="connsiteX4" fmla="*/ 135357 w 1557924"/>
              <a:gd name="connsiteY4" fmla="*/ 339493 h 339493"/>
              <a:gd name="connsiteX0" fmla="*/ 109934 w 1532501"/>
              <a:gd name="connsiteY0" fmla="*/ 339493 h 339493"/>
              <a:gd name="connsiteX1" fmla="*/ 1532501 w 1532501"/>
              <a:gd name="connsiteY1" fmla="*/ 210307 h 339493"/>
              <a:gd name="connsiteX2" fmla="*/ 1422756 w 1532501"/>
              <a:gd name="connsiteY2" fmla="*/ 0 h 339493"/>
              <a:gd name="connsiteX3" fmla="*/ 0 w 1532501"/>
              <a:gd name="connsiteY3" fmla="*/ 117343 h 339493"/>
              <a:gd name="connsiteX4" fmla="*/ 109934 w 1532501"/>
              <a:gd name="connsiteY4" fmla="*/ 339493 h 339493"/>
              <a:gd name="connsiteX0" fmla="*/ 133525 w 1556092"/>
              <a:gd name="connsiteY0" fmla="*/ 339493 h 339493"/>
              <a:gd name="connsiteX1" fmla="*/ 1556092 w 1556092"/>
              <a:gd name="connsiteY1" fmla="*/ 210307 h 339493"/>
              <a:gd name="connsiteX2" fmla="*/ 1446347 w 1556092"/>
              <a:gd name="connsiteY2" fmla="*/ 0 h 339493"/>
              <a:gd name="connsiteX3" fmla="*/ 0 w 1556092"/>
              <a:gd name="connsiteY3" fmla="*/ 60098 h 339493"/>
              <a:gd name="connsiteX4" fmla="*/ 133525 w 1556092"/>
              <a:gd name="connsiteY4" fmla="*/ 339493 h 339493"/>
              <a:gd name="connsiteX0" fmla="*/ 133525 w 2343667"/>
              <a:gd name="connsiteY0" fmla="*/ 459688 h 459688"/>
              <a:gd name="connsiteX1" fmla="*/ 1556092 w 2343667"/>
              <a:gd name="connsiteY1" fmla="*/ 330502 h 459688"/>
              <a:gd name="connsiteX2" fmla="*/ 2343667 w 2343667"/>
              <a:gd name="connsiteY2" fmla="*/ 0 h 459688"/>
              <a:gd name="connsiteX3" fmla="*/ 0 w 2343667"/>
              <a:gd name="connsiteY3" fmla="*/ 180293 h 459688"/>
              <a:gd name="connsiteX4" fmla="*/ 133525 w 2343667"/>
              <a:gd name="connsiteY4" fmla="*/ 459688 h 459688"/>
              <a:gd name="connsiteX0" fmla="*/ 133525 w 2391079"/>
              <a:gd name="connsiteY0" fmla="*/ 459688 h 459688"/>
              <a:gd name="connsiteX1" fmla="*/ 2391079 w 2391079"/>
              <a:gd name="connsiteY1" fmla="*/ 322204 h 459688"/>
              <a:gd name="connsiteX2" fmla="*/ 2343667 w 2391079"/>
              <a:gd name="connsiteY2" fmla="*/ 0 h 459688"/>
              <a:gd name="connsiteX3" fmla="*/ 0 w 2391079"/>
              <a:gd name="connsiteY3" fmla="*/ 180293 h 459688"/>
              <a:gd name="connsiteX4" fmla="*/ 133525 w 2391079"/>
              <a:gd name="connsiteY4" fmla="*/ 459688 h 459688"/>
              <a:gd name="connsiteX0" fmla="*/ 159047 w 2391079"/>
              <a:gd name="connsiteY0" fmla="*/ 505482 h 505482"/>
              <a:gd name="connsiteX1" fmla="*/ 2391079 w 2391079"/>
              <a:gd name="connsiteY1" fmla="*/ 322204 h 505482"/>
              <a:gd name="connsiteX2" fmla="*/ 2343667 w 2391079"/>
              <a:gd name="connsiteY2" fmla="*/ 0 h 505482"/>
              <a:gd name="connsiteX3" fmla="*/ 0 w 2391079"/>
              <a:gd name="connsiteY3" fmla="*/ 180293 h 505482"/>
              <a:gd name="connsiteX4" fmla="*/ 159047 w 2391079"/>
              <a:gd name="connsiteY4" fmla="*/ 505482 h 505482"/>
              <a:gd name="connsiteX0" fmla="*/ 159047 w 2391079"/>
              <a:gd name="connsiteY0" fmla="*/ 518659 h 518659"/>
              <a:gd name="connsiteX1" fmla="*/ 2391079 w 2391079"/>
              <a:gd name="connsiteY1" fmla="*/ 335381 h 518659"/>
              <a:gd name="connsiteX2" fmla="*/ 2261507 w 2391079"/>
              <a:gd name="connsiteY2" fmla="*/ 0 h 518659"/>
              <a:gd name="connsiteX3" fmla="*/ 0 w 2391079"/>
              <a:gd name="connsiteY3" fmla="*/ 193470 h 518659"/>
              <a:gd name="connsiteX4" fmla="*/ 159047 w 2391079"/>
              <a:gd name="connsiteY4" fmla="*/ 518659 h 518659"/>
              <a:gd name="connsiteX0" fmla="*/ 159047 w 2513813"/>
              <a:gd name="connsiteY0" fmla="*/ 498511 h 498511"/>
              <a:gd name="connsiteX1" fmla="*/ 2391079 w 2513813"/>
              <a:gd name="connsiteY1" fmla="*/ 315233 h 498511"/>
              <a:gd name="connsiteX2" fmla="*/ 2513813 w 2513813"/>
              <a:gd name="connsiteY2" fmla="*/ 0 h 498511"/>
              <a:gd name="connsiteX3" fmla="*/ 0 w 2513813"/>
              <a:gd name="connsiteY3" fmla="*/ 173322 h 498511"/>
              <a:gd name="connsiteX4" fmla="*/ 159047 w 2513813"/>
              <a:gd name="connsiteY4" fmla="*/ 498511 h 498511"/>
              <a:gd name="connsiteX0" fmla="*/ 159047 w 2547383"/>
              <a:gd name="connsiteY0" fmla="*/ 498511 h 498511"/>
              <a:gd name="connsiteX1" fmla="*/ 2547383 w 2547383"/>
              <a:gd name="connsiteY1" fmla="*/ 252623 h 498511"/>
              <a:gd name="connsiteX2" fmla="*/ 2513813 w 2547383"/>
              <a:gd name="connsiteY2" fmla="*/ 0 h 498511"/>
              <a:gd name="connsiteX3" fmla="*/ 0 w 2547383"/>
              <a:gd name="connsiteY3" fmla="*/ 173322 h 498511"/>
              <a:gd name="connsiteX4" fmla="*/ 159047 w 2547383"/>
              <a:gd name="connsiteY4" fmla="*/ 498511 h 498511"/>
              <a:gd name="connsiteX0" fmla="*/ 164772 w 2553108"/>
              <a:gd name="connsiteY0" fmla="*/ 498511 h 498511"/>
              <a:gd name="connsiteX1" fmla="*/ 2553108 w 2553108"/>
              <a:gd name="connsiteY1" fmla="*/ 252623 h 498511"/>
              <a:gd name="connsiteX2" fmla="*/ 2519538 w 2553108"/>
              <a:gd name="connsiteY2" fmla="*/ 0 h 498511"/>
              <a:gd name="connsiteX3" fmla="*/ 0 w 2553108"/>
              <a:gd name="connsiteY3" fmla="*/ 237627 h 498511"/>
              <a:gd name="connsiteX4" fmla="*/ 164772 w 2553108"/>
              <a:gd name="connsiteY4" fmla="*/ 498511 h 498511"/>
              <a:gd name="connsiteX0" fmla="*/ 102113 w 2553108"/>
              <a:gd name="connsiteY0" fmla="*/ 460662 h 460662"/>
              <a:gd name="connsiteX1" fmla="*/ 2553108 w 2553108"/>
              <a:gd name="connsiteY1" fmla="*/ 252623 h 460662"/>
              <a:gd name="connsiteX2" fmla="*/ 2519538 w 2553108"/>
              <a:gd name="connsiteY2" fmla="*/ 0 h 460662"/>
              <a:gd name="connsiteX3" fmla="*/ 0 w 2553108"/>
              <a:gd name="connsiteY3" fmla="*/ 237627 h 460662"/>
              <a:gd name="connsiteX4" fmla="*/ 102113 w 2553108"/>
              <a:gd name="connsiteY4" fmla="*/ 460662 h 460662"/>
              <a:gd name="connsiteX0" fmla="*/ 102113 w 2553108"/>
              <a:gd name="connsiteY0" fmla="*/ 424537 h 424537"/>
              <a:gd name="connsiteX1" fmla="*/ 2553108 w 2553108"/>
              <a:gd name="connsiteY1" fmla="*/ 216498 h 424537"/>
              <a:gd name="connsiteX2" fmla="*/ 2498106 w 2553108"/>
              <a:gd name="connsiteY2" fmla="*/ 0 h 424537"/>
              <a:gd name="connsiteX3" fmla="*/ 0 w 2553108"/>
              <a:gd name="connsiteY3" fmla="*/ 201502 h 424537"/>
              <a:gd name="connsiteX4" fmla="*/ 102113 w 2553108"/>
              <a:gd name="connsiteY4" fmla="*/ 424537 h 424537"/>
              <a:gd name="connsiteX0" fmla="*/ 90333 w 2553108"/>
              <a:gd name="connsiteY0" fmla="*/ 403402 h 403402"/>
              <a:gd name="connsiteX1" fmla="*/ 2553108 w 2553108"/>
              <a:gd name="connsiteY1" fmla="*/ 216498 h 403402"/>
              <a:gd name="connsiteX2" fmla="*/ 2498106 w 2553108"/>
              <a:gd name="connsiteY2" fmla="*/ 0 h 403402"/>
              <a:gd name="connsiteX3" fmla="*/ 0 w 2553108"/>
              <a:gd name="connsiteY3" fmla="*/ 201502 h 403402"/>
              <a:gd name="connsiteX4" fmla="*/ 90333 w 2553108"/>
              <a:gd name="connsiteY4" fmla="*/ 403402 h 403402"/>
              <a:gd name="connsiteX0" fmla="*/ 60951 w 2523726"/>
              <a:gd name="connsiteY0" fmla="*/ 403402 h 403402"/>
              <a:gd name="connsiteX1" fmla="*/ 2523726 w 2523726"/>
              <a:gd name="connsiteY1" fmla="*/ 216498 h 403402"/>
              <a:gd name="connsiteX2" fmla="*/ 2468724 w 2523726"/>
              <a:gd name="connsiteY2" fmla="*/ 0 h 403402"/>
              <a:gd name="connsiteX3" fmla="*/ 0 w 2523726"/>
              <a:gd name="connsiteY3" fmla="*/ 224392 h 403402"/>
              <a:gd name="connsiteX4" fmla="*/ 60951 w 2523726"/>
              <a:gd name="connsiteY4" fmla="*/ 403402 h 403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3726" h="403402">
                <a:moveTo>
                  <a:pt x="60951" y="403402"/>
                </a:moveTo>
                <a:lnTo>
                  <a:pt x="2523726" y="216498"/>
                </a:lnTo>
                <a:lnTo>
                  <a:pt x="2468724" y="0"/>
                </a:lnTo>
                <a:lnTo>
                  <a:pt x="0" y="224392"/>
                </a:lnTo>
                <a:lnTo>
                  <a:pt x="60951" y="403402"/>
                </a:lnTo>
                <a:close/>
              </a:path>
            </a:pathLst>
          </a:custGeom>
          <a:solidFill>
            <a:srgbClr val="5C2483"/>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ysClr val="window" lastClr="FFFFFF"/>
              </a:solidFill>
              <a:effectLst/>
              <a:uLnTx/>
              <a:uFillTx/>
              <a:latin typeface="Amaranth" panose="02000503000000020004" pitchFamily="50" charset="0"/>
              <a:ea typeface="+mn-ea"/>
              <a:cs typeface="+mn-cs"/>
            </a:endParaRPr>
          </a:p>
        </p:txBody>
      </p:sp>
      <p:sp>
        <p:nvSpPr>
          <p:cNvPr id="37" name="TextBox 9">
            <a:extLst>
              <a:ext uri="{FF2B5EF4-FFF2-40B4-BE49-F238E27FC236}">
                <a16:creationId xmlns:a16="http://schemas.microsoft.com/office/drawing/2014/main" id="{0A106D3B-21DB-406D-87AE-B0EFFC64B0D7}"/>
              </a:ext>
            </a:extLst>
          </p:cNvPr>
          <p:cNvSpPr txBox="1">
            <a:spLocks noChangeArrowheads="1"/>
          </p:cNvSpPr>
          <p:nvPr/>
        </p:nvSpPr>
        <p:spPr bwMode="auto">
          <a:xfrm>
            <a:off x="9705021" y="720366"/>
            <a:ext cx="2550786" cy="369332"/>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nl-NL"/>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prstClr val="white"/>
                </a:solidFill>
                <a:effectLst/>
                <a:uLnTx/>
                <a:uFillTx/>
                <a:latin typeface="Calibri" panose="020F050202020403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nl-BE" dirty="0">
                <a:latin typeface="Amaranth" panose="02000503000000020004" pitchFamily="50" charset="0"/>
              </a:rPr>
              <a:t>Opbouw &amp; differentiatie</a:t>
            </a:r>
          </a:p>
        </p:txBody>
      </p:sp>
    </p:spTree>
    <p:extLst>
      <p:ext uri="{BB962C8B-B14F-4D97-AF65-F5344CB8AC3E}">
        <p14:creationId xmlns:p14="http://schemas.microsoft.com/office/powerpoint/2010/main" val="3544814542"/>
      </p:ext>
    </p:extLst>
  </p:cSld>
  <p:clrMapOvr>
    <a:overrideClrMapping bg1="lt1" tx1="dk1" bg2="lt2" tx2="dk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1192</TotalTime>
  <Words>1886</Words>
  <Application>Microsoft Office PowerPoint</Application>
  <PresentationFormat>Breedbeeld</PresentationFormat>
  <Paragraphs>510</Paragraphs>
  <Slides>44</Slides>
  <Notes>41</Notes>
  <HiddenSlides>0</HiddenSlides>
  <MMClips>0</MMClips>
  <ScaleCrop>false</ScaleCrop>
  <HeadingPairs>
    <vt:vector size="8" baseType="variant">
      <vt:variant>
        <vt:lpstr>Gebruikte lettertypen</vt:lpstr>
      </vt:variant>
      <vt:variant>
        <vt:i4>5</vt:i4>
      </vt:variant>
      <vt:variant>
        <vt:lpstr>Thema</vt:lpstr>
      </vt:variant>
      <vt:variant>
        <vt:i4>2</vt:i4>
      </vt:variant>
      <vt:variant>
        <vt:lpstr>Ingesloten OLE-bronprogramma's</vt:lpstr>
      </vt:variant>
      <vt:variant>
        <vt:i4>1</vt:i4>
      </vt:variant>
      <vt:variant>
        <vt:lpstr>Diatitels</vt:lpstr>
      </vt:variant>
      <vt:variant>
        <vt:i4>44</vt:i4>
      </vt:variant>
    </vt:vector>
  </HeadingPairs>
  <TitlesOfParts>
    <vt:vector size="52" baseType="lpstr">
      <vt:lpstr>Amaranth</vt:lpstr>
      <vt:lpstr>Arial</vt:lpstr>
      <vt:lpstr>Calibri</vt:lpstr>
      <vt:lpstr>Calibri Light</vt:lpstr>
      <vt:lpstr>Wingdings</vt:lpstr>
      <vt:lpstr>Kantoorthema</vt:lpstr>
      <vt:lpstr>Office Theme</vt:lpstr>
      <vt:lpstr>think-cell Slid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Aansluiting Uk &amp; Puk </vt:lpstr>
      <vt:lpstr>PowerPoint-presentati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Eveline Simons</dc:creator>
  <cp:lastModifiedBy>Denise Vegter</cp:lastModifiedBy>
  <cp:revision>104</cp:revision>
  <dcterms:created xsi:type="dcterms:W3CDTF">2018-12-04T11:12:13Z</dcterms:created>
  <dcterms:modified xsi:type="dcterms:W3CDTF">2020-01-07T13:43:46Z</dcterms:modified>
</cp:coreProperties>
</file>